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comments/comment1.xml" ContentType="application/vnd.openxmlformats-officedocument.presentationml.comment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6" r:id="rId3"/>
    <p:sldMasterId id="2147483682" r:id="rId4"/>
    <p:sldMasterId id="2147483684" r:id="rId5"/>
    <p:sldMasterId id="2147483686" r:id="rId6"/>
  </p:sldMasterIdLst>
  <p:notesMasterIdLst>
    <p:notesMasterId r:id="rId48"/>
  </p:notesMasterIdLst>
  <p:handoutMasterIdLst>
    <p:handoutMasterId r:id="rId49"/>
  </p:handoutMasterIdLst>
  <p:sldIdLst>
    <p:sldId id="310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306" r:id="rId20"/>
    <p:sldId id="275" r:id="rId21"/>
    <p:sldId id="276" r:id="rId22"/>
    <p:sldId id="277" r:id="rId23"/>
    <p:sldId id="278" r:id="rId24"/>
    <p:sldId id="307" r:id="rId25"/>
    <p:sldId id="281" r:id="rId26"/>
    <p:sldId id="282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291" r:id="rId35"/>
    <p:sldId id="292" r:id="rId36"/>
    <p:sldId id="293" r:id="rId37"/>
    <p:sldId id="294" r:id="rId38"/>
    <p:sldId id="295" r:id="rId39"/>
    <p:sldId id="296" r:id="rId40"/>
    <p:sldId id="297" r:id="rId41"/>
    <p:sldId id="298" r:id="rId42"/>
    <p:sldId id="299" r:id="rId43"/>
    <p:sldId id="300" r:id="rId44"/>
    <p:sldId id="301" r:id="rId45"/>
    <p:sldId id="302" r:id="rId46"/>
    <p:sldId id="309" r:id="rId4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baishun (Gavin)" initials="Y(" lastIdx="92" clrIdx="0">
    <p:extLst>
      <p:ext uri="{19B8F6BF-5375-455C-9EA6-DF929625EA0E}">
        <p15:presenceInfo xmlns:p15="http://schemas.microsoft.com/office/powerpoint/2012/main" userId="S-1-5-21-147214757-305610072-1517763936-424899" providerId="AD"/>
      </p:ext>
    </p:extLst>
  </p:cmAuthor>
  <p:cmAuthor id="2" name="wangyuxiao (A)" initials="w(" lastIdx="2" clrIdx="1">
    <p:extLst>
      <p:ext uri="{19B8F6BF-5375-455C-9EA6-DF929625EA0E}">
        <p15:presenceInfo xmlns:p15="http://schemas.microsoft.com/office/powerpoint/2012/main" userId="S-1-5-21-147214757-305610072-1517763936-48475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BBDC"/>
    <a:srgbClr val="141720"/>
    <a:srgbClr val="05518F"/>
    <a:srgbClr val="11234F"/>
    <a:srgbClr val="242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424" autoAdjust="0"/>
  </p:normalViewPr>
  <p:slideViewPr>
    <p:cSldViewPr snapToGrid="0">
      <p:cViewPr varScale="1">
        <p:scale>
          <a:sx n="70" d="100"/>
          <a:sy n="70" d="100"/>
        </p:scale>
        <p:origin x="894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8-01-19T14:30:52.191" idx="1">
    <p:pos x="2971" y="3589"/>
    <p:text>这边的数字麻烦再确认下，换算后总用地面积比建筑面积小很多，我查到的是1500亩？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2F251-E356-43B5-AD9B-9F5A747FAA01}" type="datetimeFigureOut">
              <a:rPr lang="zh-CN" altLang="en-US" smtClean="0">
                <a:latin typeface="Arial" panose="020B0604020202020204" pitchFamily="34" charset="0"/>
              </a:rPr>
              <a:pPr/>
              <a:t>2018/6/8</a:t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A09C13-B456-48DB-A0EA-473237D87286}" type="slidenum">
              <a:rPr lang="zh-CN" altLang="en-US" smtClean="0">
                <a:latin typeface="Arial" panose="020B0604020202020204" pitchFamily="34" charset="0"/>
              </a:rPr>
              <a:pPr/>
              <a:t>‹#›</a:t>
            </a:fld>
            <a:endParaRPr lang="zh-CN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6983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9D9531-3E76-48A0-9869-502D00BD9D06}" type="datetimeFigureOut">
              <a:rPr lang="zh-CN" altLang="en-US" smtClean="0">
                <a:latin typeface="Arial" panose="020B0604020202020204" pitchFamily="34" charset="0"/>
              </a:rPr>
              <a:pPr/>
              <a:t>2018/6/8</a:t>
            </a:fld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2A502-C9C3-4A4B-88F5-D5F50DCEDB96}" type="slidenum">
              <a:rPr lang="zh-CN" altLang="en-US" smtClean="0">
                <a:latin typeface="Arial" panose="020B0604020202020204" pitchFamily="34" charset="0"/>
              </a:rPr>
              <a:pPr/>
              <a:t>‹#›</a:t>
            </a:fld>
            <a:endParaRPr lang="zh-CN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055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F5CD9F-AB69-4013-AAE9-6158DC492534}" type="slidenum">
              <a:rPr lang="zh-CN" alt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4</a:t>
            </a:fld>
            <a:endParaRPr lang="zh-CN" alt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102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目前华为平安城市已经遍布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全球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, 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你</a:t>
            </a: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可以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看到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, 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华</a:t>
            </a: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为平安城市已经服务于全球</a:t>
            </a: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30</a:t>
            </a: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多个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国家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, 100</a:t>
            </a: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多个</a:t>
            </a:r>
            <a:r>
              <a:rPr lang="zh-CN" altLang="en-US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城市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, 4</a:t>
            </a: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亿人。</a:t>
            </a:r>
            <a:endParaRPr lang="en-US" altLang="zh-CN" sz="1200" kern="1200" baseline="0" noProof="1">
              <a:solidFill>
                <a:schemeClr val="tx1"/>
              </a:solidFill>
              <a:effectLst/>
              <a:latin typeface="Arial" panose="020B0604020202020204" pitchFamily="34" charset="0"/>
              <a:ea typeface="微软雅黑" pitchFamily="34" charset="-122"/>
              <a:cs typeface="+mn-cs"/>
              <a:sym typeface="Lucida Grande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altLang="zh-CN" sz="1200" kern="1200" baseline="0" noProof="1">
              <a:solidFill>
                <a:schemeClr val="tx1"/>
              </a:solidFill>
              <a:effectLst/>
              <a:latin typeface="Arial" panose="020B0604020202020204" pitchFamily="34" charset="0"/>
              <a:ea typeface="微软雅黑" pitchFamily="34" charset="-122"/>
              <a:cs typeface="+mn-cs"/>
              <a:sym typeface="Lucida Grande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zh-CN" altLang="en-US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华为的平安城市表现到底如何呢？ 下面我们来听一听来自客户的声音。</a:t>
            </a:r>
            <a:endParaRPr lang="en-US" altLang="zh-CN" sz="1200" kern="1200" baseline="0" noProof="1">
              <a:solidFill>
                <a:schemeClr val="tx1"/>
              </a:solidFill>
              <a:effectLst/>
              <a:latin typeface="Arial" panose="020B0604020202020204" pitchFamily="34" charset="0"/>
              <a:ea typeface="微软雅黑" pitchFamily="34" charset="-122"/>
              <a:cs typeface="+mn-cs"/>
              <a:sym typeface="Lucida Grande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------------------------------------------------------------------------------------------------------------------------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Here you CAN see 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that, </a:t>
            </a:r>
            <a:r>
              <a:rPr lang="en-US" altLang="zh-CN" sz="1200" kern="120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Huawei </a:t>
            </a:r>
            <a:r>
              <a:rPr lang="en-US" altLang="zh-CN" sz="1200" kern="120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innovative ICT</a:t>
            </a: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 based </a:t>
            </a:r>
            <a:r>
              <a:rPr lang="en-US" altLang="zh-CN" sz="1200" kern="120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Safe City Solution Has already Served 400M</a:t>
            </a: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 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population, </a:t>
            </a:r>
            <a:r>
              <a:rPr lang="en-US" altLang="zh-CN" sz="1800" b="1" kern="120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100</a:t>
            </a:r>
            <a:r>
              <a:rPr lang="en-US" altLang="zh-CN" sz="1800" b="1" kern="120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+ </a:t>
            </a:r>
            <a:r>
              <a:rPr lang="en-US" altLang="zh-CN" sz="1200" kern="120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Cities, in </a:t>
            </a:r>
            <a:r>
              <a:rPr lang="en-US" altLang="zh-CN" sz="1800" b="1" kern="120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30+ </a:t>
            </a:r>
            <a:r>
              <a:rPr lang="en-US" altLang="zh-CN" sz="1200" kern="120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Countries, </a:t>
            </a:r>
            <a:r>
              <a:rPr lang="en-US" altLang="zh-CN" sz="1200" kern="1200" baseline="0" noProof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5 </a:t>
            </a:r>
            <a:r>
              <a:rPr lang="en-US" altLang="zh-CN" sz="1200" kern="1200" baseline="0" noProof="1">
                <a:solidFill>
                  <a:schemeClr val="tx1"/>
                </a:solidFill>
                <a:effectLst/>
                <a:latin typeface="Arial" panose="020B0604020202020204" pitchFamily="34" charset="0"/>
                <a:ea typeface="微软雅黑" pitchFamily="34" charset="-122"/>
                <a:cs typeface="+mn-cs"/>
                <a:sym typeface="Lucida Grande"/>
              </a:rPr>
              <a:t>continentes</a:t>
            </a:r>
            <a:endParaRPr lang="en-US" altLang="zh-CN" sz="1200" kern="1200" noProof="1">
              <a:solidFill>
                <a:schemeClr val="tx1"/>
              </a:solidFill>
              <a:effectLst/>
              <a:latin typeface="Arial" panose="020B0604020202020204" pitchFamily="34" charset="0"/>
              <a:ea typeface="微软雅黑" pitchFamily="34" charset="-122"/>
              <a:cs typeface="+mn-cs"/>
              <a:sym typeface="Lucida Grande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1200" b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What is 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the performance </a:t>
            </a:r>
            <a:r>
              <a:rPr lang="en-US" altLang="zh-CN" sz="12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after </a:t>
            </a:r>
            <a:r>
              <a:rPr lang="en-US" altLang="zh-CN" sz="1200" b="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our deployment </a:t>
            </a:r>
            <a:r>
              <a:rPr lang="en-US" altLang="zh-CN" sz="12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, let’s hear </a:t>
            </a:r>
            <a:r>
              <a:rPr lang="en-US" altLang="zh-CN" sz="1200" b="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itchFamily="2" charset="-122"/>
                <a:cs typeface="Arial" pitchFamily="34" charset="0"/>
              </a:rPr>
              <a:t>the voice from the service providers and end users.</a:t>
            </a:r>
            <a:endParaRPr lang="en-US" altLang="zh-CN" sz="1200" b="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宋体" pitchFamily="2" charset="-122"/>
              <a:cs typeface="Arial" pitchFamily="34" charset="0"/>
            </a:endParaRPr>
          </a:p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D1208B-ABB5-48F0-93EC-79B837E3F925}" type="slidenum">
              <a:rPr lang="zh-CN" alt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15</a:t>
            </a:fld>
            <a:endParaRPr lang="en-US" altLang="zh-CN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818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1200" dirty="0"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  <a:cs typeface="Arial" pitchFamily="34" charset="0"/>
              </a:rPr>
              <a:t>讲</a:t>
            </a:r>
            <a:r>
              <a:rPr lang="zh-CN" altLang="zh-CN" sz="1200" b="1" kern="1200" dirty="0"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  <a:cs typeface="Arial" pitchFamily="34" charset="0"/>
              </a:rPr>
              <a:t>解</a:t>
            </a:r>
            <a:r>
              <a:rPr lang="zh-CN" altLang="zh-CN" sz="12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  <a:cs typeface="Arial" pitchFamily="34" charset="0"/>
              </a:rPr>
              <a:t>要点</a:t>
            </a:r>
            <a:r>
              <a:rPr lang="en-US" altLang="zh-CN" sz="12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  <a:cs typeface="Arial" pitchFamily="34" charset="0"/>
              </a:rPr>
              <a:t>: </a:t>
            </a:r>
            <a:endParaRPr lang="en-US" altLang="zh-CN" sz="1200" kern="1200" dirty="0">
              <a:solidFill>
                <a:schemeClr val="tx1"/>
              </a:solidFill>
              <a:latin typeface="Arial" charset="0"/>
              <a:ea typeface="宋体" pitchFamily="2" charset="-122"/>
              <a:cs typeface="+mn-cs"/>
            </a:endParaRPr>
          </a:p>
          <a:p>
            <a:r>
              <a:rPr lang="zh-CN" altLang="en-US" sz="1200" dirty="0">
                <a:latin typeface="Arial" pitchFamily="34" charset="0"/>
                <a:cs typeface="Arial" pitchFamily="34" charset="0"/>
              </a:rPr>
              <a:t>在研发领域持续强力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投资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是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华为的重要战略。华为坚持每年将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10%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以上的销售收入投入研究与开发。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2016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年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从事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研究与开发的人员约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80, 000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名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占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公司总人数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45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%, </a:t>
            </a:r>
            <a:r>
              <a:rPr lang="zh-CN" altLang="en-US" sz="1200" dirty="0" smtClean="0">
                <a:latin typeface="Arial" pitchFamily="34" charset="0"/>
                <a:cs typeface="Arial" pitchFamily="34" charset="0"/>
              </a:rPr>
              <a:t>研发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投入达到</a:t>
            </a:r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, 391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百万</a:t>
            </a:r>
            <a:r>
              <a:rPr lang="zh-CN" alt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元</a:t>
            </a:r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zh-CN" alt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占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总收入的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4.6%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。近十年累计投入的研发费用超过人民币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300, 000</a:t>
            </a:r>
            <a:r>
              <a:rPr lang="zh-CN" altLang="en-US" sz="1200" dirty="0">
                <a:latin typeface="Arial" pitchFamily="34" charset="0"/>
                <a:cs typeface="Arial" pitchFamily="34" charset="0"/>
              </a:rPr>
              <a:t>百万元。</a:t>
            </a:r>
            <a:endParaRPr lang="en-US" altLang="zh-CN" sz="1200" dirty="0">
              <a:latin typeface="Arial" pitchFamily="34" charset="0"/>
              <a:cs typeface="Arial" pitchFamily="34" charset="0"/>
            </a:endParaRPr>
          </a:p>
          <a:p>
            <a:endParaRPr lang="en-US" altLang="zh-CN" sz="1200" dirty="0">
              <a:latin typeface="Arial" pitchFamily="34" charset="0"/>
              <a:cs typeface="Arial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截至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日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华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为加入了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6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个标准组织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产业联盟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开源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社区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担任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超过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个重要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职位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EEE-SA /BBF /ETSI /TMF /WFA / WWRF /OpenStack /Linaro / OPNFV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SA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等组织担任董事会成员。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提交提案超过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000 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篇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累计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提交提案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9, 0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篇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zh-CN" altLang="en-US" sz="1200" b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截至</a:t>
            </a:r>
            <a:r>
              <a:rPr lang="en-US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</a:t>
            </a:r>
            <a:r>
              <a:rPr lang="en-US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月</a:t>
            </a:r>
            <a:r>
              <a:rPr lang="en-US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</a:t>
            </a:r>
            <a:r>
              <a:rPr lang="zh-CN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日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华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为累计专利授权为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2, 519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件；申请中国专利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7, 632</a:t>
            </a:r>
            <a:r>
              <a:rPr lang="zh-CN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件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zh-CN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外国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专利申请累计</a:t>
            </a:r>
            <a:r>
              <a:rPr lang="en-US" altLang="zh-CN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9, 613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件。其中</a:t>
            </a:r>
            <a:r>
              <a:rPr lang="en-US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0%</a:t>
            </a:r>
            <a:r>
              <a:rPr lang="zh-CN" altLang="zh-CN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以上为发明型专利。</a:t>
            </a:r>
            <a:endParaRPr lang="en-US" altLang="zh-CN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zh-CN" altLang="zh-CN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**********************************</a:t>
            </a:r>
          </a:p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Slide 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Owner: Wang</a:t>
            </a:r>
            <a:r>
              <a:rPr lang="en-US" altLang="zh-CN" sz="1200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200" baseline="0" dirty="0">
                <a:latin typeface="Arial" pitchFamily="34" charset="0"/>
                <a:cs typeface="Arial" pitchFamily="34" charset="0"/>
              </a:rPr>
              <a:t>Jie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 (00286887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), Corporate </a:t>
            </a:r>
            <a:r>
              <a:rPr lang="en-US" altLang="zh-CN" sz="1200" dirty="0">
                <a:latin typeface="Arial" pitchFamily="34" charset="0"/>
                <a:cs typeface="Arial" pitchFamily="34" charset="0"/>
              </a:rPr>
              <a:t>Marketing Dept</a:t>
            </a:r>
          </a:p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Latest 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update: Jan, 2017</a:t>
            </a:r>
            <a:endParaRPr lang="en-US" altLang="zh-CN" sz="12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Recommended target </a:t>
            </a:r>
            <a:r>
              <a:rPr lang="en-US" altLang="zh-CN" sz="1200" dirty="0" smtClean="0">
                <a:latin typeface="Arial" pitchFamily="34" charset="0"/>
                <a:cs typeface="Arial" pitchFamily="34" charset="0"/>
              </a:rPr>
              <a:t>audience: all</a:t>
            </a:r>
            <a:endParaRPr lang="en-US" altLang="zh-CN" sz="12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**********************************</a:t>
            </a:r>
          </a:p>
          <a:p>
            <a:r>
              <a:rPr lang="zh-CN" altLang="en-US" sz="1200" b="1" dirty="0">
                <a:latin typeface="Arial" pitchFamily="34" charset="0"/>
                <a:cs typeface="Arial" pitchFamily="34" charset="0"/>
              </a:rPr>
              <a:t>更多</a:t>
            </a:r>
            <a:r>
              <a:rPr lang="zh-CN" altLang="en-US" sz="1200" b="1" dirty="0" smtClean="0">
                <a:latin typeface="Arial" pitchFamily="34" charset="0"/>
                <a:cs typeface="Arial" pitchFamily="34" charset="0"/>
              </a:rPr>
              <a:t>信息</a:t>
            </a:r>
            <a:r>
              <a:rPr lang="en-US" altLang="zh-CN" sz="1200" b="1" dirty="0" smtClean="0">
                <a:latin typeface="Arial" pitchFamily="34" charset="0"/>
                <a:cs typeface="Arial" pitchFamily="34" charset="0"/>
              </a:rPr>
              <a:t>: </a:t>
            </a:r>
            <a:endParaRPr lang="en-US" altLang="zh-CN" sz="12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200000"/>
              </a:lnSpc>
              <a:buClr>
                <a:srgbClr val="990000"/>
              </a:buClr>
              <a:buSzPct val="60000"/>
            </a:pPr>
            <a:endParaRPr lang="en-US" altLang="zh-CN" sz="1200" b="0" dirty="0">
              <a:solidFill>
                <a:srgbClr val="000000"/>
              </a:solidFill>
              <a:latin typeface="华文细黑"/>
              <a:ea typeface="华文细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328058-29F7-46C6-8D38-03A129804023}" type="slidenum">
              <a:rPr lang="en-US" altLang="zh-CN" smtClean="0">
                <a:solidFill>
                  <a:prstClr val="black"/>
                </a:solidFill>
              </a:rPr>
              <a:pPr/>
              <a:t>19</a:t>
            </a:fld>
            <a:endParaRPr lang="en-US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185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5195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0555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568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8395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363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216726" y="1231615"/>
            <a:ext cx="9699703" cy="63935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799"/>
            </a:lvl1pPr>
          </a:lstStyle>
          <a:p>
            <a:r>
              <a:rPr lang="en-US" altLang="zh-CN" dirty="0"/>
              <a:t>Content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1416699" y="2083433"/>
            <a:ext cx="9358603" cy="379327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altLang="zh-CN" dirty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7627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162" y="2129932"/>
            <a:ext cx="10363676" cy="14712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40pt </a:t>
            </a:r>
            <a:r>
              <a:rPr lang="zh-CN" altLang="en-US" dirty="0"/>
              <a:t>，居中，最多两行</a:t>
            </a:r>
          </a:p>
        </p:txBody>
      </p:sp>
    </p:spTree>
    <p:extLst>
      <p:ext uri="{BB962C8B-B14F-4D97-AF65-F5344CB8AC3E}">
        <p14:creationId xmlns:p14="http://schemas.microsoft.com/office/powerpoint/2010/main" val="2947347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441" y="6356467"/>
            <a:ext cx="2845647" cy="36504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1219078"/>
            <a:fld id="{1C0D7A3F-7135-4FA1-BEE2-FCD6DC02281F}" type="datetimeFigureOut">
              <a:rPr lang="zh-CN" altLang="en-US" sz="2399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defTabSz="1219078"/>
              <a:t>2018/6/8</a:t>
            </a:fld>
            <a:endParaRPr lang="zh-CN" altLang="en-US" sz="2399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6103" y="6356467"/>
            <a:ext cx="3859795" cy="36504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1219078"/>
            <a:endParaRPr lang="zh-CN" altLang="en-US" sz="2399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6913" y="6356467"/>
            <a:ext cx="2845646" cy="36504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1219078"/>
            <a:fld id="{EA5C1035-5AE8-4B3F-94D9-7A820D43C195}" type="slidenum">
              <a:rPr lang="zh-CN" altLang="en-US" sz="2399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defTabSz="1219078"/>
              <a:t>‹#›</a:t>
            </a:fld>
            <a:endParaRPr lang="zh-CN" altLang="en-US" sz="2399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662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699969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304" y="249766"/>
            <a:ext cx="11502886" cy="74578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666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060762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" y="-278296"/>
            <a:ext cx="11373062" cy="1042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358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0607758"/>
      </p:ext>
    </p:extLst>
  </p:cSld>
  <p:clrMapOvr>
    <a:masterClrMapping/>
  </p:clrMapOvr>
  <p:transition advClick="0" advTm="800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1007534" y="186835"/>
            <a:ext cx="10176934" cy="1110185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标题文本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idx="1"/>
          </p:nvPr>
        </p:nvSpPr>
        <p:spPr>
          <a:xfrm>
            <a:off x="1007533" y="1297019"/>
            <a:ext cx="10128001" cy="556098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800"/>
              <a:t>正文级别 1</a:t>
            </a:r>
          </a:p>
          <a:p>
            <a:pPr lvl="1">
              <a:defRPr sz="1800"/>
            </a:pPr>
            <a:r>
              <a:rPr sz="2800"/>
              <a:t>正文级别 2</a:t>
            </a:r>
          </a:p>
          <a:p>
            <a:pPr lvl="2">
              <a:defRPr sz="1800"/>
            </a:pPr>
            <a:r>
              <a:rPr sz="2800"/>
              <a:t>正文级别 3</a:t>
            </a:r>
          </a:p>
          <a:p>
            <a:pPr lvl="3">
              <a:defRPr sz="1800"/>
            </a:pPr>
            <a:r>
              <a:rPr sz="2800"/>
              <a:t>正文级别 4</a:t>
            </a:r>
          </a:p>
          <a:p>
            <a:pPr lvl="4">
              <a:defRPr sz="1800"/>
            </a:pPr>
            <a:r>
              <a:rPr sz="2800"/>
              <a:t>正文级别 5</a:t>
            </a:r>
          </a:p>
        </p:txBody>
      </p:sp>
    </p:spTree>
    <p:extLst>
      <p:ext uri="{BB962C8B-B14F-4D97-AF65-F5344CB8AC3E}">
        <p14:creationId xmlns:p14="http://schemas.microsoft.com/office/powerpoint/2010/main" val="1947806792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2.vml"/><Relationship Id="rId1" Type="http://schemas.openxmlformats.org/officeDocument/2006/relationships/theme" Target="../theme/theme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01 日常工作\04 展厅相关设计\2016年\2017 cebit\PPT模板设计\封面 16_9  深色副本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3515" cy="6858000"/>
          </a:xfrm>
          <a:prstGeom prst="rect">
            <a:avLst/>
          </a:prstGeom>
          <a:noFill/>
        </p:spPr>
      </p:pic>
      <p:pic>
        <p:nvPicPr>
          <p:cNvPr id="7" name="Picture 4" descr="E:\01 日常工作\03 品牌规范设计\公司广告源文档\HW LOGO(字白）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0033" y="636685"/>
            <a:ext cx="1069746" cy="1032961"/>
          </a:xfrm>
          <a:prstGeom prst="rect">
            <a:avLst/>
          </a:prstGeom>
          <a:noFill/>
        </p:spPr>
      </p:pic>
      <p:pic>
        <p:nvPicPr>
          <p:cNvPr id="5" name="Picture 2" descr="E:\01 日常工作\04 展厅相关设计\2016年\CEBIT 2016\KV\主视觉KV\LEADING NEW ICT字体设计\leading new ict0216-out-02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6982" y="5701202"/>
            <a:ext cx="2422574" cy="2541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12223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1219078" rtl="0" eaLnBrk="1" latinLnBrk="0" hangingPunct="1">
        <a:spcBef>
          <a:spcPct val="0"/>
        </a:spcBef>
        <a:buNone/>
        <a:defRPr sz="58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itchFamily="34" charset="0"/>
        <a:buChar char="•"/>
        <a:defRPr sz="4299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36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26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2699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399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5" cstate="print">
            <a:lum/>
          </a:blip>
          <a:stretch>
            <a:fillRect/>
          </a:stretch>
        </p:blipFill>
        <p:spPr bwMode="auto">
          <a:xfrm>
            <a:off x="10615391" y="6430759"/>
            <a:ext cx="1248875" cy="313765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0432868" y="243378"/>
            <a:ext cx="1431398" cy="107975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3039729" y="6537794"/>
            <a:ext cx="271984" cy="19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219078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pPr defTabSz="1219078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900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40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81" r:id="rId9"/>
  </p:sldLayoutIdLst>
  <p:txStyles>
    <p:titleStyle>
      <a:lvl1pPr algn="l" defTabSz="914126" rtl="0" eaLnBrk="1" latinLnBrk="0" hangingPunct="1">
        <a:spcBef>
          <a:spcPct val="0"/>
        </a:spcBef>
        <a:buNone/>
        <a:defRPr sz="31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797" indent="-342797" algn="l" defTabSz="914126" rtl="0" eaLnBrk="1" latinLnBrk="0" hangingPunct="1">
        <a:spcBef>
          <a:spcPct val="20000"/>
        </a:spcBef>
        <a:buFont typeface="Arial" pitchFamily="34" charset="0"/>
        <a:buChar char="•"/>
        <a:defRPr sz="2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727" indent="-285664" algn="l" defTabSz="914126" rtl="0" eaLnBrk="1" latinLnBrk="0" hangingPunct="1">
        <a:spcBef>
          <a:spcPct val="20000"/>
        </a:spcBef>
        <a:buFont typeface="Arial" pitchFamily="34" charset="0"/>
        <a:buChar char="–"/>
        <a:defRPr sz="23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657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99720" indent="-228531" algn="l" defTabSz="914126" rtl="0" eaLnBrk="1" latinLnBrk="0" hangingPunct="1">
        <a:spcBef>
          <a:spcPct val="20000"/>
        </a:spcBef>
        <a:buFont typeface="Arial" pitchFamily="34" charset="0"/>
        <a:buChar char="–"/>
        <a:defRPr sz="1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6783" indent="-228531" algn="l" defTabSz="914126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/>
            <a:endParaRPr lang="zh-CN" altLang="en-US" sz="2399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6" cstate="print">
            <a:lum/>
          </a:blip>
          <a:stretch>
            <a:fillRect/>
          </a:stretch>
        </p:blipFill>
        <p:spPr bwMode="auto">
          <a:xfrm>
            <a:off x="10615391" y="6430759"/>
            <a:ext cx="1248875" cy="313765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432868" y="243378"/>
            <a:ext cx="1431398" cy="107975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3039729" y="6537794"/>
            <a:ext cx="271984" cy="19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219078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</a:rPr>
              <a:pPr defTabSz="1219078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900" dirty="0">
              <a:solidFill>
                <a:prstClr val="white">
                  <a:lumMod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12"/>
          <p:cNvSpPr txBox="1"/>
          <p:nvPr userDrawn="1"/>
        </p:nvSpPr>
        <p:spPr>
          <a:xfrm>
            <a:off x="502556" y="5578532"/>
            <a:ext cx="8260443" cy="746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buNone/>
            </a:pPr>
            <a:r>
              <a:rPr lang="en-US" altLang="zh-CN" sz="1050" b="1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Copyright © 2018 </a:t>
            </a:r>
            <a:r>
              <a:rPr lang="en-US" altLang="zh-CN" sz="1050" b="1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Huawei Technologies Co</a:t>
            </a:r>
            <a:r>
              <a:rPr lang="en-US" altLang="zh-CN" sz="1050" b="1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., Ltd</a:t>
            </a:r>
            <a:r>
              <a:rPr lang="en-US" altLang="zh-CN" sz="1050" b="1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. All Rights Reserved.</a:t>
            </a:r>
            <a:endParaRPr lang="zh-CN" altLang="zh-CN" sz="1050" kern="1200" dirty="0">
              <a:solidFill>
                <a:schemeClr val="bg1">
                  <a:lumMod val="65000"/>
                </a:schemeClr>
              </a:solidFill>
              <a:effectLst/>
              <a:latin typeface="+mn-lt"/>
              <a:ea typeface="宋体" charset="-122"/>
              <a:cs typeface="Arial" pitchFamily="34" charset="0"/>
            </a:endParaRPr>
          </a:p>
          <a:p>
            <a:pPr algn="l">
              <a:lnSpc>
                <a:spcPct val="100000"/>
              </a:lnSpc>
              <a:buNone/>
            </a:pPr>
            <a:r>
              <a:rPr lang="en-US" altLang="zh-CN" sz="800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The information in this document may contain predictive statements </a:t>
            </a:r>
            <a:r>
              <a:rPr lang="en-US" altLang="zh-CN" sz="800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including, without limitation, statements </a:t>
            </a:r>
            <a:r>
              <a:rPr lang="en-US" altLang="zh-CN" sz="800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regarding the future financial and operating </a:t>
            </a:r>
            <a:r>
              <a:rPr lang="en-US" altLang="zh-CN" sz="800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results, future </a:t>
            </a:r>
            <a:r>
              <a:rPr lang="en-US" altLang="zh-CN" sz="800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product </a:t>
            </a:r>
            <a:r>
              <a:rPr lang="en-US" altLang="zh-CN" sz="800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portfolio, new technology, etc</a:t>
            </a:r>
            <a:r>
              <a:rPr lang="en-US" altLang="zh-CN" sz="800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. There are a number of factors that could cause actual results and developments to differ materially from those expressed or implied in the predictive statements. </a:t>
            </a:r>
            <a:r>
              <a:rPr lang="en-US" altLang="zh-CN" sz="800" kern="1200" dirty="0" smtClean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Therefore, such </a:t>
            </a:r>
            <a:r>
              <a:rPr lang="en-US" altLang="zh-CN" sz="800" kern="1200" dirty="0">
                <a:solidFill>
                  <a:schemeClr val="bg1">
                    <a:lumMod val="65000"/>
                  </a:schemeClr>
                </a:solidFill>
                <a:effectLst/>
                <a:latin typeface="+mn-lt"/>
                <a:ea typeface="宋体" charset="-122"/>
                <a:cs typeface="Arial" pitchFamily="34" charset="0"/>
              </a:rPr>
              <a:t>information is provided for reference purpose only and constitutes neither an offer nor an acceptance. Huawei may change the information at any time without notice. </a:t>
            </a:r>
            <a:endParaRPr lang="zh-CN" altLang="zh-CN" sz="800" kern="1200" dirty="0">
              <a:solidFill>
                <a:schemeClr val="bg1">
                  <a:lumMod val="65000"/>
                </a:schemeClr>
              </a:solidFill>
              <a:effectLst/>
              <a:latin typeface="+mn-lt"/>
              <a:ea typeface="宋体" charset="-122"/>
              <a:cs typeface="Arial" pitchFamily="34" charset="0"/>
            </a:endParaRPr>
          </a:p>
        </p:txBody>
      </p:sp>
      <p:sp>
        <p:nvSpPr>
          <p:cNvPr id="10" name="TextBox 13"/>
          <p:cNvSpPr txBox="1"/>
          <p:nvPr userDrawn="1"/>
        </p:nvSpPr>
        <p:spPr>
          <a:xfrm>
            <a:off x="6075270" y="2572007"/>
            <a:ext cx="5773830" cy="97872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zh-CN" sz="7200" b="1" i="0" dirty="0">
                <a:solidFill>
                  <a:schemeClr val="bg1"/>
                </a:solidFill>
              </a:rPr>
              <a:t>THANK YOU</a:t>
            </a:r>
            <a:endParaRPr lang="zh-CN" altLang="en-US" sz="7200" b="1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28430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126" rtl="0" eaLnBrk="1" latinLnBrk="0" hangingPunct="1">
        <a:spcBef>
          <a:spcPct val="0"/>
        </a:spcBef>
        <a:buNone/>
        <a:defRPr sz="31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797" indent="-342797" algn="l" defTabSz="914126" rtl="0" eaLnBrk="1" latinLnBrk="0" hangingPunct="1">
        <a:spcBef>
          <a:spcPct val="20000"/>
        </a:spcBef>
        <a:buFont typeface="Arial" pitchFamily="34" charset="0"/>
        <a:buChar char="•"/>
        <a:defRPr sz="2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727" indent="-285664" algn="l" defTabSz="914126" rtl="0" eaLnBrk="1" latinLnBrk="0" hangingPunct="1">
        <a:spcBef>
          <a:spcPct val="20000"/>
        </a:spcBef>
        <a:buFont typeface="Arial" pitchFamily="34" charset="0"/>
        <a:buChar char="–"/>
        <a:defRPr sz="23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657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99720" indent="-228531" algn="l" defTabSz="914126" rtl="0" eaLnBrk="1" latinLnBrk="0" hangingPunct="1">
        <a:spcBef>
          <a:spcPct val="20000"/>
        </a:spcBef>
        <a:buFont typeface="Arial" pitchFamily="34" charset="0"/>
        <a:buChar char="–"/>
        <a:defRPr sz="1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6783" indent="-228531" algn="l" defTabSz="914126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" y="0"/>
            <a:ext cx="12191648" cy="6858000"/>
          </a:xfrm>
          <a:prstGeom prst="rect">
            <a:avLst/>
          </a:prstGeom>
        </p:spPr>
      </p:pic>
      <p:pic>
        <p:nvPicPr>
          <p:cNvPr id="5" name="Picture 2" descr="E:\01 日常工作\04 展厅相关设计\2016年\CEBIT 2016\KV\主视觉KV\LEADING NEW ICT字体设计\leading new ict0216-out-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9066" y="5701202"/>
            <a:ext cx="2422574" cy="254172"/>
          </a:xfrm>
          <a:prstGeom prst="rect">
            <a:avLst/>
          </a:prstGeom>
          <a:noFill/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66" y="650785"/>
            <a:ext cx="982543" cy="97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60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58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itchFamily="34" charset="0"/>
        <a:buChar char="•"/>
        <a:defRPr sz="4299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36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26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2699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" y="0"/>
            <a:ext cx="12191648" cy="6858000"/>
          </a:xfrm>
          <a:prstGeom prst="rect">
            <a:avLst/>
          </a:prstGeom>
        </p:spPr>
      </p:pic>
      <p:sp>
        <p:nvSpPr>
          <p:cNvPr id="7" name="TextBox 22"/>
          <p:cNvSpPr txBox="1"/>
          <p:nvPr userDrawn="1"/>
        </p:nvSpPr>
        <p:spPr>
          <a:xfrm>
            <a:off x="613362" y="5372850"/>
            <a:ext cx="7706893" cy="746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/>
            <a:r>
              <a:rPr lang="en-US" altLang="zh-CN" sz="1050" b="1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Copyright©2018 Huawei Technologies Co</a:t>
            </a:r>
            <a:r>
              <a:rPr lang="en-US" altLang="zh-CN" sz="1050" b="1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., Ltd</a:t>
            </a:r>
            <a:r>
              <a:rPr lang="en-US" altLang="zh-CN" sz="1050" b="1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. All Rights Reserved.</a:t>
            </a:r>
            <a:endParaRPr lang="zh-CN" altLang="zh-CN" sz="1050" dirty="0" smtClean="0">
              <a:solidFill>
                <a:prstClr val="white">
                  <a:lumMod val="95000"/>
                </a:prstClr>
              </a:solidFill>
              <a:ea typeface="宋体" charset="-122"/>
              <a:cs typeface="Arial" pitchFamily="34" charset="0"/>
            </a:endParaRPr>
          </a:p>
          <a:p>
            <a:pPr defTabSz="1219078"/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The information in this document may contain predictive statements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including, without limitation, statements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regarding the future financial and operating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results, future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product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portfolio, new technology, etc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. There are a number of factors that could cause actual results and developments to differ materially from those expressed or implied in the predictive statements.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Therefore, such </a:t>
            </a:r>
            <a:r>
              <a:rPr lang="en-US" altLang="zh-CN" sz="800" dirty="0" smtClean="0">
                <a:solidFill>
                  <a:prstClr val="white">
                    <a:lumMod val="95000"/>
                  </a:prstClr>
                </a:solidFill>
                <a:ea typeface="宋体" charset="-122"/>
                <a:cs typeface="Arial" pitchFamily="34" charset="0"/>
              </a:rPr>
              <a:t>information is provided for reference purpose only and constitutes neither an offer nor an acceptance. Huawei may change the information at any time without notice. </a:t>
            </a:r>
            <a:endParaRPr lang="zh-CN" altLang="zh-CN" sz="800" dirty="0">
              <a:solidFill>
                <a:prstClr val="white">
                  <a:lumMod val="95000"/>
                </a:prstClr>
              </a:solidFill>
              <a:ea typeface="宋体" charset="-122"/>
              <a:cs typeface="Arial" pitchFamily="34" charset="0"/>
            </a:endParaRPr>
          </a:p>
        </p:txBody>
      </p:sp>
      <p:sp>
        <p:nvSpPr>
          <p:cNvPr id="8" name="TextBox 20"/>
          <p:cNvSpPr txBox="1"/>
          <p:nvPr userDrawn="1"/>
        </p:nvSpPr>
        <p:spPr>
          <a:xfrm>
            <a:off x="613362" y="2421122"/>
            <a:ext cx="5442213" cy="904654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defTabSz="1219078">
              <a:lnSpc>
                <a:spcPct val="80000"/>
              </a:lnSpc>
            </a:pPr>
            <a:r>
              <a:rPr lang="en-US" altLang="zh-CN" sz="6598" b="1" dirty="0" smtClean="0">
                <a:solidFill>
                  <a:prstClr val="white"/>
                </a:solidFill>
              </a:rPr>
              <a:t>THANK YOU</a:t>
            </a:r>
            <a:endParaRPr lang="zh-CN" altLang="en-US" sz="6598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554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58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itchFamily="34" charset="0"/>
        <a:buChar char="•"/>
        <a:defRPr sz="4299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36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26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2699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" y="0"/>
            <a:ext cx="12191648" cy="6858000"/>
          </a:xfrm>
          <a:prstGeom prst="rect">
            <a:avLst/>
          </a:prstGeom>
        </p:spPr>
      </p:pic>
      <p:pic>
        <p:nvPicPr>
          <p:cNvPr id="5" name="Picture 2" descr="E:\01 日常工作\04 展厅相关设计\2016年\CEBIT 2016\KV\主视觉KV\LEADING NEW ICT字体设计\leading new ict0216-out-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9066" y="5701202"/>
            <a:ext cx="2422574" cy="254172"/>
          </a:xfrm>
          <a:prstGeom prst="rect">
            <a:avLst/>
          </a:prstGeom>
          <a:noFill/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66" y="650785"/>
            <a:ext cx="982543" cy="97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391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58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itchFamily="34" charset="0"/>
        <a:buChar char="•"/>
        <a:defRPr sz="4299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itchFamily="34" charset="0"/>
        <a:buChar char="–"/>
        <a:defRPr sz="36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itchFamily="34" charset="0"/>
        <a:buChar char="–"/>
        <a:defRPr sz="26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itchFamily="34" charset="0"/>
        <a:buChar char="»"/>
        <a:defRPr sz="2699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26" Type="http://schemas.openxmlformats.org/officeDocument/2006/relationships/image" Target="../media/image55.png"/><Relationship Id="rId3" Type="http://schemas.openxmlformats.org/officeDocument/2006/relationships/image" Target="../media/image36.jpeg"/><Relationship Id="rId21" Type="http://schemas.openxmlformats.org/officeDocument/2006/relationships/slide" Target="slide6.xml"/><Relationship Id="rId7" Type="http://schemas.openxmlformats.org/officeDocument/2006/relationships/image" Target="../media/image40.jpeg"/><Relationship Id="rId12" Type="http://schemas.openxmlformats.org/officeDocument/2006/relationships/slide" Target="slide5.xml"/><Relationship Id="rId17" Type="http://schemas.openxmlformats.org/officeDocument/2006/relationships/image" Target="../media/image49.png"/><Relationship Id="rId25" Type="http://schemas.openxmlformats.org/officeDocument/2006/relationships/slide" Target="slide3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8.png"/><Relationship Id="rId20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eg"/><Relationship Id="rId11" Type="http://schemas.openxmlformats.org/officeDocument/2006/relationships/image" Target="../media/image44.jpeg"/><Relationship Id="rId24" Type="http://schemas.openxmlformats.org/officeDocument/2006/relationships/image" Target="../media/image54.gif"/><Relationship Id="rId5" Type="http://schemas.openxmlformats.org/officeDocument/2006/relationships/image" Target="../media/image38.png"/><Relationship Id="rId15" Type="http://schemas.openxmlformats.org/officeDocument/2006/relationships/image" Target="../media/image47.png"/><Relationship Id="rId23" Type="http://schemas.openxmlformats.org/officeDocument/2006/relationships/slide" Target="slide7.xml"/><Relationship Id="rId10" Type="http://schemas.openxmlformats.org/officeDocument/2006/relationships/image" Target="../media/image43.jpeg"/><Relationship Id="rId19" Type="http://schemas.openxmlformats.org/officeDocument/2006/relationships/image" Target="../media/image51.png"/><Relationship Id="rId4" Type="http://schemas.openxmlformats.org/officeDocument/2006/relationships/image" Target="../media/image37.jpeg"/><Relationship Id="rId9" Type="http://schemas.openxmlformats.org/officeDocument/2006/relationships/image" Target="../media/image42.jpeg"/><Relationship Id="rId14" Type="http://schemas.openxmlformats.org/officeDocument/2006/relationships/image" Target="../media/image46.png"/><Relationship Id="rId22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emf"/><Relationship Id="rId7" Type="http://schemas.openxmlformats.org/officeDocument/2006/relationships/image" Target="../media/image77.jpeg"/><Relationship Id="rId12" Type="http://schemas.openxmlformats.org/officeDocument/2006/relationships/image" Target="../media/image82.jpeg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11" Type="http://schemas.openxmlformats.org/officeDocument/2006/relationships/image" Target="../media/image81.jpe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emf"/><Relationship Id="rId9" Type="http://schemas.openxmlformats.org/officeDocument/2006/relationships/image" Target="../media/image79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jpe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92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png"/><Relationship Id="rId3" Type="http://schemas.openxmlformats.org/officeDocument/2006/relationships/image" Target="../media/image95.jpeg"/><Relationship Id="rId7" Type="http://schemas.openxmlformats.org/officeDocument/2006/relationships/image" Target="../media/image99.jpeg"/><Relationship Id="rId12" Type="http://schemas.openxmlformats.org/officeDocument/2006/relationships/image" Target="../media/image10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98.jpeg"/><Relationship Id="rId11" Type="http://schemas.openxmlformats.org/officeDocument/2006/relationships/image" Target="../media/image103.png"/><Relationship Id="rId5" Type="http://schemas.openxmlformats.org/officeDocument/2006/relationships/image" Target="../media/image97.jpeg"/><Relationship Id="rId10" Type="http://schemas.openxmlformats.org/officeDocument/2006/relationships/image" Target="../media/image102.jpeg"/><Relationship Id="rId4" Type="http://schemas.openxmlformats.org/officeDocument/2006/relationships/image" Target="../media/image96.jpeg"/><Relationship Id="rId9" Type="http://schemas.openxmlformats.org/officeDocument/2006/relationships/image" Target="../media/image10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12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jpeg"/><Relationship Id="rId12" Type="http://schemas.openxmlformats.org/officeDocument/2006/relationships/image" Target="../media/image124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5" Type="http://schemas.openxmlformats.org/officeDocument/2006/relationships/image" Target="../media/image117.png"/><Relationship Id="rId10" Type="http://schemas.openxmlformats.org/officeDocument/2006/relationships/image" Target="../media/image122.png"/><Relationship Id="rId4" Type="http://schemas.openxmlformats.org/officeDocument/2006/relationships/image" Target="../media/image116.png"/><Relationship Id="rId9" Type="http://schemas.openxmlformats.org/officeDocument/2006/relationships/image" Target="../media/image121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36.png"/><Relationship Id="rId3" Type="http://schemas.openxmlformats.org/officeDocument/2006/relationships/image" Target="../media/image126.png"/><Relationship Id="rId7" Type="http://schemas.openxmlformats.org/officeDocument/2006/relationships/image" Target="../media/image130.png"/><Relationship Id="rId12" Type="http://schemas.openxmlformats.org/officeDocument/2006/relationships/image" Target="../media/image135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9.png"/><Relationship Id="rId11" Type="http://schemas.openxmlformats.org/officeDocument/2006/relationships/image" Target="../media/image134.png"/><Relationship Id="rId5" Type="http://schemas.openxmlformats.org/officeDocument/2006/relationships/image" Target="../media/image128.png"/><Relationship Id="rId10" Type="http://schemas.openxmlformats.org/officeDocument/2006/relationships/image" Target="../media/image133.png"/><Relationship Id="rId4" Type="http://schemas.openxmlformats.org/officeDocument/2006/relationships/image" Target="../media/image127.png"/><Relationship Id="rId9" Type="http://schemas.openxmlformats.org/officeDocument/2006/relationships/image" Target="../media/image13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13" Type="http://schemas.openxmlformats.org/officeDocument/2006/relationships/image" Target="../media/image148.png"/><Relationship Id="rId18" Type="http://schemas.openxmlformats.org/officeDocument/2006/relationships/image" Target="../media/image153.png"/><Relationship Id="rId26" Type="http://schemas.openxmlformats.org/officeDocument/2006/relationships/image" Target="../media/image161.png"/><Relationship Id="rId39" Type="http://schemas.openxmlformats.org/officeDocument/2006/relationships/image" Target="../media/image174.png"/><Relationship Id="rId3" Type="http://schemas.openxmlformats.org/officeDocument/2006/relationships/image" Target="../media/image138.png"/><Relationship Id="rId21" Type="http://schemas.openxmlformats.org/officeDocument/2006/relationships/image" Target="../media/image156.png"/><Relationship Id="rId34" Type="http://schemas.openxmlformats.org/officeDocument/2006/relationships/image" Target="../media/image169.png"/><Relationship Id="rId7" Type="http://schemas.openxmlformats.org/officeDocument/2006/relationships/image" Target="../media/image142.png"/><Relationship Id="rId12" Type="http://schemas.openxmlformats.org/officeDocument/2006/relationships/image" Target="../media/image147.png"/><Relationship Id="rId17" Type="http://schemas.openxmlformats.org/officeDocument/2006/relationships/image" Target="../media/image152.png"/><Relationship Id="rId25" Type="http://schemas.openxmlformats.org/officeDocument/2006/relationships/image" Target="../media/image160.png"/><Relationship Id="rId33" Type="http://schemas.openxmlformats.org/officeDocument/2006/relationships/image" Target="../media/image168.png"/><Relationship Id="rId38" Type="http://schemas.openxmlformats.org/officeDocument/2006/relationships/image" Target="../media/image173.png"/><Relationship Id="rId2" Type="http://schemas.openxmlformats.org/officeDocument/2006/relationships/image" Target="../media/image137.jpeg"/><Relationship Id="rId16" Type="http://schemas.openxmlformats.org/officeDocument/2006/relationships/image" Target="../media/image151.png"/><Relationship Id="rId20" Type="http://schemas.openxmlformats.org/officeDocument/2006/relationships/image" Target="../media/image155.png"/><Relationship Id="rId29" Type="http://schemas.openxmlformats.org/officeDocument/2006/relationships/image" Target="../media/image164.png"/><Relationship Id="rId41" Type="http://schemas.openxmlformats.org/officeDocument/2006/relationships/image" Target="../media/image17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png"/><Relationship Id="rId11" Type="http://schemas.openxmlformats.org/officeDocument/2006/relationships/image" Target="../media/image146.png"/><Relationship Id="rId24" Type="http://schemas.openxmlformats.org/officeDocument/2006/relationships/image" Target="../media/image159.png"/><Relationship Id="rId32" Type="http://schemas.openxmlformats.org/officeDocument/2006/relationships/image" Target="../media/image167.png"/><Relationship Id="rId37" Type="http://schemas.openxmlformats.org/officeDocument/2006/relationships/image" Target="../media/image172.gif"/><Relationship Id="rId40" Type="http://schemas.openxmlformats.org/officeDocument/2006/relationships/image" Target="../media/image175.jpeg"/><Relationship Id="rId5" Type="http://schemas.openxmlformats.org/officeDocument/2006/relationships/image" Target="../media/image140.png"/><Relationship Id="rId15" Type="http://schemas.openxmlformats.org/officeDocument/2006/relationships/image" Target="../media/image150.png"/><Relationship Id="rId23" Type="http://schemas.openxmlformats.org/officeDocument/2006/relationships/image" Target="../media/image158.png"/><Relationship Id="rId28" Type="http://schemas.openxmlformats.org/officeDocument/2006/relationships/image" Target="../media/image163.png"/><Relationship Id="rId36" Type="http://schemas.openxmlformats.org/officeDocument/2006/relationships/image" Target="../media/image171.png"/><Relationship Id="rId10" Type="http://schemas.openxmlformats.org/officeDocument/2006/relationships/image" Target="../media/image145.png"/><Relationship Id="rId19" Type="http://schemas.openxmlformats.org/officeDocument/2006/relationships/image" Target="../media/image154.png"/><Relationship Id="rId31" Type="http://schemas.openxmlformats.org/officeDocument/2006/relationships/image" Target="../media/image166.png"/><Relationship Id="rId4" Type="http://schemas.openxmlformats.org/officeDocument/2006/relationships/image" Target="../media/image139.png"/><Relationship Id="rId9" Type="http://schemas.openxmlformats.org/officeDocument/2006/relationships/image" Target="../media/image144.png"/><Relationship Id="rId14" Type="http://schemas.openxmlformats.org/officeDocument/2006/relationships/image" Target="../media/image149.png"/><Relationship Id="rId22" Type="http://schemas.openxmlformats.org/officeDocument/2006/relationships/image" Target="../media/image157.png"/><Relationship Id="rId27" Type="http://schemas.openxmlformats.org/officeDocument/2006/relationships/image" Target="../media/image162.png"/><Relationship Id="rId30" Type="http://schemas.openxmlformats.org/officeDocument/2006/relationships/image" Target="../media/image165.png"/><Relationship Id="rId35" Type="http://schemas.openxmlformats.org/officeDocument/2006/relationships/image" Target="../media/image17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jpeg"/><Relationship Id="rId2" Type="http://schemas.openxmlformats.org/officeDocument/2006/relationships/image" Target="../media/image17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jpe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442734" y="2121909"/>
            <a:ext cx="8328231" cy="969759"/>
          </a:xfrm>
          <a:prstGeom prst="rect">
            <a:avLst/>
          </a:prstGeom>
        </p:spPr>
        <p:txBody>
          <a:bodyPr vert="horz" lIns="121912" tIns="60956" rIns="121912" bIns="60956" rtlCol="0" anchor="ctr">
            <a:noAutofit/>
          </a:bodyPr>
          <a:lstStyle>
            <a:lvl1pPr algn="l">
              <a:defRPr sz="5600" b="0" baseline="0">
                <a:solidFill>
                  <a:schemeClr val="tx1">
                    <a:lumMod val="95000"/>
                    <a:lumOff val="5000"/>
                  </a:schemeClr>
                </a:solidFill>
                <a:latin typeface="方正兰亭细黑_GBK" pitchFamily="2" charset="-122"/>
                <a:ea typeface="方正兰亭细黑_GBK" pitchFamily="2" charset="-122"/>
                <a:cs typeface="Arial" pitchFamily="34" charset="0"/>
              </a:defRPr>
            </a:lvl1pPr>
          </a:lstStyle>
          <a:p>
            <a:pPr defTabSz="1219078" fontAlgn="ctr"/>
            <a:r>
              <a:rPr lang="en-US" altLang="zh-CN" sz="4000" b="1" dirty="0">
                <a:solidFill>
                  <a:srgbClr val="FFC000"/>
                </a:solidFill>
                <a:latin typeface="Arial" panose="020B0604020202020204" pitchFamily="34" charset="0"/>
              </a:rPr>
              <a:t>Better </a:t>
            </a:r>
            <a:r>
              <a:rPr lang="en-US" altLang="zh-CN" sz="40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Governance, Better Livelihood, and </a:t>
            </a:r>
            <a:r>
              <a:rPr lang="en-US" altLang="zh-CN" sz="4000" b="1" dirty="0">
                <a:solidFill>
                  <a:srgbClr val="FFC000"/>
                </a:solidFill>
                <a:latin typeface="Arial" panose="020B0604020202020204" pitchFamily="34" charset="0"/>
              </a:rPr>
              <a:t>Better Industr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1934" y="3734073"/>
            <a:ext cx="8449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06" fontAlgn="ctr">
              <a:spcBef>
                <a:spcPct val="0"/>
              </a:spcBef>
            </a:pPr>
            <a:r>
              <a:rPr lang="en-US" altLang="zh-CN" sz="2400" b="1" dirty="0">
                <a:solidFill>
                  <a:prstClr val="white"/>
                </a:solidFill>
                <a:latin typeface="Arial" panose="020B0604020202020204" pitchFamily="34" charset="0"/>
              </a:rPr>
              <a:t>New </a:t>
            </a:r>
            <a:r>
              <a:rPr lang="en-US" altLang="zh-CN" sz="2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CT, Creating </a:t>
            </a:r>
            <a:r>
              <a:rPr lang="en-US" altLang="zh-CN" sz="2400" b="1" dirty="0">
                <a:solidFill>
                  <a:prstClr val="white"/>
                </a:solidFill>
                <a:latin typeface="Arial" panose="020B0604020202020204" pitchFamily="34" charset="0"/>
              </a:rPr>
              <a:t>a Smart City Nervous System</a:t>
            </a:r>
            <a:endParaRPr lang="en-US" altLang="zh-CN" sz="2400" b="1" noProof="1">
              <a:solidFill>
                <a:prstClr val="white"/>
              </a:solidFill>
              <a:latin typeface="Arial" panose="020B0604020202020204" pitchFamily="34" charset="0"/>
              <a:sym typeface="FrutigerNext LT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3051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图片 9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52307" y="1797592"/>
            <a:ext cx="11077770" cy="3384875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1"/>
              <a:tileRect/>
            </a:gradFill>
            <a:round/>
            <a:headEnd/>
            <a:tailEnd/>
          </a:ln>
        </p:spPr>
      </p:pic>
      <p:sp>
        <p:nvSpPr>
          <p:cNvPr id="24" name="TextBox 2">
            <a:extLst>
              <a:ext uri="{FF2B5EF4-FFF2-40B4-BE49-F238E27FC236}">
                <a16:creationId xmlns="" xmlns:a16="http://schemas.microsoft.com/office/drawing/2014/main" id="{DD54965B-6A87-481D-8E8E-DC8975C9A29F}"/>
              </a:ext>
            </a:extLst>
          </p:cNvPr>
          <p:cNvSpPr txBox="1"/>
          <p:nvPr/>
        </p:nvSpPr>
        <p:spPr>
          <a:xfrm>
            <a:off x="552306" y="166460"/>
            <a:ext cx="9250061" cy="1292277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OC Improves City Management and Decision-Making Efficiency Based on Bi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ata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25D6F1B9-702F-42D3-8386-0F6D0E6CEC7B}"/>
              </a:ext>
            </a:extLst>
          </p:cNvPr>
          <p:cNvSpPr/>
          <p:nvPr/>
        </p:nvSpPr>
        <p:spPr>
          <a:xfrm>
            <a:off x="552306" y="5253476"/>
            <a:ext cx="11077770" cy="1037595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143963" tIns="32366" rIns="143963" bIns="32366" numCol="1" anchor="ctr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ake full use of Big Data analytics to comprehensively display the economic and social operating status of Longgang District. In this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ay, a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ommand platform is set up for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fficient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ecision-making and precise dispatching needed for better city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anagement, building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 'smart city brain' in Longgang.</a:t>
            </a:r>
            <a:endParaRPr lang="en-US" altLang="zh-CN" sz="1600" b="1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OC: intelligent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operation center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2" name="自选图形 16">
            <a:extLst>
              <a:ext uri="{FF2B5EF4-FFF2-40B4-BE49-F238E27FC236}">
                <a16:creationId xmlns="" xmlns:a16="http://schemas.microsoft.com/office/drawing/2014/main" id="{C3EE02E6-ED4E-4F99-B99F-F1F6A75318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06" y="1249240"/>
            <a:ext cx="2165543" cy="540000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b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Visualized situation </a:t>
            </a: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r</a:t>
            </a:r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eports 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7" name="自选图形 16">
            <a:extLst>
              <a:ext uri="{FF2B5EF4-FFF2-40B4-BE49-F238E27FC236}">
                <a16:creationId xmlns="" xmlns:a16="http://schemas.microsoft.com/office/drawing/2014/main" id="{6FADC26C-7F4A-434A-B935-B60D84F675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2767" y="1249240"/>
            <a:ext cx="2165543" cy="540000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peration </a:t>
            </a: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</a:t>
            </a:r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nitoring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9" name="自选图形 16">
            <a:extLst>
              <a:ext uri="{FF2B5EF4-FFF2-40B4-BE49-F238E27FC236}">
                <a16:creationId xmlns="" xmlns:a16="http://schemas.microsoft.com/office/drawing/2014/main" id="{67BA0944-7E7A-427F-961B-E96ACEDD1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3229" y="1249240"/>
            <a:ext cx="2165543" cy="540000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b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Decision-making support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30" name="自选图形 16">
            <a:extLst>
              <a:ext uri="{FF2B5EF4-FFF2-40B4-BE49-F238E27FC236}">
                <a16:creationId xmlns="" xmlns:a16="http://schemas.microsoft.com/office/drawing/2014/main" id="{BEA846F5-0A0C-42EE-9F13-6246A3F06D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3691" y="1249240"/>
            <a:ext cx="2165543" cy="540000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United command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31" name="自选图形 16">
            <a:extLst>
              <a:ext uri="{FF2B5EF4-FFF2-40B4-BE49-F238E27FC236}">
                <a16:creationId xmlns="" xmlns:a16="http://schemas.microsoft.com/office/drawing/2014/main" id="{86D1F3E6-B8DA-4B77-87AD-7435D4CE15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4152" y="1249240"/>
            <a:ext cx="2165543" cy="540000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b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mprehensive governanc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585837" y="2360754"/>
            <a:ext cx="2317883" cy="253916"/>
          </a:xfrm>
          <a:prstGeom prst="rect">
            <a:avLst/>
          </a:prstGeom>
          <a:solidFill>
            <a:srgbClr val="242838"/>
          </a:solidFill>
        </p:spPr>
        <p:txBody>
          <a:bodyPr wrap="square" rtlCol="0" anchor="ctr">
            <a:noAutofit/>
          </a:bodyPr>
          <a:lstStyle/>
          <a:p>
            <a:pPr algn="ctr" fontAlgn="ctr"/>
            <a:r>
              <a:rPr lang="en-US" altLang="zh-CN" sz="10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gang Smart Operation Management Center</a:t>
            </a:r>
            <a:endParaRPr lang="en-US" altLang="zh-CN" sz="10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7687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自选图形 16"/>
          <p:cNvSpPr>
            <a:spLocks noChangeArrowheads="1"/>
          </p:cNvSpPr>
          <p:nvPr/>
        </p:nvSpPr>
        <p:spPr bwMode="auto">
          <a:xfrm>
            <a:off x="7973518" y="1313249"/>
            <a:ext cx="3666175" cy="484348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Municipal maintenance (micro)</a:t>
            </a:r>
            <a:endParaRPr lang="en-US" altLang="zh-CN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88" name="自选图形 16"/>
          <p:cNvSpPr>
            <a:spLocks noChangeArrowheads="1"/>
          </p:cNvSpPr>
          <p:nvPr/>
        </p:nvSpPr>
        <p:spPr bwMode="auto">
          <a:xfrm>
            <a:off x="552306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verall situation (macro)</a:t>
            </a:r>
            <a:endParaRPr lang="en-US" sz="17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84" name="自选图形 16"/>
          <p:cNvSpPr>
            <a:spLocks noChangeArrowheads="1"/>
          </p:cNvSpPr>
          <p:nvPr/>
        </p:nvSpPr>
        <p:spPr bwMode="auto">
          <a:xfrm>
            <a:off x="4262913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Regional monitoring (meso)</a:t>
            </a:r>
            <a:endParaRPr lang="en-US" altLang="zh-CN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97" name="TextBox 2"/>
          <p:cNvSpPr txBox="1"/>
          <p:nvPr/>
        </p:nvSpPr>
        <p:spPr>
          <a:xfrm>
            <a:off x="494572" y="372696"/>
            <a:ext cx="7447453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ulti-dimensional Insights into a City from Macro to Micro by IOC</a:t>
            </a:r>
            <a:endParaRPr kumimoji="1" lang="en-US" altLang="zh-CN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Picture 2" descr="C:\Users\c00151668\Desktop\111\总体监控.jpg">
            <a:extLst>
              <a:ext uri="{FF2B5EF4-FFF2-40B4-BE49-F238E27FC236}">
                <a16:creationId xmlns="" xmlns:a16="http://schemas.microsoft.com/office/drawing/2014/main" id="{A9141B4D-BD01-4E9B-9F58-0EEC9ECEF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113" y="1797597"/>
            <a:ext cx="11084060" cy="4069752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1"/>
              <a:tileRect/>
            </a:gradFill>
            <a:round/>
            <a:headEnd/>
            <a:tailEnd/>
          </a:ln>
        </p:spPr>
      </p:pic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F7FF83E2-8273-49C5-9624-9B620C6B7348}"/>
              </a:ext>
            </a:extLst>
          </p:cNvPr>
          <p:cNvSpPr/>
          <p:nvPr/>
        </p:nvSpPr>
        <p:spPr>
          <a:xfrm>
            <a:off x="670386" y="4907514"/>
            <a:ext cx="10851229" cy="641383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143963" tIns="32366" rIns="143963" bIns="32366" numCol="1" anchor="ctr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t the macro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evel, display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and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lanning, economy, transportation, population, and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cological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nvironment, and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entrally manage information related to city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perations, such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s water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upply, power supply, parking, streetlights, water affairs, and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griculture. Compare and analyze the information from each layer.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3384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c00151668\Desktop\111\区域监控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114" y="1797598"/>
            <a:ext cx="11084581" cy="4088182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1"/>
              <a:tileRect/>
            </a:gradFill>
            <a:round/>
            <a:headEnd/>
            <a:tailEnd/>
          </a:ln>
        </p:spPr>
      </p:pic>
      <p:sp>
        <p:nvSpPr>
          <p:cNvPr id="20" name="自选图形 16">
            <a:extLst>
              <a:ext uri="{FF2B5EF4-FFF2-40B4-BE49-F238E27FC236}">
                <a16:creationId xmlns="" xmlns:a16="http://schemas.microsoft.com/office/drawing/2014/main" id="{8E94D76F-E769-427D-AA2B-6C0AFCA751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3518" y="1313249"/>
            <a:ext cx="3666175" cy="484348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Municipal maintenance (micro)</a:t>
            </a:r>
            <a:endParaRPr lang="en-US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自选图形 16">
            <a:extLst>
              <a:ext uri="{FF2B5EF4-FFF2-40B4-BE49-F238E27FC236}">
                <a16:creationId xmlns="" xmlns:a16="http://schemas.microsoft.com/office/drawing/2014/main" id="{52FED9D9-339B-4D68-B21F-3DFA17EB94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06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Overall situation (macro)</a:t>
            </a:r>
            <a:endParaRPr lang="en-US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22" name="自选图形 16">
            <a:extLst>
              <a:ext uri="{FF2B5EF4-FFF2-40B4-BE49-F238E27FC236}">
                <a16:creationId xmlns="" xmlns:a16="http://schemas.microsoft.com/office/drawing/2014/main" id="{BCCEA4A3-86C0-4549-938A-8F86AEF97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913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Regional monitoring (meso)</a:t>
            </a:r>
            <a:endParaRPr lang="en-US" sz="17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251C9DAA-9715-4D41-B06A-DF3003966745}"/>
              </a:ext>
            </a:extLst>
          </p:cNvPr>
          <p:cNvSpPr/>
          <p:nvPr/>
        </p:nvSpPr>
        <p:spPr>
          <a:xfrm>
            <a:off x="670386" y="4907514"/>
            <a:ext cx="10851229" cy="641383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143963" tIns="32366" rIns="143963" bIns="32366" numCol="1" anchor="ctr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Focus on key areas of a city based on the decision-making requirements. Use Big Data analytics to present service data of those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reas, such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s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uildings, fire protection, sanitation, energy consumption, public opinions, and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urveillance in key venues. In this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ay, we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an flexibly cope with emergencies in the region.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472309" y="381840"/>
            <a:ext cx="7447453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ulti-dimensional Insights into a City from Macro to Micro by IOC</a:t>
            </a:r>
            <a:endParaRPr kumimoji="1" lang="en-US" altLang="zh-CN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8292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Users\c00151668\Desktop\111\街道监控1.jpg">
            <a:extLst>
              <a:ext uri="{FF2B5EF4-FFF2-40B4-BE49-F238E27FC236}">
                <a16:creationId xmlns="" xmlns:a16="http://schemas.microsoft.com/office/drawing/2014/main" id="{A6E94F03-1CAA-4BCA-8F6C-A2B6764B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114" y="1797597"/>
            <a:ext cx="11084581" cy="4324166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1"/>
              <a:tileRect/>
            </a:gradFill>
            <a:round/>
            <a:headEnd/>
            <a:tailEnd/>
          </a:ln>
        </p:spPr>
      </p:pic>
      <p:sp>
        <p:nvSpPr>
          <p:cNvPr id="25" name="自选图形 16">
            <a:extLst>
              <a:ext uri="{FF2B5EF4-FFF2-40B4-BE49-F238E27FC236}">
                <a16:creationId xmlns="" xmlns:a16="http://schemas.microsoft.com/office/drawing/2014/main" id="{F51431FE-006E-4D68-9E04-B572DC6F1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3518" y="1313249"/>
            <a:ext cx="3666175" cy="484348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unicipal maintenance (micro)</a:t>
            </a:r>
            <a:endParaRPr lang="en-US" altLang="zh-CN" sz="17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6" name="自选图形 16">
            <a:extLst>
              <a:ext uri="{FF2B5EF4-FFF2-40B4-BE49-F238E27FC236}">
                <a16:creationId xmlns="" xmlns:a16="http://schemas.microsoft.com/office/drawing/2014/main" id="{E48057BA-E2BB-4F3C-88B5-F97109716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06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Overall situation (macro)</a:t>
            </a:r>
            <a:endParaRPr lang="en-US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27" name="自选图形 16">
            <a:extLst>
              <a:ext uri="{FF2B5EF4-FFF2-40B4-BE49-F238E27FC236}">
                <a16:creationId xmlns="" xmlns:a16="http://schemas.microsoft.com/office/drawing/2014/main" id="{959090ED-E33C-4353-8A03-324C1853D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2913" y="1313249"/>
            <a:ext cx="3647705" cy="484343"/>
          </a:xfrm>
          <a:prstGeom prst="round2SameRect">
            <a:avLst>
              <a:gd name="adj1" fmla="val 29216"/>
              <a:gd name="adj2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r>
              <a:rPr lang="en-US" sz="1799" dirty="0" smtClean="0">
                <a:solidFill>
                  <a:srgbClr val="00B0F0"/>
                </a:solidFill>
                <a:latin typeface="Arial" panose="020B0604020202020204" pitchFamily="34" charset="0"/>
              </a:rPr>
              <a:t>Regional monitoring (meso)</a:t>
            </a:r>
            <a:endParaRPr lang="en-US" sz="1799" dirty="0">
              <a:solidFill>
                <a:srgbClr val="00B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="" xmlns:a16="http://schemas.microsoft.com/office/drawing/2014/main" id="{7E8DE939-35BE-4541-9263-9A94505F3C02}"/>
              </a:ext>
            </a:extLst>
          </p:cNvPr>
          <p:cNvSpPr/>
          <p:nvPr/>
        </p:nvSpPr>
        <p:spPr>
          <a:xfrm>
            <a:off x="670386" y="4907514"/>
            <a:ext cx="10851229" cy="641383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 flip="none" rotWithShape="1"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5400000" scaled="1"/>
              <a:tileRect/>
            </a:gradFill>
            <a:round/>
            <a:headEnd/>
            <a:tailEnd/>
          </a:ln>
        </p:spPr>
        <p:txBody>
          <a:bodyPr vert="horz" wrap="square" lIns="143963" tIns="32366" rIns="143963" bIns="32366" numCol="1" anchor="ctr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ased on the IoT </a:t>
            </a: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ata, monitor </a:t>
            </a: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the distribution and operating status of facilities along key </a:t>
            </a: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treets, including streetlights, manhole covers, and water, electricity, heating, and </a:t>
            </a: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gas lines</a:t>
            </a:r>
            <a:r>
              <a:rPr lang="en-US" sz="1400" b="1" dirty="0" smtClean="0">
                <a:solidFill>
                  <a:schemeClr val="bg1"/>
                </a:solidFill>
              </a:rPr>
              <a:t>. </a:t>
            </a:r>
            <a:r>
              <a:rPr lang="en-US" altLang="zh-CN" sz="1400" b="1" dirty="0" smtClean="0">
                <a:solidFill>
                  <a:schemeClr val="bg1"/>
                </a:solidFill>
              </a:rPr>
              <a:t>In this </a:t>
            </a:r>
            <a:r>
              <a:rPr lang="en-US" altLang="zh-CN" sz="1400" b="1" dirty="0" smtClean="0">
                <a:solidFill>
                  <a:schemeClr val="bg1"/>
                </a:solidFill>
              </a:rPr>
              <a:t>way, maintain </a:t>
            </a:r>
            <a:r>
              <a:rPr lang="en-US" altLang="zh-CN" sz="1400" b="1" dirty="0" smtClean="0">
                <a:solidFill>
                  <a:schemeClr val="bg1"/>
                </a:solidFill>
              </a:rPr>
              <a:t>facilities in real time and improve public services.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516921" y="381840"/>
            <a:ext cx="7447453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ulti-dimensional Insights into a City from Macro to Micro by IOC</a:t>
            </a:r>
            <a:endParaRPr kumimoji="1" lang="en-US" altLang="zh-CN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6421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10384" y="1951386"/>
            <a:ext cx="11566464" cy="4063634"/>
            <a:chOff x="733855" y="1951795"/>
            <a:chExt cx="10910458" cy="3847513"/>
          </a:xfrm>
        </p:grpSpPr>
        <p:sp>
          <p:nvSpPr>
            <p:cNvPr id="9" name="矩形 8"/>
            <p:cNvSpPr/>
            <p:nvPr/>
          </p:nvSpPr>
          <p:spPr>
            <a:xfrm>
              <a:off x="733855" y="2309190"/>
              <a:ext cx="936104" cy="3490118"/>
            </a:xfrm>
            <a:prstGeom prst="rect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126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endParaRPr lang="en-US" altLang="zh-CN" sz="1400" dirty="0">
                <a:solidFill>
                  <a:prstClr val="white"/>
                </a:solidFill>
                <a:latin typeface="Arial" panose="020B0604020202020204" pitchFamily="34" charset="0"/>
                <a:cs typeface="Calibri" pitchFamily="34" charset="0"/>
              </a:endParaRPr>
            </a:p>
          </p:txBody>
        </p:sp>
        <p:grpSp>
          <p:nvGrpSpPr>
            <p:cNvPr id="51" name="组合 50"/>
            <p:cNvGrpSpPr/>
            <p:nvPr/>
          </p:nvGrpSpPr>
          <p:grpSpPr>
            <a:xfrm>
              <a:off x="859907" y="2525184"/>
              <a:ext cx="684000" cy="3058130"/>
              <a:chOff x="859907" y="2913073"/>
              <a:chExt cx="684000" cy="3058130"/>
            </a:xfrm>
          </p:grpSpPr>
          <p:sp>
            <p:nvSpPr>
              <p:cNvPr id="10" name="圆柱形 9"/>
              <p:cNvSpPr/>
              <p:nvPr/>
            </p:nvSpPr>
            <p:spPr>
              <a:xfrm>
                <a:off x="859907" y="5071203"/>
                <a:ext cx="684000" cy="900000"/>
              </a:xfrm>
              <a:prstGeom prst="can">
                <a:avLst/>
              </a:prstGeom>
              <a:solidFill>
                <a:srgbClr val="00B0F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0" tIns="0" rIns="0" bIns="0" rtlCol="0" anchor="ctr" anchorCtr="0">
                <a:noAutofit/>
              </a:bodyPr>
              <a:lstStyle/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Economic</a:t>
                </a:r>
                <a:endParaRPr lang="en-US" altLang="zh-CN" sz="11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data</a:t>
                </a:r>
                <a:endParaRPr lang="en-US" sz="11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" name="圆柱形 10"/>
              <p:cNvSpPr/>
              <p:nvPr/>
            </p:nvSpPr>
            <p:spPr>
              <a:xfrm>
                <a:off x="859907" y="4136156"/>
                <a:ext cx="684000" cy="900000"/>
              </a:xfrm>
              <a:prstGeom prst="can">
                <a:avLst/>
              </a:prstGeom>
              <a:solidFill>
                <a:srgbClr val="00B0F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0" tIns="0" rIns="0" bIns="0" rtlCol="0" anchor="ctr" anchorCtr="0">
                <a:noAutofit/>
              </a:bodyPr>
              <a:lstStyle/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Monitoring</a:t>
                </a:r>
                <a:endParaRPr lang="en-US" altLang="zh-CN" sz="11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indicators</a:t>
                </a:r>
                <a:endParaRPr lang="en-US" sz="11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859907" y="2913073"/>
                <a:ext cx="684000" cy="684000"/>
              </a:xfrm>
              <a:prstGeom prst="rect">
                <a:avLst/>
              </a:prstGeom>
              <a:solidFill>
                <a:srgbClr val="00B0F0">
                  <a:alpha val="9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0" tIns="0" rIns="0" bIns="0" rtlCol="0" anchor="ctr" anchorCtr="0">
                <a:noAutofit/>
              </a:bodyPr>
              <a:lstStyle/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Forecast</a:t>
                </a:r>
                <a:endParaRPr lang="en-US" altLang="zh-CN" sz="11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  <a:p>
                <a:pPr algn="ctr" defTabSz="1219078" fontAlgn="ctr"/>
                <a:r>
                  <a:rPr lang="en-US" sz="110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models</a:t>
                </a:r>
                <a:endParaRPr lang="en-US" sz="11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cxnSp>
            <p:nvCxnSpPr>
              <p:cNvPr id="14" name="肘形连接符 13"/>
              <p:cNvCxnSpPr>
                <a:stCxn id="10" idx="2"/>
                <a:endCxn id="12" idx="1"/>
              </p:cNvCxnSpPr>
              <p:nvPr/>
            </p:nvCxnSpPr>
            <p:spPr>
              <a:xfrm rot="10800000">
                <a:off x="859907" y="3255073"/>
                <a:ext cx="12700" cy="2266130"/>
              </a:xfrm>
              <a:prstGeom prst="bentConnector3">
                <a:avLst>
                  <a:gd name="adj1" fmla="val 1800000"/>
                </a:avLst>
              </a:prstGeom>
              <a:ln w="19050">
                <a:solidFill>
                  <a:srgbClr val="0065C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肘形连接符 15"/>
              <p:cNvCxnSpPr/>
              <p:nvPr/>
            </p:nvCxnSpPr>
            <p:spPr>
              <a:xfrm flipV="1">
                <a:off x="1201907" y="3597073"/>
                <a:ext cx="0" cy="542463"/>
              </a:xfrm>
              <a:prstGeom prst="straightConnector1">
                <a:avLst/>
              </a:prstGeom>
              <a:ln w="19050">
                <a:solidFill>
                  <a:srgbClr val="0065C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肘形连接符 17"/>
            <p:cNvCxnSpPr>
              <a:stCxn id="9" idx="0"/>
              <a:endCxn id="48" idx="0"/>
            </p:cNvCxnSpPr>
            <p:nvPr/>
          </p:nvCxnSpPr>
          <p:spPr>
            <a:xfrm rot="5400000" flipH="1" flipV="1">
              <a:off x="1892768" y="1260935"/>
              <a:ext cx="357395" cy="1739116"/>
            </a:xfrm>
            <a:prstGeom prst="bentConnector3">
              <a:avLst>
                <a:gd name="adj1" fmla="val 163963"/>
              </a:avLst>
            </a:prstGeom>
            <a:ln w="19050">
              <a:solidFill>
                <a:srgbClr val="0065C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肘形连接符 19"/>
            <p:cNvCxnSpPr>
              <a:stCxn id="9" idx="0"/>
              <a:endCxn id="47" idx="0"/>
            </p:cNvCxnSpPr>
            <p:nvPr/>
          </p:nvCxnSpPr>
          <p:spPr>
            <a:xfrm rot="5400000" flipH="1" flipV="1">
              <a:off x="3016873" y="136830"/>
              <a:ext cx="357395" cy="3987326"/>
            </a:xfrm>
            <a:prstGeom prst="bentConnector3">
              <a:avLst>
                <a:gd name="adj1" fmla="val 163963"/>
              </a:avLst>
            </a:prstGeom>
            <a:ln w="19050">
              <a:solidFill>
                <a:srgbClr val="0065C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肘形连接符 21"/>
            <p:cNvCxnSpPr>
              <a:stCxn id="9" idx="0"/>
              <a:endCxn id="46" idx="0"/>
            </p:cNvCxnSpPr>
            <p:nvPr/>
          </p:nvCxnSpPr>
          <p:spPr>
            <a:xfrm rot="5400000" flipH="1" flipV="1">
              <a:off x="4940191" y="-1786488"/>
              <a:ext cx="357395" cy="7833962"/>
            </a:xfrm>
            <a:prstGeom prst="bentConnector3">
              <a:avLst>
                <a:gd name="adj1" fmla="val 163963"/>
              </a:avLst>
            </a:prstGeom>
            <a:ln w="19050">
              <a:solidFill>
                <a:srgbClr val="0065C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092933" y="2309190"/>
              <a:ext cx="2192599" cy="34901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31003" y="2309190"/>
              <a:ext cx="2020038" cy="34901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27424" y="2309191"/>
              <a:ext cx="5215301" cy="34901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" name="矩形 45"/>
            <p:cNvSpPr/>
            <p:nvPr/>
          </p:nvSpPr>
          <p:spPr>
            <a:xfrm>
              <a:off x="6427424" y="1951795"/>
              <a:ext cx="5216889" cy="360000"/>
            </a:xfrm>
            <a:prstGeom prst="rect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0" scaled="0"/>
            </a:gradFill>
            <a:ln w="9525">
              <a:gradFill>
                <a:gsLst>
                  <a:gs pos="0">
                    <a:srgbClr val="00B0F0"/>
                  </a:gs>
                  <a:gs pos="100000">
                    <a:srgbClr val="00B0F0">
                      <a:alpha val="20000"/>
                    </a:srgbClr>
                  </a:gs>
                </a:gsLst>
                <a:lin ang="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r>
                <a:rPr lang="en-US" sz="14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Enterprise health profile</a:t>
              </a:r>
              <a:endParaRPr lang="en-US" sz="1400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矩形 46"/>
            <p:cNvSpPr/>
            <p:nvPr/>
          </p:nvSpPr>
          <p:spPr>
            <a:xfrm>
              <a:off x="4092933" y="1951795"/>
              <a:ext cx="2192599" cy="360000"/>
            </a:xfrm>
            <a:prstGeom prst="rect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0" scaled="0"/>
            </a:gradFill>
            <a:ln w="9525">
              <a:gradFill>
                <a:gsLst>
                  <a:gs pos="0">
                    <a:srgbClr val="00B0F0"/>
                  </a:gs>
                  <a:gs pos="100000">
                    <a:srgbClr val="00B0F0">
                      <a:alpha val="20000"/>
                    </a:srgbClr>
                  </a:gs>
                </a:gsLst>
                <a:lin ang="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r>
                <a:rPr lang="en-US" sz="14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Abnormal enterprise monitoring</a:t>
              </a:r>
              <a:endParaRPr lang="en-US" sz="1400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1931004" y="1951795"/>
              <a:ext cx="2020038" cy="360000"/>
            </a:xfrm>
            <a:prstGeom prst="rect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0" scaled="0"/>
            </a:gradFill>
            <a:ln w="9525">
              <a:gradFill>
                <a:gsLst>
                  <a:gs pos="0">
                    <a:srgbClr val="00B0F0"/>
                  </a:gs>
                  <a:gs pos="100000">
                    <a:srgbClr val="00B0F0">
                      <a:alpha val="20000"/>
                    </a:srgbClr>
                  </a:gs>
                </a:gsLst>
                <a:lin ang="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r>
                <a:rPr lang="en-US" sz="14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Regional risk indicator statistics</a:t>
              </a:r>
              <a:endParaRPr lang="en-US" sz="1400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3" name="TextBox 2"/>
          <p:cNvSpPr txBox="1"/>
          <p:nvPr/>
        </p:nvSpPr>
        <p:spPr>
          <a:xfrm>
            <a:off x="-141757" y="381840"/>
            <a:ext cx="11746626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OC Helps Mayors Develop Better Policies to Support Regional Economic Development with Enterprise Profiles.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15786" y="2423014"/>
            <a:ext cx="1327156" cy="21759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tic platform ratio</a:t>
            </a:r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1715786" y="3612124"/>
            <a:ext cx="1649885" cy="21759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 anchor="b">
            <a:noAutofit/>
          </a:bodyPr>
          <a:lstStyle/>
          <a:p>
            <a:pPr fontAlgn="ctr"/>
            <a:r>
              <a:rPr lang="en-US" altLang="zh-CN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tic platform overview</a:t>
            </a:r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674757" y="4782194"/>
            <a:ext cx="1649885" cy="237871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P platform petition volume</a:t>
            </a:r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546256" y="2700632"/>
            <a:ext cx="845991" cy="190980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l platform</a:t>
            </a:r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2957104" y="3273428"/>
            <a:ext cx="770478" cy="177943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 anchor="b">
            <a:noAutofit/>
          </a:bodyPr>
          <a:lstStyle/>
          <a:p>
            <a:pPr fontAlgn="ctr"/>
            <a:r>
              <a:rPr lang="en-US" altLang="zh-CN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tic platform</a:t>
            </a:r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1870861" y="3474211"/>
            <a:ext cx="760455" cy="9269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8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filed </a:t>
            </a:r>
            <a:r>
              <a:rPr lang="en-US" altLang="zh-CN" sz="8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s</a:t>
            </a:r>
            <a:r>
              <a:rPr lang="en-US" altLang="zh-CN" sz="800" dirty="0" smtClean="0">
                <a:solidFill>
                  <a:srgbClr val="0551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2659610" y="3480562"/>
            <a:ext cx="1133104" cy="157850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8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d </a:t>
            </a:r>
            <a:r>
              <a:rPr lang="en-US" altLang="zh-CN" sz="8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unt: 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Y910 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4065122" y="2348233"/>
            <a:ext cx="1460371" cy="278425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s with abnormal risks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5086733" y="2721728"/>
            <a:ext cx="267151" cy="12244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8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altLang="zh-CN" sz="8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463083" y="2937745"/>
            <a:ext cx="514495" cy="19279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5241010" y="2924841"/>
            <a:ext cx="562617" cy="22678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/>
          <a:p>
            <a:pPr algn="ctr"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Probability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文本框 31"/>
          <p:cNvSpPr txBox="1"/>
          <p:nvPr/>
        </p:nvSpPr>
        <p:spPr>
          <a:xfrm>
            <a:off x="5819889" y="3029249"/>
            <a:ext cx="459712" cy="100113"/>
          </a:xfrm>
          <a:prstGeom prst="rect">
            <a:avLst/>
          </a:prstGeom>
          <a:solidFill>
            <a:srgbClr val="141720"/>
          </a:solidFill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ggestion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文本框 31"/>
          <p:cNvSpPr txBox="1"/>
          <p:nvPr/>
        </p:nvSpPr>
        <p:spPr>
          <a:xfrm>
            <a:off x="4097747" y="3149961"/>
            <a:ext cx="1202986" cy="26883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 Internet Financial Services Co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Ltd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文本框 31"/>
          <p:cNvSpPr txBox="1"/>
          <p:nvPr/>
        </p:nvSpPr>
        <p:spPr>
          <a:xfrm>
            <a:off x="4097747" y="3431453"/>
            <a:ext cx="1221923" cy="26883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 Internet Financial Services Co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Ltd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文本框 31"/>
          <p:cNvSpPr txBox="1"/>
          <p:nvPr/>
        </p:nvSpPr>
        <p:spPr>
          <a:xfrm>
            <a:off x="4097747" y="3719666"/>
            <a:ext cx="1221923" cy="25622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 Financial Information Services Co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Ltd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文本框 31"/>
          <p:cNvSpPr txBox="1"/>
          <p:nvPr/>
        </p:nvSpPr>
        <p:spPr>
          <a:xfrm>
            <a:off x="5792607" y="3246697"/>
            <a:ext cx="486440" cy="209735"/>
          </a:xfrm>
          <a:prstGeom prst="rect">
            <a:avLst/>
          </a:prstGeom>
          <a:solidFill>
            <a:srgbClr val="141720"/>
          </a:solidFill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tion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文本框 31"/>
          <p:cNvSpPr txBox="1"/>
          <p:nvPr/>
        </p:nvSpPr>
        <p:spPr>
          <a:xfrm>
            <a:off x="4089493" y="4346743"/>
            <a:ext cx="747161" cy="287722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ggestion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文本框 31"/>
          <p:cNvSpPr txBox="1"/>
          <p:nvPr/>
        </p:nvSpPr>
        <p:spPr>
          <a:xfrm>
            <a:off x="5809423" y="3743901"/>
            <a:ext cx="486440" cy="209735"/>
          </a:xfrm>
          <a:prstGeom prst="rect">
            <a:avLst/>
          </a:prstGeom>
          <a:solidFill>
            <a:srgbClr val="141720"/>
          </a:solidFill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ion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31"/>
          <p:cNvSpPr txBox="1"/>
          <p:nvPr/>
        </p:nvSpPr>
        <p:spPr>
          <a:xfrm>
            <a:off x="5792607" y="3493974"/>
            <a:ext cx="486440" cy="209735"/>
          </a:xfrm>
          <a:prstGeom prst="rect">
            <a:avLst/>
          </a:prstGeom>
          <a:solidFill>
            <a:srgbClr val="141720"/>
          </a:solidFill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ion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文本框 31"/>
          <p:cNvSpPr txBox="1"/>
          <p:nvPr/>
        </p:nvSpPr>
        <p:spPr>
          <a:xfrm>
            <a:off x="5355078" y="4941235"/>
            <a:ext cx="612100" cy="15571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tion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文本框 31"/>
          <p:cNvSpPr txBox="1"/>
          <p:nvPr/>
        </p:nvSpPr>
        <p:spPr>
          <a:xfrm>
            <a:off x="4086597" y="5837693"/>
            <a:ext cx="427286" cy="12495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ion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文本框 31"/>
          <p:cNvSpPr txBox="1"/>
          <p:nvPr/>
        </p:nvSpPr>
        <p:spPr>
          <a:xfrm>
            <a:off x="7407008" y="2395987"/>
            <a:ext cx="2007800" cy="266479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 Company</a:t>
            </a:r>
            <a:endParaRPr lang="en-US" altLang="zh-CN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文本框 31"/>
          <p:cNvSpPr txBox="1"/>
          <p:nvPr/>
        </p:nvSpPr>
        <p:spPr>
          <a:xfrm>
            <a:off x="4648032" y="4770718"/>
            <a:ext cx="377244" cy="16451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sure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文本框 31"/>
          <p:cNvSpPr txBox="1"/>
          <p:nvPr/>
        </p:nvSpPr>
        <p:spPr>
          <a:xfrm>
            <a:off x="5167668" y="4755536"/>
            <a:ext cx="578215" cy="118870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away</a:t>
            </a:r>
            <a:endParaRPr lang="en-US" altLang="zh-CN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文本框 31"/>
          <p:cNvSpPr txBox="1"/>
          <p:nvPr/>
        </p:nvSpPr>
        <p:spPr>
          <a:xfrm>
            <a:off x="8758665" y="2898957"/>
            <a:ext cx="1200976" cy="13503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</a:t>
            </a:r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ability: </a:t>
            </a:r>
            <a:r>
              <a:rPr lang="en-US" altLang="zh-CN" sz="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.70</a:t>
            </a:r>
            <a:r>
              <a:rPr lang="en-US" altLang="zh-CN" sz="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n-US" altLang="zh-CN" sz="8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文本框 31"/>
          <p:cNvSpPr txBox="1"/>
          <p:nvPr/>
        </p:nvSpPr>
        <p:spPr>
          <a:xfrm>
            <a:off x="10659182" y="2856402"/>
            <a:ext cx="1200976" cy="13503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ment data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文本框 31"/>
          <p:cNvSpPr txBox="1"/>
          <p:nvPr/>
        </p:nvSpPr>
        <p:spPr>
          <a:xfrm>
            <a:off x="10659182" y="2456350"/>
            <a:ext cx="1200976" cy="1842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ation info</a:t>
            </a:r>
          </a:p>
        </p:txBody>
      </p:sp>
      <p:sp>
        <p:nvSpPr>
          <p:cNvPr id="55" name="文本框 31"/>
          <p:cNvSpPr txBox="1"/>
          <p:nvPr/>
        </p:nvSpPr>
        <p:spPr>
          <a:xfrm rot="16200000">
            <a:off x="10005106" y="3279740"/>
            <a:ext cx="682475" cy="158620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info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文本框 31"/>
          <p:cNvSpPr txBox="1"/>
          <p:nvPr/>
        </p:nvSpPr>
        <p:spPr>
          <a:xfrm rot="16200000">
            <a:off x="9652511" y="4793377"/>
            <a:ext cx="1392641" cy="14094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relationship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文本框 31"/>
          <p:cNvSpPr txBox="1"/>
          <p:nvPr/>
        </p:nvSpPr>
        <p:spPr>
          <a:xfrm>
            <a:off x="10659182" y="2680986"/>
            <a:ext cx="1200976" cy="175083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ered address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文本框 31"/>
          <p:cNvSpPr txBox="1"/>
          <p:nvPr/>
        </p:nvSpPr>
        <p:spPr>
          <a:xfrm>
            <a:off x="6476192" y="4634465"/>
            <a:ext cx="897150" cy="18920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ered capital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文本框 31"/>
          <p:cNvSpPr txBox="1"/>
          <p:nvPr/>
        </p:nvSpPr>
        <p:spPr>
          <a:xfrm>
            <a:off x="6476192" y="3918865"/>
            <a:ext cx="897150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 profit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文本框 31"/>
          <p:cNvSpPr txBox="1"/>
          <p:nvPr/>
        </p:nvSpPr>
        <p:spPr>
          <a:xfrm>
            <a:off x="6630992" y="3301127"/>
            <a:ext cx="743358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文本框 31"/>
          <p:cNvSpPr txBox="1"/>
          <p:nvPr/>
        </p:nvSpPr>
        <p:spPr>
          <a:xfrm>
            <a:off x="7847442" y="3027015"/>
            <a:ext cx="600475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ng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文本框 31"/>
          <p:cNvSpPr txBox="1"/>
          <p:nvPr/>
        </p:nvSpPr>
        <p:spPr>
          <a:xfrm>
            <a:off x="8687417" y="3301599"/>
            <a:ext cx="615333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rance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文本框 31"/>
          <p:cNvSpPr txBox="1"/>
          <p:nvPr/>
        </p:nvSpPr>
        <p:spPr>
          <a:xfrm>
            <a:off x="9079367" y="3950047"/>
            <a:ext cx="405393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y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文本框 31"/>
          <p:cNvSpPr txBox="1"/>
          <p:nvPr/>
        </p:nvSpPr>
        <p:spPr>
          <a:xfrm>
            <a:off x="8962428" y="4688289"/>
            <a:ext cx="587972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ion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文本框 31"/>
          <p:cNvSpPr txBox="1"/>
          <p:nvPr/>
        </p:nvSpPr>
        <p:spPr>
          <a:xfrm>
            <a:off x="8238842" y="5178016"/>
            <a:ext cx="897150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P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文本框 31"/>
          <p:cNvSpPr txBox="1"/>
          <p:nvPr/>
        </p:nvSpPr>
        <p:spPr>
          <a:xfrm>
            <a:off x="7340009" y="5138658"/>
            <a:ext cx="451441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fund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31"/>
          <p:cNvSpPr txBox="1"/>
          <p:nvPr/>
        </p:nvSpPr>
        <p:spPr>
          <a:xfrm>
            <a:off x="10659182" y="3031818"/>
            <a:ext cx="1200976" cy="13503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person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文本框 31"/>
          <p:cNvSpPr txBox="1"/>
          <p:nvPr/>
        </p:nvSpPr>
        <p:spPr>
          <a:xfrm>
            <a:off x="10659182" y="3207234"/>
            <a:ext cx="897150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ered capital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文本框 31"/>
          <p:cNvSpPr txBox="1"/>
          <p:nvPr/>
        </p:nvSpPr>
        <p:spPr>
          <a:xfrm>
            <a:off x="10659182" y="3381611"/>
            <a:ext cx="897150" cy="20841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d-in capital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文本框 31"/>
          <p:cNvSpPr txBox="1"/>
          <p:nvPr/>
        </p:nvSpPr>
        <p:spPr>
          <a:xfrm>
            <a:off x="10659182" y="3566908"/>
            <a:ext cx="1288840" cy="30665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person/shareholder change during the past year</a:t>
            </a:r>
            <a:endParaRPr lang="en-US" altLang="zh-CN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文本框 31"/>
          <p:cNvSpPr txBox="1"/>
          <p:nvPr/>
        </p:nvSpPr>
        <p:spPr>
          <a:xfrm>
            <a:off x="10659182" y="3887863"/>
            <a:ext cx="897150" cy="195067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文本框 31"/>
          <p:cNvSpPr txBox="1"/>
          <p:nvPr/>
        </p:nvSpPr>
        <p:spPr>
          <a:xfrm>
            <a:off x="10659182" y="4093101"/>
            <a:ext cx="897150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文本框 31"/>
          <p:cNvSpPr txBox="1"/>
          <p:nvPr/>
        </p:nvSpPr>
        <p:spPr>
          <a:xfrm>
            <a:off x="10659182" y="4298338"/>
            <a:ext cx="897150" cy="164858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nel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文本框 31"/>
          <p:cNvSpPr txBox="1"/>
          <p:nvPr/>
        </p:nvSpPr>
        <p:spPr>
          <a:xfrm>
            <a:off x="10659182" y="4459069"/>
            <a:ext cx="897150" cy="209364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trade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文本框 31"/>
          <p:cNvSpPr txBox="1"/>
          <p:nvPr/>
        </p:nvSpPr>
        <p:spPr>
          <a:xfrm>
            <a:off x="10659182" y="4668434"/>
            <a:ext cx="1073154" cy="17581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capabilities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文本框 31"/>
          <p:cNvSpPr txBox="1"/>
          <p:nvPr/>
        </p:nvSpPr>
        <p:spPr>
          <a:xfrm>
            <a:off x="10659182" y="4836340"/>
            <a:ext cx="1073154" cy="18372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 capabilities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文本框 31"/>
          <p:cNvSpPr txBox="1"/>
          <p:nvPr/>
        </p:nvSpPr>
        <p:spPr>
          <a:xfrm>
            <a:off x="10659182" y="5020066"/>
            <a:ext cx="1073154" cy="17581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production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文本框 31"/>
          <p:cNvSpPr txBox="1"/>
          <p:nvPr/>
        </p:nvSpPr>
        <p:spPr>
          <a:xfrm>
            <a:off x="10659182" y="5178016"/>
            <a:ext cx="1073154" cy="193681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-friendly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文本框 31"/>
          <p:cNvSpPr txBox="1"/>
          <p:nvPr/>
        </p:nvSpPr>
        <p:spPr>
          <a:xfrm>
            <a:off x="10659182" y="5371698"/>
            <a:ext cx="1073154" cy="175816"/>
          </a:xfrm>
          <a:prstGeom prst="rect">
            <a:avLst/>
          </a:prstGeom>
          <a:solidFill>
            <a:srgbClr val="141720"/>
          </a:solidFill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800" dirty="0" smtClean="0">
                <a:solidFill>
                  <a:srgbClr val="24BB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d records</a:t>
            </a:r>
            <a:endParaRPr lang="en-US" altLang="zh-CN" sz="800" dirty="0">
              <a:solidFill>
                <a:srgbClr val="24BB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417709" y="4725354"/>
            <a:ext cx="230491" cy="18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56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3" name="Picture 2" descr="E:\01 日常工作\04 展厅相关设计\2017年\PPT设计\世界地图副本.jpg">
            <a:extLst>
              <a:ext uri="{FF2B5EF4-FFF2-40B4-BE49-F238E27FC236}">
                <a16:creationId xmlns="" xmlns:a16="http://schemas.microsoft.com/office/drawing/2014/main" id="{10166AF8-CF05-4737-8017-97EDA62B2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00832"/>
            <a:ext cx="12192000" cy="6856948"/>
          </a:xfrm>
          <a:prstGeom prst="rect">
            <a:avLst/>
          </a:prstGeom>
          <a:noFill/>
        </p:spPr>
      </p:pic>
      <p:grpSp>
        <p:nvGrpSpPr>
          <p:cNvPr id="16" name="组合 15">
            <a:extLst>
              <a:ext uri="{FF2B5EF4-FFF2-40B4-BE49-F238E27FC236}">
                <a16:creationId xmlns="" xmlns:a16="http://schemas.microsoft.com/office/drawing/2014/main" id="{DD56E2AE-57CE-445C-B500-1156247E205F}"/>
              </a:ext>
            </a:extLst>
          </p:cNvPr>
          <p:cNvGrpSpPr/>
          <p:nvPr/>
        </p:nvGrpSpPr>
        <p:grpSpPr>
          <a:xfrm>
            <a:off x="5076842" y="1608712"/>
            <a:ext cx="833436" cy="1008275"/>
            <a:chOff x="4609477" y="1166115"/>
            <a:chExt cx="833653" cy="1008538"/>
          </a:xfrm>
        </p:grpSpPr>
        <p:sp>
          <p:nvSpPr>
            <p:cNvPr id="395" name="Rectangle 274">
              <a:extLst>
                <a:ext uri="{FF2B5EF4-FFF2-40B4-BE49-F238E27FC236}">
                  <a16:creationId xmlns="" xmlns:a16="http://schemas.microsoft.com/office/drawing/2014/main" id="{CB5485F2-7556-4124-A4DB-4F298E1B3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2039" y="1166115"/>
              <a:ext cx="288528" cy="173117"/>
            </a:xfrm>
            <a:prstGeom prst="ellipse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UK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396" name="Picture 2" descr="http://a2.att.hudong.com/42/25/01300001169625130156259055103.jpg">
              <a:extLst>
                <a:ext uri="{FF2B5EF4-FFF2-40B4-BE49-F238E27FC236}">
                  <a16:creationId xmlns="" xmlns:a16="http://schemas.microsoft.com/office/drawing/2014/main" id="{BC5D29FC-3227-4074-ABFD-676D29ADC0FA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9477" y="1376721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sp>
        <p:nvSpPr>
          <p:cNvPr id="399" name="Rectangle 281">
            <a:extLst>
              <a:ext uri="{FF2B5EF4-FFF2-40B4-BE49-F238E27FC236}">
                <a16:creationId xmlns="" xmlns:a16="http://schemas.microsoft.com/office/drawing/2014/main" id="{2F98076A-1F40-42A4-8691-3EDD10B6B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4228" y="4113163"/>
            <a:ext cx="410262" cy="12307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Ecuador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02" name="Rectangle 290">
            <a:extLst>
              <a:ext uri="{FF2B5EF4-FFF2-40B4-BE49-F238E27FC236}">
                <a16:creationId xmlns="" xmlns:a16="http://schemas.microsoft.com/office/drawing/2014/main" id="{012EEE40-1575-4E9A-A7B6-4EE12DD73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4377" y="4326379"/>
            <a:ext cx="339724" cy="246221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21895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Ghana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403" name="Picture 6" descr="c:\users\w00173972\appdata\roaming\360se6\User Data\temp\images_q=tbn:ANd9GcSR0tiivvwRUbIp2BnP65Tj9JRViOaV2jUB6dQv8PhFWoP2NZFuXw.jpg">
            <a:extLst>
              <a:ext uri="{FF2B5EF4-FFF2-40B4-BE49-F238E27FC236}">
                <a16:creationId xmlns="" xmlns:a16="http://schemas.microsoft.com/office/drawing/2014/main" id="{EEC8C74C-7E43-4804-ABD9-FB4CD484B300}"/>
              </a:ext>
            </a:extLst>
          </p:cNvPr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64050" y="4582662"/>
            <a:ext cx="833436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sp>
        <p:nvSpPr>
          <p:cNvPr id="407" name="Rectangle 281">
            <a:extLst>
              <a:ext uri="{FF2B5EF4-FFF2-40B4-BE49-F238E27FC236}">
                <a16:creationId xmlns="" xmlns:a16="http://schemas.microsoft.com/office/drawing/2014/main" id="{48E01C33-3AAA-4AC8-88F1-64CBA0A21A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898" y="5158668"/>
            <a:ext cx="410262" cy="12307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Boliv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="" xmlns:a16="http://schemas.microsoft.com/office/drawing/2014/main" id="{16532F6D-C1D8-4C82-8292-5DCE9DF434EA}"/>
              </a:ext>
            </a:extLst>
          </p:cNvPr>
          <p:cNvGrpSpPr/>
          <p:nvPr/>
        </p:nvGrpSpPr>
        <p:grpSpPr>
          <a:xfrm>
            <a:off x="7266406" y="1369597"/>
            <a:ext cx="833436" cy="1020044"/>
            <a:chOff x="6950720" y="1021391"/>
            <a:chExt cx="833653" cy="1020310"/>
          </a:xfrm>
        </p:grpSpPr>
        <p:sp>
          <p:nvSpPr>
            <p:cNvPr id="421" name="Rectangle 274">
              <a:extLst>
                <a:ext uri="{FF2B5EF4-FFF2-40B4-BE49-F238E27FC236}">
                  <a16:creationId xmlns="" xmlns:a16="http://schemas.microsoft.com/office/drawing/2014/main" id="{F0B12D9D-E3FD-4C93-9720-E6208460F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3658" y="1021391"/>
              <a:ext cx="318217" cy="24628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Russia</a:t>
              </a:r>
              <a:endParaRPr lang="en-US" altLang="zh-CN" sz="8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422" name="Picture 2">
              <a:extLst>
                <a:ext uri="{FF2B5EF4-FFF2-40B4-BE49-F238E27FC236}">
                  <a16:creationId xmlns="" xmlns:a16="http://schemas.microsoft.com/office/drawing/2014/main" id="{23CDEA03-C9F2-49D6-914B-3A4E859F6DF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950720" y="1243769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sp>
        <p:nvSpPr>
          <p:cNvPr id="423" name="Rectangle 290">
            <a:extLst>
              <a:ext uri="{FF2B5EF4-FFF2-40B4-BE49-F238E27FC236}">
                <a16:creationId xmlns="" xmlns:a16="http://schemas.microsoft.com/office/drawing/2014/main" id="{116A1911-454D-4313-A857-E37DB27CA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1447" y="5264102"/>
            <a:ext cx="307697" cy="12307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21895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Kenya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424" name="Picture 2">
            <a:extLst>
              <a:ext uri="{FF2B5EF4-FFF2-40B4-BE49-F238E27FC236}">
                <a16:creationId xmlns="" xmlns:a16="http://schemas.microsoft.com/office/drawing/2014/main" id="{4DFCAB26-830B-40CB-B7F0-7F43ED6BEBC0}"/>
              </a:ext>
            </a:extLst>
          </p:cNvPr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910278" y="5465917"/>
            <a:ext cx="833436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grpSp>
        <p:nvGrpSpPr>
          <p:cNvPr id="14" name="组合 13">
            <a:extLst>
              <a:ext uri="{FF2B5EF4-FFF2-40B4-BE49-F238E27FC236}">
                <a16:creationId xmlns="" xmlns:a16="http://schemas.microsoft.com/office/drawing/2014/main" id="{B1CC4B82-11DD-4A5F-859C-8B74BA5ADF48}"/>
              </a:ext>
            </a:extLst>
          </p:cNvPr>
          <p:cNvGrpSpPr/>
          <p:nvPr/>
        </p:nvGrpSpPr>
        <p:grpSpPr>
          <a:xfrm>
            <a:off x="8228932" y="1903315"/>
            <a:ext cx="833436" cy="959109"/>
            <a:chOff x="7821629" y="1641993"/>
            <a:chExt cx="833653" cy="959359"/>
          </a:xfrm>
        </p:grpSpPr>
        <p:sp>
          <p:nvSpPr>
            <p:cNvPr id="425" name="Rectangle 281">
              <a:extLst>
                <a:ext uri="{FF2B5EF4-FFF2-40B4-BE49-F238E27FC236}">
                  <a16:creationId xmlns="" xmlns:a16="http://schemas.microsoft.com/office/drawing/2014/main" id="{B35D2E58-765A-4E49-86CB-7C8BD96F4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3271" y="1641993"/>
              <a:ext cx="410369" cy="12311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Moldov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6" name="Picture 4">
              <a:extLst>
                <a:ext uri="{FF2B5EF4-FFF2-40B4-BE49-F238E27FC236}">
                  <a16:creationId xmlns="" xmlns:a16="http://schemas.microsoft.com/office/drawing/2014/main" id="{29604CBA-9B47-4AA2-915B-66F7D5F0B1E3}"/>
                </a:ext>
              </a:extLst>
            </p:cNvPr>
            <p:cNvPicPr preferRelativeResize="0">
              <a:picLocks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4837" b="27419"/>
            <a:stretch/>
          </p:blipFill>
          <p:spPr bwMode="auto">
            <a:xfrm>
              <a:off x="7821629" y="1803420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sp>
        <p:nvSpPr>
          <p:cNvPr id="427" name="Rectangle 274">
            <a:extLst>
              <a:ext uri="{FF2B5EF4-FFF2-40B4-BE49-F238E27FC236}">
                <a16:creationId xmlns="" xmlns:a16="http://schemas.microsoft.com/office/drawing/2014/main" id="{E58CB470-D101-4190-BCD3-276104031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735" y="3726511"/>
            <a:ext cx="729549" cy="369332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Yanbu, Saudi </a:t>
            </a:r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Arab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11" name="Rectangle 311">
            <a:extLst>
              <a:ext uri="{FF2B5EF4-FFF2-40B4-BE49-F238E27FC236}">
                <a16:creationId xmlns="" xmlns:a16="http://schemas.microsoft.com/office/drawing/2014/main" id="{2224232D-94D4-481C-AB35-64ECF8382E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4818" y="4433075"/>
            <a:ext cx="512827" cy="12307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21895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Indonesia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="" xmlns:a16="http://schemas.microsoft.com/office/drawing/2014/main" id="{BDE26253-E999-4D35-9D3A-BD42070513F4}"/>
              </a:ext>
            </a:extLst>
          </p:cNvPr>
          <p:cNvGrpSpPr/>
          <p:nvPr/>
        </p:nvGrpSpPr>
        <p:grpSpPr>
          <a:xfrm>
            <a:off x="9709876" y="2316914"/>
            <a:ext cx="833436" cy="1093267"/>
            <a:chOff x="9599035" y="928390"/>
            <a:chExt cx="833653" cy="1093551"/>
          </a:xfrm>
        </p:grpSpPr>
        <p:sp>
          <p:nvSpPr>
            <p:cNvPr id="413" name="Rectangle 290">
              <a:extLst>
                <a:ext uri="{FF2B5EF4-FFF2-40B4-BE49-F238E27FC236}">
                  <a16:creationId xmlns="" xmlns:a16="http://schemas.microsoft.com/office/drawing/2014/main" id="{1A6A858A-EF94-4BC7-80DA-9AE3D3F60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2247" y="928390"/>
              <a:ext cx="519419" cy="36942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21895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Shanghai</a:t>
              </a:r>
              <a:endParaRPr lang="en-US" altLang="zh-CN" sz="8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414" name="Picture 4">
              <a:extLst>
                <a:ext uri="{FF2B5EF4-FFF2-40B4-BE49-F238E27FC236}">
                  <a16:creationId xmlns="" xmlns:a16="http://schemas.microsoft.com/office/drawing/2014/main" id="{4FBC7A74-CF1D-4B8B-AC76-DEF9BD3646D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9599035" y="1224009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sp>
        <p:nvSpPr>
          <p:cNvPr id="416" name="Rectangle 274">
            <a:extLst>
              <a:ext uri="{FF2B5EF4-FFF2-40B4-BE49-F238E27FC236}">
                <a16:creationId xmlns="" xmlns:a16="http://schemas.microsoft.com/office/drawing/2014/main" id="{450F50E5-800F-40BA-8857-5D6BA536CA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2091" y="4840322"/>
            <a:ext cx="410262" cy="12307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Pakistan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417" name="Picture 10" descr="c:\users\w00173972\appdata\roaming\360se6\User Data\temp\Z.jpg">
            <a:extLst>
              <a:ext uri="{FF2B5EF4-FFF2-40B4-BE49-F238E27FC236}">
                <a16:creationId xmlns="" xmlns:a16="http://schemas.microsoft.com/office/drawing/2014/main" id="{575B87C9-D892-4A84-B3AC-F72797313851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262386" y="5044932"/>
            <a:ext cx="833436" cy="797724"/>
          </a:xfrm>
          <a:prstGeom prst="ellipse">
            <a:avLst/>
          </a:prstGeom>
          <a:noFill/>
        </p:spPr>
      </p:pic>
      <p:grpSp>
        <p:nvGrpSpPr>
          <p:cNvPr id="10" name="组合 9">
            <a:extLst>
              <a:ext uri="{FF2B5EF4-FFF2-40B4-BE49-F238E27FC236}">
                <a16:creationId xmlns="" xmlns:a16="http://schemas.microsoft.com/office/drawing/2014/main" id="{BEC59C76-EA62-4303-9C91-74CAAD9752D9}"/>
              </a:ext>
            </a:extLst>
          </p:cNvPr>
          <p:cNvGrpSpPr/>
          <p:nvPr/>
        </p:nvGrpSpPr>
        <p:grpSpPr>
          <a:xfrm>
            <a:off x="9252075" y="3528914"/>
            <a:ext cx="833436" cy="1043686"/>
            <a:chOff x="8890366" y="3052378"/>
            <a:chExt cx="833653" cy="1043958"/>
          </a:xfrm>
        </p:grpSpPr>
        <p:sp>
          <p:nvSpPr>
            <p:cNvPr id="418" name="Rectangle 308">
              <a:extLst>
                <a:ext uri="{FF2B5EF4-FFF2-40B4-BE49-F238E27FC236}">
                  <a16:creationId xmlns="" xmlns:a16="http://schemas.microsoft.com/office/drawing/2014/main" id="{7C9C12BE-BEF7-478E-A232-F71E6EDC44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1847" y="3850051"/>
              <a:ext cx="512961" cy="24628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21895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Longgang, Shenzhen</a:t>
              </a:r>
              <a:endParaRPr lang="en-US" altLang="zh-CN" sz="8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419" name="图片 418">
              <a:hlinkClick r:id="rId12" action="ppaction://hlinksldjump"/>
              <a:extLst>
                <a:ext uri="{FF2B5EF4-FFF2-40B4-BE49-F238E27FC236}">
                  <a16:creationId xmlns="" xmlns:a16="http://schemas.microsoft.com/office/drawing/2014/main" id="{0425AA79-2C6B-4BFA-9EBB-E89A72A8FC6C}"/>
                </a:ext>
              </a:extLst>
            </p:cNvPr>
            <p:cNvPicPr>
              <a:picLocks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890366" y="3052378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pic>
        <p:nvPicPr>
          <p:cNvPr id="420" name="图片 419">
            <a:extLst>
              <a:ext uri="{FF2B5EF4-FFF2-40B4-BE49-F238E27FC236}">
                <a16:creationId xmlns="" xmlns:a16="http://schemas.microsoft.com/office/drawing/2014/main" id="{1FB5B248-4AAB-4118-8A09-94818E8E0157}"/>
              </a:ext>
            </a:extLst>
          </p:cNvPr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 flipH="1">
            <a:off x="10384514" y="4646070"/>
            <a:ext cx="833436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grpSp>
        <p:nvGrpSpPr>
          <p:cNvPr id="18" name="组合 17">
            <a:extLst>
              <a:ext uri="{FF2B5EF4-FFF2-40B4-BE49-F238E27FC236}">
                <a16:creationId xmlns="" xmlns:a16="http://schemas.microsoft.com/office/drawing/2014/main" id="{04A9755C-7C8B-4A3B-B1BF-D0C1B2B09DC3}"/>
              </a:ext>
            </a:extLst>
          </p:cNvPr>
          <p:cNvGrpSpPr/>
          <p:nvPr/>
        </p:nvGrpSpPr>
        <p:grpSpPr>
          <a:xfrm>
            <a:off x="3930917" y="2925008"/>
            <a:ext cx="833436" cy="1043691"/>
            <a:chOff x="3931940" y="2550126"/>
            <a:chExt cx="833653" cy="1043963"/>
          </a:xfrm>
        </p:grpSpPr>
        <p:sp>
          <p:nvSpPr>
            <p:cNvPr id="405" name="Rectangle 274">
              <a:extLst>
                <a:ext uri="{FF2B5EF4-FFF2-40B4-BE49-F238E27FC236}">
                  <a16:creationId xmlns="" xmlns:a16="http://schemas.microsoft.com/office/drawing/2014/main" id="{6456464F-DA97-4DD1-8B47-6BABDE184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2370" y="2550126"/>
              <a:ext cx="432792" cy="173117"/>
            </a:xfrm>
            <a:prstGeom prst="ellipse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Spain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8" name="图片 427">
              <a:extLst>
                <a:ext uri="{FF2B5EF4-FFF2-40B4-BE49-F238E27FC236}">
                  <a16:creationId xmlns="" xmlns:a16="http://schemas.microsoft.com/office/drawing/2014/main" id="{E7175C58-22E7-4134-9F3A-DC40F8C4F700}"/>
                </a:ext>
              </a:extLst>
            </p:cNvPr>
            <p:cNvPicPr>
              <a:picLocks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3931940" y="2796157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17" name="组合 16">
            <a:extLst>
              <a:ext uri="{FF2B5EF4-FFF2-40B4-BE49-F238E27FC236}">
                <a16:creationId xmlns="" xmlns:a16="http://schemas.microsoft.com/office/drawing/2014/main" id="{C80DFB78-BCA9-4CC9-9216-E2454F1066CC}"/>
              </a:ext>
            </a:extLst>
          </p:cNvPr>
          <p:cNvGrpSpPr/>
          <p:nvPr/>
        </p:nvGrpSpPr>
        <p:grpSpPr>
          <a:xfrm>
            <a:off x="5686574" y="3437950"/>
            <a:ext cx="628168" cy="775187"/>
            <a:chOff x="3272455" y="1706334"/>
            <a:chExt cx="833653" cy="1028762"/>
          </a:xfrm>
        </p:grpSpPr>
        <p:sp>
          <p:nvSpPr>
            <p:cNvPr id="406" name="Rectangle 274">
              <a:extLst>
                <a:ext uri="{FF2B5EF4-FFF2-40B4-BE49-F238E27FC236}">
                  <a16:creationId xmlns="" xmlns:a16="http://schemas.microsoft.com/office/drawing/2014/main" id="{FEC6275F-6241-403C-9B88-1468A6971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6909" y="2505410"/>
              <a:ext cx="624746" cy="229686"/>
            </a:xfrm>
            <a:prstGeom prst="ellipse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Italy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9" name="图片 428">
              <a:extLst>
                <a:ext uri="{FF2B5EF4-FFF2-40B4-BE49-F238E27FC236}">
                  <a16:creationId xmlns="" xmlns:a16="http://schemas.microsoft.com/office/drawing/2014/main" id="{4F55074F-438C-42C7-8388-F9D1CD7C4556}"/>
                </a:ext>
              </a:extLst>
            </p:cNvPr>
            <p:cNvPicPr>
              <a:picLocks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272455" y="1706334"/>
              <a:ext cx="833653" cy="797932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pic>
        <p:nvPicPr>
          <p:cNvPr id="430" name="图片 429">
            <a:extLst>
              <a:ext uri="{FF2B5EF4-FFF2-40B4-BE49-F238E27FC236}">
                <a16:creationId xmlns="" xmlns:a16="http://schemas.microsoft.com/office/drawing/2014/main" id="{922FFE04-B3A9-4AC8-9EA3-40F9B6777403}"/>
              </a:ext>
            </a:extLst>
          </p:cNvPr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54913" y="2599577"/>
            <a:ext cx="832007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pic>
        <p:nvPicPr>
          <p:cNvPr id="431" name="图片 430">
            <a:extLst>
              <a:ext uri="{FF2B5EF4-FFF2-40B4-BE49-F238E27FC236}">
                <a16:creationId xmlns="" xmlns:a16="http://schemas.microsoft.com/office/drawing/2014/main" id="{C55F2A57-DB79-4760-A4F9-BE388DF26D1F}"/>
              </a:ext>
            </a:extLst>
          </p:cNvPr>
          <p:cNvPicPr>
            <a:picLocks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2837311" y="5364137"/>
            <a:ext cx="833436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pic>
        <p:nvPicPr>
          <p:cNvPr id="432" name="图片 431">
            <a:extLst>
              <a:ext uri="{FF2B5EF4-FFF2-40B4-BE49-F238E27FC236}">
                <a16:creationId xmlns="" xmlns:a16="http://schemas.microsoft.com/office/drawing/2014/main" id="{D9BE809E-E13F-4DC4-B77F-71BF36D9A38F}"/>
              </a:ext>
            </a:extLst>
          </p:cNvPr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132641" y="4318718"/>
            <a:ext cx="833436" cy="797724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>
            <a:noFill/>
            <a:miter lim="800000"/>
            <a:headEnd/>
            <a:tailEnd/>
          </a:ln>
          <a:effectLst/>
        </p:spPr>
      </p:pic>
      <p:grpSp>
        <p:nvGrpSpPr>
          <p:cNvPr id="433" name="组合 18">
            <a:extLst>
              <a:ext uri="{FF2B5EF4-FFF2-40B4-BE49-F238E27FC236}">
                <a16:creationId xmlns="" xmlns:a16="http://schemas.microsoft.com/office/drawing/2014/main" id="{B5B17571-3D99-4AFB-A7F7-8F0966183A3B}"/>
              </a:ext>
            </a:extLst>
          </p:cNvPr>
          <p:cNvGrpSpPr/>
          <p:nvPr/>
        </p:nvGrpSpPr>
        <p:grpSpPr>
          <a:xfrm>
            <a:off x="7383317" y="2459090"/>
            <a:ext cx="436314" cy="342551"/>
            <a:chOff x="4261550" y="1702222"/>
            <a:chExt cx="285130" cy="230911"/>
          </a:xfrm>
        </p:grpSpPr>
        <p:pic>
          <p:nvPicPr>
            <p:cNvPr id="434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64E35E8A-583C-4829-8C0A-86753A430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3370" y="1702222"/>
              <a:ext cx="139332" cy="101114"/>
            </a:xfrm>
            <a:prstGeom prst="rect">
              <a:avLst/>
            </a:prstGeom>
            <a:noFill/>
          </p:spPr>
        </p:pic>
        <p:sp>
          <p:nvSpPr>
            <p:cNvPr id="435" name="195a93ef-0b9d-424d-883c-5a6639fecf82">
              <a:extLst>
                <a:ext uri="{FF2B5EF4-FFF2-40B4-BE49-F238E27FC236}">
                  <a16:creationId xmlns="" xmlns:a16="http://schemas.microsoft.com/office/drawing/2014/main" id="{5DB8C5CE-9494-4084-A8F7-00529D250DEF}"/>
                </a:ext>
              </a:extLst>
            </p:cNvPr>
            <p:cNvSpPr txBox="1"/>
            <p:nvPr/>
          </p:nvSpPr>
          <p:spPr>
            <a:xfrm>
              <a:off x="4261550" y="1767157"/>
              <a:ext cx="285130" cy="1659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Moscow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36" name="组合 18">
            <a:extLst>
              <a:ext uri="{FF2B5EF4-FFF2-40B4-BE49-F238E27FC236}">
                <a16:creationId xmlns="" xmlns:a16="http://schemas.microsoft.com/office/drawing/2014/main" id="{19340D20-9F6F-4FE4-8C32-E9D310FD1BC5}"/>
              </a:ext>
            </a:extLst>
          </p:cNvPr>
          <p:cNvGrpSpPr/>
          <p:nvPr/>
        </p:nvGrpSpPr>
        <p:grpSpPr>
          <a:xfrm>
            <a:off x="3957137" y="4536987"/>
            <a:ext cx="410262" cy="280979"/>
            <a:chOff x="4252937" y="1702222"/>
            <a:chExt cx="268105" cy="189406"/>
          </a:xfrm>
        </p:grpSpPr>
        <p:pic>
          <p:nvPicPr>
            <p:cNvPr id="437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435E74BE-0D0A-4CC9-9B2B-3C31784868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3370" y="1702222"/>
              <a:ext cx="139332" cy="101114"/>
            </a:xfrm>
            <a:prstGeom prst="rect">
              <a:avLst/>
            </a:prstGeom>
            <a:noFill/>
          </p:spPr>
        </p:pic>
        <p:sp>
          <p:nvSpPr>
            <p:cNvPr id="438" name="195a93ef-0b9d-424d-883c-5a6639fecf82">
              <a:extLst>
                <a:ext uri="{FF2B5EF4-FFF2-40B4-BE49-F238E27FC236}">
                  <a16:creationId xmlns="" xmlns:a16="http://schemas.microsoft.com/office/drawing/2014/main" id="{0FD8F145-A50A-4F9A-B13F-BAE814F0A40B}"/>
                </a:ext>
              </a:extLst>
            </p:cNvPr>
            <p:cNvSpPr txBox="1"/>
            <p:nvPr/>
          </p:nvSpPr>
          <p:spPr>
            <a:xfrm>
              <a:off x="4252937" y="1808661"/>
              <a:ext cx="268105" cy="829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Bolivi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44" name="组合 26">
            <a:extLst>
              <a:ext uri="{FF2B5EF4-FFF2-40B4-BE49-F238E27FC236}">
                <a16:creationId xmlns="" xmlns:a16="http://schemas.microsoft.com/office/drawing/2014/main" id="{FE2F181E-F857-4FBA-977F-0C6363ABDEE9}"/>
              </a:ext>
            </a:extLst>
          </p:cNvPr>
          <p:cNvGrpSpPr/>
          <p:nvPr/>
        </p:nvGrpSpPr>
        <p:grpSpPr>
          <a:xfrm>
            <a:off x="8827401" y="3514190"/>
            <a:ext cx="631489" cy="414257"/>
            <a:chOff x="5810408" y="2458870"/>
            <a:chExt cx="412678" cy="279249"/>
          </a:xfrm>
        </p:grpSpPr>
        <p:sp>
          <p:nvSpPr>
            <p:cNvPr id="518" name="d3ae5166-2d2d-4028-943b-c9c9d2214c71">
              <a:extLst>
                <a:ext uri="{FF2B5EF4-FFF2-40B4-BE49-F238E27FC236}">
                  <a16:creationId xmlns="" xmlns:a16="http://schemas.microsoft.com/office/drawing/2014/main" id="{43F94F51-5CF4-4E5E-8F2E-60FD8A48625D}"/>
                </a:ext>
              </a:extLst>
            </p:cNvPr>
            <p:cNvSpPr txBox="1"/>
            <p:nvPr/>
          </p:nvSpPr>
          <p:spPr>
            <a:xfrm>
              <a:off x="5810408" y="2461483"/>
              <a:ext cx="412678" cy="276636"/>
            </a:xfrm>
            <a:prstGeom prst="rect">
              <a:avLst/>
            </a:prstGeom>
            <a:noFill/>
          </p:spPr>
          <p:txBody>
            <a:bodyPr wrap="square" lIns="162572" tIns="81286" rIns="162572" bIns="81286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Chin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519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A6DA19DD-CB58-413A-91A0-AA4CAAE025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7418" y="2458870"/>
              <a:ext cx="139332" cy="101114"/>
            </a:xfrm>
            <a:prstGeom prst="rect">
              <a:avLst/>
            </a:prstGeom>
            <a:noFill/>
          </p:spPr>
        </p:pic>
      </p:grpSp>
      <p:sp>
        <p:nvSpPr>
          <p:cNvPr id="516" name="bd04e55d-666b-4f26-bcbb-e56799a16d64">
            <a:extLst>
              <a:ext uri="{FF2B5EF4-FFF2-40B4-BE49-F238E27FC236}">
                <a16:creationId xmlns="" xmlns:a16="http://schemas.microsoft.com/office/drawing/2014/main" id="{AC80EF3F-AAC7-4C25-B00D-73905278B0E3}"/>
              </a:ext>
            </a:extLst>
          </p:cNvPr>
          <p:cNvSpPr/>
          <p:nvPr/>
        </p:nvSpPr>
        <p:spPr>
          <a:xfrm>
            <a:off x="6370110" y="3597380"/>
            <a:ext cx="299075" cy="24622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Egypt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17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B16747E2-E16B-40E8-89AF-C147D709F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5621" y="3518068"/>
            <a:ext cx="213208" cy="149999"/>
          </a:xfrm>
          <a:prstGeom prst="rect">
            <a:avLst/>
          </a:prstGeom>
          <a:noFill/>
        </p:spPr>
      </p:pic>
      <p:pic>
        <p:nvPicPr>
          <p:cNvPr id="514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48B2DF5F-09B8-4009-8CB6-7741D224C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2744" y="4227499"/>
            <a:ext cx="213208" cy="150001"/>
          </a:xfrm>
          <a:prstGeom prst="rect">
            <a:avLst/>
          </a:prstGeom>
          <a:noFill/>
        </p:spPr>
      </p:pic>
      <p:sp>
        <p:nvSpPr>
          <p:cNvPr id="515" name="135d7266-1176-491a-871e-a31c65127e33">
            <a:extLst>
              <a:ext uri="{FF2B5EF4-FFF2-40B4-BE49-F238E27FC236}">
                <a16:creationId xmlns="" xmlns:a16="http://schemas.microsoft.com/office/drawing/2014/main" id="{A501D10B-5DAD-42FD-9EF7-5D505315E483}"/>
              </a:ext>
            </a:extLst>
          </p:cNvPr>
          <p:cNvSpPr/>
          <p:nvPr/>
        </p:nvSpPr>
        <p:spPr>
          <a:xfrm>
            <a:off x="6978541" y="4221432"/>
            <a:ext cx="307698" cy="12307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Keny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50" name="Freeform 493">
            <a:extLst>
              <a:ext uri="{FF2B5EF4-FFF2-40B4-BE49-F238E27FC236}">
                <a16:creationId xmlns="" xmlns:a16="http://schemas.microsoft.com/office/drawing/2014/main" id="{63F76911-7B86-4F71-9BA2-ED518CEA512D}"/>
              </a:ext>
            </a:extLst>
          </p:cNvPr>
          <p:cNvSpPr>
            <a:spLocks/>
          </p:cNvSpPr>
          <p:nvPr/>
        </p:nvSpPr>
        <p:spPr bwMode="auto">
          <a:xfrm>
            <a:off x="7366212" y="3177453"/>
            <a:ext cx="424047" cy="215388"/>
          </a:xfrm>
          <a:custGeom>
            <a:avLst/>
            <a:gdLst>
              <a:gd name="T0" fmla="*/ 0 w 534"/>
              <a:gd name="T1" fmla="*/ 1 h 433"/>
              <a:gd name="T2" fmla="*/ 0 w 534"/>
              <a:gd name="T3" fmla="*/ 3 h 433"/>
              <a:gd name="T4" fmla="*/ 1 w 534"/>
              <a:gd name="T5" fmla="*/ 2 h 433"/>
              <a:gd name="T6" fmla="*/ 2 w 534"/>
              <a:gd name="T7" fmla="*/ 3 h 433"/>
              <a:gd name="T8" fmla="*/ 1 w 534"/>
              <a:gd name="T9" fmla="*/ 3 h 433"/>
              <a:gd name="T10" fmla="*/ 0 w 534"/>
              <a:gd name="T11" fmla="*/ 3 h 433"/>
              <a:gd name="T12" fmla="*/ 0 w 534"/>
              <a:gd name="T13" fmla="*/ 4 h 433"/>
              <a:gd name="T14" fmla="*/ 0 w 534"/>
              <a:gd name="T15" fmla="*/ 4 h 433"/>
              <a:gd name="T16" fmla="*/ 1 w 534"/>
              <a:gd name="T17" fmla="*/ 5 h 433"/>
              <a:gd name="T18" fmla="*/ 1 w 534"/>
              <a:gd name="T19" fmla="*/ 5 h 433"/>
              <a:gd name="T20" fmla="*/ 1 w 534"/>
              <a:gd name="T21" fmla="*/ 5 h 433"/>
              <a:gd name="T22" fmla="*/ 1 w 534"/>
              <a:gd name="T23" fmla="*/ 7 h 433"/>
              <a:gd name="T24" fmla="*/ 3 w 534"/>
              <a:gd name="T25" fmla="*/ 7 h 433"/>
              <a:gd name="T26" fmla="*/ 4 w 534"/>
              <a:gd name="T27" fmla="*/ 6 h 433"/>
              <a:gd name="T28" fmla="*/ 6 w 534"/>
              <a:gd name="T29" fmla="*/ 7 h 433"/>
              <a:gd name="T30" fmla="*/ 7 w 534"/>
              <a:gd name="T31" fmla="*/ 8 h 433"/>
              <a:gd name="T32" fmla="*/ 7 w 534"/>
              <a:gd name="T33" fmla="*/ 9 h 433"/>
              <a:gd name="T34" fmla="*/ 7 w 534"/>
              <a:gd name="T35" fmla="*/ 9 h 433"/>
              <a:gd name="T36" fmla="*/ 9 w 534"/>
              <a:gd name="T37" fmla="*/ 10 h 433"/>
              <a:gd name="T38" fmla="*/ 11 w 534"/>
              <a:gd name="T39" fmla="*/ 7 h 433"/>
              <a:gd name="T40" fmla="*/ 12 w 534"/>
              <a:gd name="T41" fmla="*/ 7 h 433"/>
              <a:gd name="T42" fmla="*/ 12 w 534"/>
              <a:gd name="T43" fmla="*/ 7 h 433"/>
              <a:gd name="T44" fmla="*/ 12 w 534"/>
              <a:gd name="T45" fmla="*/ 6 h 433"/>
              <a:gd name="T46" fmla="*/ 12 w 534"/>
              <a:gd name="T47" fmla="*/ 5 h 433"/>
              <a:gd name="T48" fmla="*/ 11 w 534"/>
              <a:gd name="T49" fmla="*/ 5 h 433"/>
              <a:gd name="T50" fmla="*/ 11 w 534"/>
              <a:gd name="T51" fmla="*/ 5 h 433"/>
              <a:gd name="T52" fmla="*/ 10 w 534"/>
              <a:gd name="T53" fmla="*/ 4 h 433"/>
              <a:gd name="T54" fmla="*/ 9 w 534"/>
              <a:gd name="T55" fmla="*/ 3 h 433"/>
              <a:gd name="T56" fmla="*/ 9 w 534"/>
              <a:gd name="T57" fmla="*/ 3 h 433"/>
              <a:gd name="T58" fmla="*/ 8 w 534"/>
              <a:gd name="T59" fmla="*/ 2 h 433"/>
              <a:gd name="T60" fmla="*/ 7 w 534"/>
              <a:gd name="T61" fmla="*/ 3 h 433"/>
              <a:gd name="T62" fmla="*/ 7 w 534"/>
              <a:gd name="T63" fmla="*/ 3 h 433"/>
              <a:gd name="T64" fmla="*/ 7 w 534"/>
              <a:gd name="T65" fmla="*/ 3 h 433"/>
              <a:gd name="T66" fmla="*/ 7 w 534"/>
              <a:gd name="T67" fmla="*/ 2 h 433"/>
              <a:gd name="T68" fmla="*/ 7 w 534"/>
              <a:gd name="T69" fmla="*/ 1 h 433"/>
              <a:gd name="T70" fmla="*/ 6 w 534"/>
              <a:gd name="T71" fmla="*/ 1 h 433"/>
              <a:gd name="T72" fmla="*/ 6 w 534"/>
              <a:gd name="T73" fmla="*/ 1 h 433"/>
              <a:gd name="T74" fmla="*/ 5 w 534"/>
              <a:gd name="T75" fmla="*/ 0 h 433"/>
              <a:gd name="T76" fmla="*/ 5 w 534"/>
              <a:gd name="T77" fmla="*/ 0 h 433"/>
              <a:gd name="T78" fmla="*/ 5 w 534"/>
              <a:gd name="T79" fmla="*/ 0 h 433"/>
              <a:gd name="T80" fmla="*/ 4 w 534"/>
              <a:gd name="T81" fmla="*/ 0 h 433"/>
              <a:gd name="T82" fmla="*/ 5 w 534"/>
              <a:gd name="T83" fmla="*/ 1 h 433"/>
              <a:gd name="T84" fmla="*/ 4 w 534"/>
              <a:gd name="T85" fmla="*/ 1 h 433"/>
              <a:gd name="T86" fmla="*/ 4 w 534"/>
              <a:gd name="T87" fmla="*/ 1 h 433"/>
              <a:gd name="T88" fmla="*/ 4 w 534"/>
              <a:gd name="T89" fmla="*/ 1 h 433"/>
              <a:gd name="T90" fmla="*/ 3 w 534"/>
              <a:gd name="T91" fmla="*/ 1 h 433"/>
              <a:gd name="T92" fmla="*/ 3 w 534"/>
              <a:gd name="T93" fmla="*/ 1 h 433"/>
              <a:gd name="T94" fmla="*/ 2 w 534"/>
              <a:gd name="T95" fmla="*/ 2 h 433"/>
              <a:gd name="T96" fmla="*/ 2 w 534"/>
              <a:gd name="T97" fmla="*/ 1 h 433"/>
              <a:gd name="T98" fmla="*/ 1 w 534"/>
              <a:gd name="T99" fmla="*/ 1 h 433"/>
              <a:gd name="T100" fmla="*/ 0 w 534"/>
              <a:gd name="T101" fmla="*/ 1 h 43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34"/>
              <a:gd name="T154" fmla="*/ 0 h 433"/>
              <a:gd name="T155" fmla="*/ 534 w 534"/>
              <a:gd name="T156" fmla="*/ 433 h 43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34" h="433">
                <a:moveTo>
                  <a:pt x="0" y="63"/>
                </a:moveTo>
                <a:lnTo>
                  <a:pt x="4" y="118"/>
                </a:lnTo>
                <a:lnTo>
                  <a:pt x="32" y="86"/>
                </a:lnTo>
                <a:lnTo>
                  <a:pt x="72" y="129"/>
                </a:lnTo>
                <a:lnTo>
                  <a:pt x="53" y="156"/>
                </a:lnTo>
                <a:lnTo>
                  <a:pt x="7" y="130"/>
                </a:lnTo>
                <a:lnTo>
                  <a:pt x="1" y="168"/>
                </a:lnTo>
                <a:lnTo>
                  <a:pt x="7" y="191"/>
                </a:lnTo>
                <a:lnTo>
                  <a:pt x="32" y="196"/>
                </a:lnTo>
                <a:lnTo>
                  <a:pt x="22" y="221"/>
                </a:lnTo>
                <a:lnTo>
                  <a:pt x="41" y="238"/>
                </a:lnTo>
                <a:lnTo>
                  <a:pt x="41" y="314"/>
                </a:lnTo>
                <a:lnTo>
                  <a:pt x="115" y="292"/>
                </a:lnTo>
                <a:lnTo>
                  <a:pt x="157" y="269"/>
                </a:lnTo>
                <a:lnTo>
                  <a:pt x="250" y="320"/>
                </a:lnTo>
                <a:lnTo>
                  <a:pt x="311" y="352"/>
                </a:lnTo>
                <a:lnTo>
                  <a:pt x="322" y="366"/>
                </a:lnTo>
                <a:lnTo>
                  <a:pt x="328" y="405"/>
                </a:lnTo>
                <a:lnTo>
                  <a:pt x="382" y="433"/>
                </a:lnTo>
                <a:lnTo>
                  <a:pt x="466" y="329"/>
                </a:lnTo>
                <a:lnTo>
                  <a:pt x="519" y="329"/>
                </a:lnTo>
                <a:lnTo>
                  <a:pt x="528" y="286"/>
                </a:lnTo>
                <a:lnTo>
                  <a:pt x="534" y="268"/>
                </a:lnTo>
                <a:lnTo>
                  <a:pt x="517" y="240"/>
                </a:lnTo>
                <a:lnTo>
                  <a:pt x="478" y="223"/>
                </a:lnTo>
                <a:lnTo>
                  <a:pt x="472" y="202"/>
                </a:lnTo>
                <a:lnTo>
                  <a:pt x="417" y="186"/>
                </a:lnTo>
                <a:lnTo>
                  <a:pt x="382" y="148"/>
                </a:lnTo>
                <a:lnTo>
                  <a:pt x="371" y="122"/>
                </a:lnTo>
                <a:lnTo>
                  <a:pt x="343" y="98"/>
                </a:lnTo>
                <a:lnTo>
                  <a:pt x="327" y="113"/>
                </a:lnTo>
                <a:lnTo>
                  <a:pt x="317" y="122"/>
                </a:lnTo>
                <a:lnTo>
                  <a:pt x="297" y="118"/>
                </a:lnTo>
                <a:lnTo>
                  <a:pt x="281" y="86"/>
                </a:lnTo>
                <a:lnTo>
                  <a:pt x="281" y="63"/>
                </a:lnTo>
                <a:lnTo>
                  <a:pt x="261" y="56"/>
                </a:lnTo>
                <a:lnTo>
                  <a:pt x="256" y="35"/>
                </a:lnTo>
                <a:lnTo>
                  <a:pt x="233" y="18"/>
                </a:lnTo>
                <a:lnTo>
                  <a:pt x="216" y="18"/>
                </a:lnTo>
                <a:lnTo>
                  <a:pt x="204" y="0"/>
                </a:lnTo>
                <a:lnTo>
                  <a:pt x="186" y="10"/>
                </a:lnTo>
                <a:lnTo>
                  <a:pt x="192" y="35"/>
                </a:lnTo>
                <a:lnTo>
                  <a:pt x="182" y="31"/>
                </a:lnTo>
                <a:lnTo>
                  <a:pt x="173" y="26"/>
                </a:lnTo>
                <a:lnTo>
                  <a:pt x="157" y="63"/>
                </a:lnTo>
                <a:lnTo>
                  <a:pt x="136" y="68"/>
                </a:lnTo>
                <a:lnTo>
                  <a:pt x="115" y="61"/>
                </a:lnTo>
                <a:lnTo>
                  <a:pt x="101" y="80"/>
                </a:lnTo>
                <a:lnTo>
                  <a:pt x="84" y="63"/>
                </a:lnTo>
                <a:lnTo>
                  <a:pt x="57" y="46"/>
                </a:lnTo>
                <a:lnTo>
                  <a:pt x="0" y="63"/>
                </a:lnTo>
                <a:close/>
              </a:path>
            </a:pathLst>
          </a:custGeom>
          <a:solidFill>
            <a:schemeClr val="bg1">
              <a:lumMod val="65000"/>
              <a:alpha val="56000"/>
            </a:schemeClr>
          </a:solidFill>
          <a:ln w="6350">
            <a:noFill/>
            <a:round/>
            <a:headEnd/>
            <a:tailEnd/>
          </a:ln>
        </p:spPr>
        <p:txBody>
          <a:bodyPr wrap="square" anchor="ctr" anchorCtr="0">
            <a:noAutofit/>
          </a:bodyPr>
          <a:lstStyle/>
          <a:p>
            <a:pPr defTabSz="965705" fontAlgn="ctr">
              <a:defRPr/>
            </a:pPr>
            <a:endParaRPr lang="en-US" sz="800" kern="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="" xmlns:a16="http://schemas.microsoft.com/office/drawing/2014/main" id="{0FB0F211-DD42-4084-9BB0-7DF1EF511D27}"/>
              </a:ext>
            </a:extLst>
          </p:cNvPr>
          <p:cNvGrpSpPr/>
          <p:nvPr/>
        </p:nvGrpSpPr>
        <p:grpSpPr>
          <a:xfrm>
            <a:off x="6435908" y="3175195"/>
            <a:ext cx="396410" cy="381497"/>
            <a:chOff x="6043771" y="2800360"/>
            <a:chExt cx="396513" cy="381593"/>
          </a:xfrm>
        </p:grpSpPr>
        <p:sp>
          <p:nvSpPr>
            <p:cNvPr id="512" name="195a93ef-0b9d-424d-883c-5a6639fecf82">
              <a:extLst>
                <a:ext uri="{FF2B5EF4-FFF2-40B4-BE49-F238E27FC236}">
                  <a16:creationId xmlns="" xmlns:a16="http://schemas.microsoft.com/office/drawing/2014/main" id="{5DD30FEA-5E0B-40AE-B921-E000FC62517E}"/>
                </a:ext>
              </a:extLst>
            </p:cNvPr>
            <p:cNvSpPr txBox="1"/>
            <p:nvPr/>
          </p:nvSpPr>
          <p:spPr>
            <a:xfrm>
              <a:off x="6043771" y="2935668"/>
              <a:ext cx="396513" cy="24628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Turkey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513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2019DA7F-9493-4924-A3E1-53D49C22E3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9136" y="2800360"/>
              <a:ext cx="213263" cy="150038"/>
            </a:xfrm>
            <a:prstGeom prst="rect">
              <a:avLst/>
            </a:prstGeom>
            <a:noFill/>
          </p:spPr>
        </p:pic>
      </p:grpSp>
      <p:sp>
        <p:nvSpPr>
          <p:cNvPr id="474" name="064447ff-fdc5-4c41-ada3-65c3e82898aa">
            <a:extLst>
              <a:ext uri="{FF2B5EF4-FFF2-40B4-BE49-F238E27FC236}">
                <a16:creationId xmlns="" xmlns:a16="http://schemas.microsoft.com/office/drawing/2014/main" id="{FC04C02A-50B3-4563-A865-CEFE1381C5A3}"/>
              </a:ext>
            </a:extLst>
          </p:cNvPr>
          <p:cNvSpPr txBox="1"/>
          <p:nvPr/>
        </p:nvSpPr>
        <p:spPr>
          <a:xfrm>
            <a:off x="7314148" y="3222076"/>
            <a:ext cx="512827" cy="12307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Tajikistan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5" name="dbeb674b-ae82-4aef-97c4-13474ed103d6">
            <a:extLst>
              <a:ext uri="{FF2B5EF4-FFF2-40B4-BE49-F238E27FC236}">
                <a16:creationId xmlns="" xmlns:a16="http://schemas.microsoft.com/office/drawing/2014/main" id="{524C81ED-F8D7-41CB-BBF1-32920D84037D}"/>
              </a:ext>
            </a:extLst>
          </p:cNvPr>
          <p:cNvSpPr/>
          <p:nvPr/>
        </p:nvSpPr>
        <p:spPr>
          <a:xfrm>
            <a:off x="8458363" y="3058975"/>
            <a:ext cx="653930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Mongol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6" name="6707ecb8-2bfd-463b-b09f-4e2ac79a3284">
            <a:extLst>
              <a:ext uri="{FF2B5EF4-FFF2-40B4-BE49-F238E27FC236}">
                <a16:creationId xmlns="" xmlns:a16="http://schemas.microsoft.com/office/drawing/2014/main" id="{5A001A73-8052-466B-B601-F00E3E5EFADF}"/>
              </a:ext>
            </a:extLst>
          </p:cNvPr>
          <p:cNvSpPr txBox="1"/>
          <p:nvPr/>
        </p:nvSpPr>
        <p:spPr>
          <a:xfrm>
            <a:off x="7398601" y="3701358"/>
            <a:ext cx="410262" cy="12307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Pakistan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7" name="0652dcf0-73d7-45dd-97d7-ca4c771f7c30">
            <a:extLst>
              <a:ext uri="{FF2B5EF4-FFF2-40B4-BE49-F238E27FC236}">
                <a16:creationId xmlns="" xmlns:a16="http://schemas.microsoft.com/office/drawing/2014/main" id="{C2E59B03-B357-4F7E-9AC0-CD22FA84DA3C}"/>
              </a:ext>
            </a:extLst>
          </p:cNvPr>
          <p:cNvSpPr txBox="1"/>
          <p:nvPr/>
        </p:nvSpPr>
        <p:spPr>
          <a:xfrm>
            <a:off x="5474672" y="4248019"/>
            <a:ext cx="36589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Ghana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8" name="773c185d-e57e-4682-99ed-e7fbd6924c75">
            <a:extLst>
              <a:ext uri="{FF2B5EF4-FFF2-40B4-BE49-F238E27FC236}">
                <a16:creationId xmlns="" xmlns:a16="http://schemas.microsoft.com/office/drawing/2014/main" id="{40DB60F9-5B2E-4EE3-848D-4CD2C2239DA0}"/>
              </a:ext>
            </a:extLst>
          </p:cNvPr>
          <p:cNvSpPr/>
          <p:nvPr/>
        </p:nvSpPr>
        <p:spPr>
          <a:xfrm>
            <a:off x="6251576" y="4410608"/>
            <a:ext cx="459689" cy="24622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Zamb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9" name="135d7266-1176-491a-871e-a31c65127e33">
            <a:extLst>
              <a:ext uri="{FF2B5EF4-FFF2-40B4-BE49-F238E27FC236}">
                <a16:creationId xmlns="" xmlns:a16="http://schemas.microsoft.com/office/drawing/2014/main" id="{C0AD08A3-0759-4B5E-89C5-1F59B3F2D91B}"/>
              </a:ext>
            </a:extLst>
          </p:cNvPr>
          <p:cNvSpPr/>
          <p:nvPr/>
        </p:nvSpPr>
        <p:spPr>
          <a:xfrm>
            <a:off x="6650427" y="4509116"/>
            <a:ext cx="539989" cy="24622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Tanzan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80" name="1d8dd297-9088-4c3d-9b71-517ae86fafe4">
            <a:extLst>
              <a:ext uri="{FF2B5EF4-FFF2-40B4-BE49-F238E27FC236}">
                <a16:creationId xmlns="" xmlns:a16="http://schemas.microsoft.com/office/drawing/2014/main" id="{04467427-7F8E-42AD-BEFF-947D43F52DF2}"/>
              </a:ext>
            </a:extLst>
          </p:cNvPr>
          <p:cNvSpPr/>
          <p:nvPr/>
        </p:nvSpPr>
        <p:spPr>
          <a:xfrm>
            <a:off x="5916762" y="4671456"/>
            <a:ext cx="388286" cy="24622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Angol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81" name="7ae08c9b-7b19-4e29-944b-502cbb15ed90">
            <a:extLst>
              <a:ext uri="{FF2B5EF4-FFF2-40B4-BE49-F238E27FC236}">
                <a16:creationId xmlns="" xmlns:a16="http://schemas.microsoft.com/office/drawing/2014/main" id="{082254CD-52B4-4FE6-89B8-625198BA2DFC}"/>
              </a:ext>
            </a:extLst>
          </p:cNvPr>
          <p:cNvSpPr txBox="1"/>
          <p:nvPr/>
        </p:nvSpPr>
        <p:spPr>
          <a:xfrm>
            <a:off x="6452457" y="4802315"/>
            <a:ext cx="656398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Mozambique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82" name="76011107-b16d-4e18-b812-5b39af58ebb4">
            <a:extLst>
              <a:ext uri="{FF2B5EF4-FFF2-40B4-BE49-F238E27FC236}">
                <a16:creationId xmlns="" xmlns:a16="http://schemas.microsoft.com/office/drawing/2014/main" id="{F07AA9DD-3CE3-4851-98EE-75DE07862A8B}"/>
              </a:ext>
            </a:extLst>
          </p:cNvPr>
          <p:cNvSpPr/>
          <p:nvPr/>
        </p:nvSpPr>
        <p:spPr>
          <a:xfrm>
            <a:off x="3770311" y="4252458"/>
            <a:ext cx="530720" cy="24622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Venezuel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83" name="344722a1-f718-4851-b5ad-eced1455ef29">
            <a:extLst>
              <a:ext uri="{FF2B5EF4-FFF2-40B4-BE49-F238E27FC236}">
                <a16:creationId xmlns="" xmlns:a16="http://schemas.microsoft.com/office/drawing/2014/main" id="{B94C4AE2-A98E-44EA-B6C7-F3523586695E}"/>
              </a:ext>
            </a:extLst>
          </p:cNvPr>
          <p:cNvSpPr/>
          <p:nvPr/>
        </p:nvSpPr>
        <p:spPr>
          <a:xfrm>
            <a:off x="3264212" y="4507210"/>
            <a:ext cx="410262" cy="12307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Ecuador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484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741B36B2-B082-481E-9B7C-912C429F5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8912" y="4352194"/>
            <a:ext cx="213208" cy="149999"/>
          </a:xfrm>
          <a:prstGeom prst="rect">
            <a:avLst/>
          </a:prstGeom>
          <a:noFill/>
        </p:spPr>
      </p:pic>
      <p:pic>
        <p:nvPicPr>
          <p:cNvPr id="485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11A97BD5-8D7C-4220-8ED1-595EBAB1F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91831" y="4152460"/>
            <a:ext cx="213208" cy="149999"/>
          </a:xfrm>
          <a:prstGeom prst="rect">
            <a:avLst/>
          </a:prstGeom>
          <a:noFill/>
        </p:spPr>
      </p:pic>
      <p:pic>
        <p:nvPicPr>
          <p:cNvPr id="488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4E1D99A0-53B6-4836-A270-786E46F680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58300" y="4152500"/>
            <a:ext cx="213208" cy="149999"/>
          </a:xfrm>
          <a:prstGeom prst="rect">
            <a:avLst/>
          </a:prstGeom>
          <a:noFill/>
        </p:spPr>
      </p:pic>
      <p:pic>
        <p:nvPicPr>
          <p:cNvPr id="490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0F484937-C7CB-48F2-92E5-417E11031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6132" y="3043713"/>
            <a:ext cx="213208" cy="149999"/>
          </a:xfrm>
          <a:prstGeom prst="rect">
            <a:avLst/>
          </a:prstGeom>
          <a:noFill/>
        </p:spPr>
      </p:pic>
      <p:pic>
        <p:nvPicPr>
          <p:cNvPr id="491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6D8508CE-3155-4E09-8437-11065B8DC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9527" y="3526603"/>
            <a:ext cx="213208" cy="149999"/>
          </a:xfrm>
          <a:prstGeom prst="rect">
            <a:avLst/>
          </a:prstGeom>
          <a:noFill/>
        </p:spPr>
      </p:pic>
      <p:pic>
        <p:nvPicPr>
          <p:cNvPr id="492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30C7E562-89B4-437F-AB72-EFA016540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796" y="3251707"/>
            <a:ext cx="213208" cy="149999"/>
          </a:xfrm>
          <a:prstGeom prst="rect">
            <a:avLst/>
          </a:prstGeom>
          <a:noFill/>
        </p:spPr>
      </p:pic>
      <p:pic>
        <p:nvPicPr>
          <p:cNvPr id="493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E92F9DA5-0B90-4002-A730-E13171004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7364" y="3380132"/>
            <a:ext cx="213208" cy="149999"/>
          </a:xfrm>
          <a:prstGeom prst="rect">
            <a:avLst/>
          </a:prstGeom>
          <a:noFill/>
        </p:spPr>
      </p:pic>
      <p:pic>
        <p:nvPicPr>
          <p:cNvPr id="494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680DAB61-7A51-4D07-B7A1-E6FE3F16B8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3222" y="3508352"/>
            <a:ext cx="213208" cy="149999"/>
          </a:xfrm>
          <a:prstGeom prst="rect">
            <a:avLst/>
          </a:prstGeom>
          <a:noFill/>
        </p:spPr>
      </p:pic>
      <p:pic>
        <p:nvPicPr>
          <p:cNvPr id="495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86A7B9EC-73F8-4584-9AF3-05D54F041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0118" y="3055391"/>
            <a:ext cx="213208" cy="149999"/>
          </a:xfrm>
          <a:prstGeom prst="rect">
            <a:avLst/>
          </a:prstGeom>
          <a:noFill/>
        </p:spPr>
      </p:pic>
      <p:pic>
        <p:nvPicPr>
          <p:cNvPr id="496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6D74C844-224B-4D5E-9477-5D6DAB080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6683" y="3777060"/>
            <a:ext cx="213208" cy="149999"/>
          </a:xfrm>
          <a:prstGeom prst="rect">
            <a:avLst/>
          </a:prstGeom>
          <a:noFill/>
        </p:spPr>
      </p:pic>
      <p:pic>
        <p:nvPicPr>
          <p:cNvPr id="497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30F13DEE-D581-4ED5-9F77-AA1F10C1F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1462" y="3308835"/>
            <a:ext cx="213208" cy="149999"/>
          </a:xfrm>
          <a:prstGeom prst="rect">
            <a:avLst/>
          </a:prstGeom>
          <a:noFill/>
        </p:spPr>
      </p:pic>
      <p:pic>
        <p:nvPicPr>
          <p:cNvPr id="498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D8A96A98-BEA7-45F6-B262-AD58160D5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19996" y="3024611"/>
            <a:ext cx="213208" cy="149999"/>
          </a:xfrm>
          <a:prstGeom prst="rect">
            <a:avLst/>
          </a:prstGeom>
          <a:noFill/>
        </p:spPr>
      </p:pic>
      <p:grpSp>
        <p:nvGrpSpPr>
          <p:cNvPr id="499" name="组合 7">
            <a:extLst>
              <a:ext uri="{FF2B5EF4-FFF2-40B4-BE49-F238E27FC236}">
                <a16:creationId xmlns="" xmlns:a16="http://schemas.microsoft.com/office/drawing/2014/main" id="{DFE781DF-1387-4ADD-8462-E751D5D5F906}"/>
              </a:ext>
            </a:extLst>
          </p:cNvPr>
          <p:cNvGrpSpPr/>
          <p:nvPr/>
        </p:nvGrpSpPr>
        <p:grpSpPr>
          <a:xfrm>
            <a:off x="6746269" y="3998069"/>
            <a:ext cx="758671" cy="149999"/>
            <a:chOff x="4803932" y="2785057"/>
            <a:chExt cx="495792" cy="101114"/>
          </a:xfrm>
        </p:grpSpPr>
        <p:sp>
          <p:nvSpPr>
            <p:cNvPr id="510" name="7cd83524-581f-4530-9007-46ee1efe2f77">
              <a:extLst>
                <a:ext uri="{FF2B5EF4-FFF2-40B4-BE49-F238E27FC236}">
                  <a16:creationId xmlns="" xmlns:a16="http://schemas.microsoft.com/office/drawing/2014/main" id="{C619E868-B1A6-4EFD-B04B-DCBD430DB12F}"/>
                </a:ext>
              </a:extLst>
            </p:cNvPr>
            <p:cNvSpPr/>
            <p:nvPr/>
          </p:nvSpPr>
          <p:spPr>
            <a:xfrm>
              <a:off x="4964591" y="2799254"/>
              <a:ext cx="335133" cy="82967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Ethiopi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511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18F29903-39E8-4F19-997C-82C560387A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932" y="2785057"/>
              <a:ext cx="139332" cy="101114"/>
            </a:xfrm>
            <a:prstGeom prst="rect">
              <a:avLst/>
            </a:prstGeom>
            <a:noFill/>
          </p:spPr>
        </p:pic>
      </p:grpSp>
      <p:pic>
        <p:nvPicPr>
          <p:cNvPr id="500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6CB63320-6C83-4CDF-B642-829BFD785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0218" y="4424202"/>
            <a:ext cx="213208" cy="149999"/>
          </a:xfrm>
          <a:prstGeom prst="rect">
            <a:avLst/>
          </a:prstGeom>
          <a:noFill/>
        </p:spPr>
      </p:pic>
      <p:pic>
        <p:nvPicPr>
          <p:cNvPr id="501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89021F50-E9CF-4501-A6B3-4DA87DA38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3148" y="4295925"/>
            <a:ext cx="213208" cy="149999"/>
          </a:xfrm>
          <a:prstGeom prst="rect">
            <a:avLst/>
          </a:prstGeom>
          <a:noFill/>
        </p:spPr>
      </p:pic>
      <p:pic>
        <p:nvPicPr>
          <p:cNvPr id="502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05CF5E11-4E7A-442B-BA0E-131013EE5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3387" y="4578851"/>
            <a:ext cx="213208" cy="149999"/>
          </a:xfrm>
          <a:prstGeom prst="rect">
            <a:avLst/>
          </a:prstGeom>
          <a:noFill/>
        </p:spPr>
      </p:pic>
      <p:pic>
        <p:nvPicPr>
          <p:cNvPr id="503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54CD7AD8-0B06-43CD-BF91-B2B30C82B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0025" y="4376753"/>
            <a:ext cx="213208" cy="149999"/>
          </a:xfrm>
          <a:prstGeom prst="rect">
            <a:avLst/>
          </a:prstGeom>
          <a:noFill/>
        </p:spPr>
      </p:pic>
      <p:pic>
        <p:nvPicPr>
          <p:cNvPr id="504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7B7570EF-4274-43AE-9B53-CFB08183FA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7109" y="4718620"/>
            <a:ext cx="213208" cy="149999"/>
          </a:xfrm>
          <a:prstGeom prst="rect">
            <a:avLst/>
          </a:prstGeom>
          <a:noFill/>
        </p:spPr>
      </p:pic>
      <p:sp>
        <p:nvSpPr>
          <p:cNvPr id="505" name="5a4567d0-5535-4058-a909-00ddccb2def7">
            <a:extLst>
              <a:ext uri="{FF2B5EF4-FFF2-40B4-BE49-F238E27FC236}">
                <a16:creationId xmlns="" xmlns:a16="http://schemas.microsoft.com/office/drawing/2014/main" id="{9A0B5E14-E4C7-45DF-A7B7-ACCBC5C62E02}"/>
              </a:ext>
            </a:extLst>
          </p:cNvPr>
          <p:cNvSpPr txBox="1"/>
          <p:nvPr/>
        </p:nvSpPr>
        <p:spPr>
          <a:xfrm>
            <a:off x="8521989" y="3770064"/>
            <a:ext cx="590304" cy="410381"/>
          </a:xfrm>
          <a:prstGeom prst="rect">
            <a:avLst/>
          </a:prstGeom>
          <a:noFill/>
        </p:spPr>
        <p:txBody>
          <a:bodyPr wrap="square" lIns="162572" tIns="81286" rIns="162572" bIns="81286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Laos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06" name="6707ecb8-2bfd-463b-b09f-4e2ac79a3284">
            <a:extLst>
              <a:ext uri="{FF2B5EF4-FFF2-40B4-BE49-F238E27FC236}">
                <a16:creationId xmlns="" xmlns:a16="http://schemas.microsoft.com/office/drawing/2014/main" id="{A26A8B9E-E601-41B3-A711-7CAFF3C1E3DA}"/>
              </a:ext>
            </a:extLst>
          </p:cNvPr>
          <p:cNvSpPr txBox="1"/>
          <p:nvPr/>
        </p:nvSpPr>
        <p:spPr>
          <a:xfrm>
            <a:off x="6870417" y="3716310"/>
            <a:ext cx="512827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Saudi Arabia</a:t>
            </a:r>
            <a:endParaRPr lang="en-US" altLang="zh-CN" sz="8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507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F9BD4E30-266A-4D9D-AAA2-24B6116D5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372" y="3563817"/>
            <a:ext cx="213208" cy="149999"/>
          </a:xfrm>
          <a:prstGeom prst="rect">
            <a:avLst/>
          </a:prstGeom>
          <a:noFill/>
        </p:spPr>
      </p:pic>
      <p:sp>
        <p:nvSpPr>
          <p:cNvPr id="508" name="5a4567d0-5535-4058-a909-00ddccb2def7">
            <a:extLst>
              <a:ext uri="{FF2B5EF4-FFF2-40B4-BE49-F238E27FC236}">
                <a16:creationId xmlns="" xmlns:a16="http://schemas.microsoft.com/office/drawing/2014/main" id="{40B3394D-4273-4295-A14A-E53AF26D9811}"/>
              </a:ext>
            </a:extLst>
          </p:cNvPr>
          <p:cNvSpPr txBox="1"/>
          <p:nvPr/>
        </p:nvSpPr>
        <p:spPr>
          <a:xfrm>
            <a:off x="8552006" y="4061083"/>
            <a:ext cx="824927" cy="410381"/>
          </a:xfrm>
          <a:prstGeom prst="rect">
            <a:avLst/>
          </a:prstGeom>
          <a:noFill/>
        </p:spPr>
        <p:txBody>
          <a:bodyPr wrap="square" lIns="162572" tIns="81286" rIns="162572" bIns="81286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Singapore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09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4E523875-2D3B-43FF-BBD1-4BC7A27D2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12919" y="4059966"/>
            <a:ext cx="213208" cy="149999"/>
          </a:xfrm>
          <a:prstGeom prst="rect">
            <a:avLst/>
          </a:prstGeom>
          <a:noFill/>
        </p:spPr>
      </p:pic>
      <p:grpSp>
        <p:nvGrpSpPr>
          <p:cNvPr id="9" name="组合 8">
            <a:extLst>
              <a:ext uri="{FF2B5EF4-FFF2-40B4-BE49-F238E27FC236}">
                <a16:creationId xmlns="" xmlns:a16="http://schemas.microsoft.com/office/drawing/2014/main" id="{32E8DF0A-969E-4CE5-8695-13E68A5AD311}"/>
              </a:ext>
            </a:extLst>
          </p:cNvPr>
          <p:cNvGrpSpPr/>
          <p:nvPr/>
        </p:nvGrpSpPr>
        <p:grpSpPr>
          <a:xfrm>
            <a:off x="9177327" y="2168472"/>
            <a:ext cx="381230" cy="334649"/>
            <a:chOff x="8785901" y="1793393"/>
            <a:chExt cx="381329" cy="334736"/>
          </a:xfrm>
        </p:grpSpPr>
        <p:sp>
          <p:nvSpPr>
            <p:cNvPr id="472" name="064447ff-fdc5-4c41-ada3-65c3e82898aa">
              <a:extLst>
                <a:ext uri="{FF2B5EF4-FFF2-40B4-BE49-F238E27FC236}">
                  <a16:creationId xmlns="" xmlns:a16="http://schemas.microsoft.com/office/drawing/2014/main" id="{51113B06-9EB3-4CFD-9BDF-C28FB7741B68}"/>
                </a:ext>
              </a:extLst>
            </p:cNvPr>
            <p:cNvSpPr txBox="1"/>
            <p:nvPr/>
          </p:nvSpPr>
          <p:spPr>
            <a:xfrm>
              <a:off x="8785901" y="1881844"/>
              <a:ext cx="381329" cy="24628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21895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Russi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73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B79DDB4B-8189-4906-8450-317EDE44B3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3552" y="1793393"/>
              <a:ext cx="213263" cy="150038"/>
            </a:xfrm>
            <a:prstGeom prst="rect">
              <a:avLst/>
            </a:prstGeom>
            <a:noFill/>
          </p:spPr>
        </p:pic>
      </p:grpSp>
      <p:grpSp>
        <p:nvGrpSpPr>
          <p:cNvPr id="4" name="组合 3">
            <a:extLst>
              <a:ext uri="{FF2B5EF4-FFF2-40B4-BE49-F238E27FC236}">
                <a16:creationId xmlns="" xmlns:a16="http://schemas.microsoft.com/office/drawing/2014/main" id="{A5AEB9BA-15FF-4A04-B481-3000B8544859}"/>
              </a:ext>
            </a:extLst>
          </p:cNvPr>
          <p:cNvGrpSpPr/>
          <p:nvPr/>
        </p:nvGrpSpPr>
        <p:grpSpPr>
          <a:xfrm>
            <a:off x="5512420" y="2674687"/>
            <a:ext cx="213210" cy="275087"/>
            <a:chOff x="5120042" y="2299740"/>
            <a:chExt cx="213266" cy="275159"/>
          </a:xfrm>
        </p:grpSpPr>
        <p:pic>
          <p:nvPicPr>
            <p:cNvPr id="470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2C802781-5382-48B2-8696-46B368093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0042" y="2299740"/>
              <a:ext cx="213266" cy="150039"/>
            </a:xfrm>
            <a:prstGeom prst="rect">
              <a:avLst/>
            </a:prstGeom>
            <a:noFill/>
          </p:spPr>
        </p:pic>
        <p:sp>
          <p:nvSpPr>
            <p:cNvPr id="471" name="195a93ef-0b9d-424d-883c-5a6639fecf82">
              <a:extLst>
                <a:ext uri="{FF2B5EF4-FFF2-40B4-BE49-F238E27FC236}">
                  <a16:creationId xmlns="" xmlns:a16="http://schemas.microsoft.com/office/drawing/2014/main" id="{5489ECC6-E6FE-4E39-AEA2-90F476D86CE8}"/>
                </a:ext>
              </a:extLst>
            </p:cNvPr>
            <p:cNvSpPr txBox="1"/>
            <p:nvPr/>
          </p:nvSpPr>
          <p:spPr>
            <a:xfrm>
              <a:off x="5124083" y="2451788"/>
              <a:ext cx="205184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UK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A447238E-1BEB-44B3-AEDA-091F657E2752}"/>
              </a:ext>
            </a:extLst>
          </p:cNvPr>
          <p:cNvGrpSpPr/>
          <p:nvPr/>
        </p:nvGrpSpPr>
        <p:grpSpPr>
          <a:xfrm>
            <a:off x="5808595" y="2331481"/>
            <a:ext cx="660854" cy="494233"/>
            <a:chOff x="5427382" y="2016714"/>
            <a:chExt cx="661028" cy="494361"/>
          </a:xfrm>
        </p:grpSpPr>
        <p:pic>
          <p:nvPicPr>
            <p:cNvPr id="468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0D8A6F50-E19F-4143-BF57-38CB6C9AC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4367" y="2016714"/>
              <a:ext cx="213265" cy="150039"/>
            </a:xfrm>
            <a:prstGeom prst="rect">
              <a:avLst/>
            </a:prstGeom>
            <a:noFill/>
          </p:spPr>
        </p:pic>
        <p:sp>
          <p:nvSpPr>
            <p:cNvPr id="469" name="195a93ef-0b9d-424d-883c-5a6639fecf82">
              <a:extLst>
                <a:ext uri="{FF2B5EF4-FFF2-40B4-BE49-F238E27FC236}">
                  <a16:creationId xmlns="" xmlns:a16="http://schemas.microsoft.com/office/drawing/2014/main" id="{C5EC5196-042C-4FDD-BC59-B75116A5698D}"/>
                </a:ext>
              </a:extLst>
            </p:cNvPr>
            <p:cNvSpPr txBox="1"/>
            <p:nvPr/>
          </p:nvSpPr>
          <p:spPr>
            <a:xfrm>
              <a:off x="5427382" y="2018504"/>
              <a:ext cx="661028" cy="4925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Netherlands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="" xmlns:a16="http://schemas.microsoft.com/office/drawing/2014/main" id="{D3DC7602-9626-49DA-91CD-D7037115C9C7}"/>
              </a:ext>
            </a:extLst>
          </p:cNvPr>
          <p:cNvGrpSpPr/>
          <p:nvPr/>
        </p:nvGrpSpPr>
        <p:grpSpPr>
          <a:xfrm>
            <a:off x="6038132" y="2779850"/>
            <a:ext cx="448826" cy="324349"/>
            <a:chOff x="5645896" y="2404931"/>
            <a:chExt cx="448943" cy="324433"/>
          </a:xfrm>
        </p:grpSpPr>
        <p:sp>
          <p:nvSpPr>
            <p:cNvPr id="466" name="195a93ef-0b9d-424d-883c-5a6639fecf82">
              <a:extLst>
                <a:ext uri="{FF2B5EF4-FFF2-40B4-BE49-F238E27FC236}">
                  <a16:creationId xmlns="" xmlns:a16="http://schemas.microsoft.com/office/drawing/2014/main" id="{F02946B8-B612-43C6-8A43-0B4AFC9A66FD}"/>
                </a:ext>
              </a:extLst>
            </p:cNvPr>
            <p:cNvSpPr txBox="1"/>
            <p:nvPr/>
          </p:nvSpPr>
          <p:spPr>
            <a:xfrm>
              <a:off x="5645896" y="2483079"/>
              <a:ext cx="448943" cy="24628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Hungary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67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C5BDAC4D-B971-4B67-A147-CA85E3897A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1734" y="2404931"/>
              <a:ext cx="213264" cy="150039"/>
            </a:xfrm>
            <a:prstGeom prst="rect">
              <a:avLst/>
            </a:prstGeom>
            <a:noFill/>
          </p:spPr>
        </p:pic>
      </p:grpSp>
      <p:grpSp>
        <p:nvGrpSpPr>
          <p:cNvPr id="8" name="组合 7">
            <a:extLst>
              <a:ext uri="{FF2B5EF4-FFF2-40B4-BE49-F238E27FC236}">
                <a16:creationId xmlns="" xmlns:a16="http://schemas.microsoft.com/office/drawing/2014/main" id="{D4EEF71D-0EBE-417B-BCB0-96BB5366D8C1}"/>
              </a:ext>
            </a:extLst>
          </p:cNvPr>
          <p:cNvGrpSpPr/>
          <p:nvPr/>
        </p:nvGrpSpPr>
        <p:grpSpPr>
          <a:xfrm>
            <a:off x="6714298" y="2853376"/>
            <a:ext cx="410261" cy="262778"/>
            <a:chOff x="6322233" y="2478476"/>
            <a:chExt cx="410368" cy="262846"/>
          </a:xfrm>
        </p:grpSpPr>
        <p:sp>
          <p:nvSpPr>
            <p:cNvPr id="464" name="195a93ef-0b9d-424d-883c-5a6639fecf82">
              <a:extLst>
                <a:ext uri="{FF2B5EF4-FFF2-40B4-BE49-F238E27FC236}">
                  <a16:creationId xmlns="" xmlns:a16="http://schemas.microsoft.com/office/drawing/2014/main" id="{143CBC1B-D81F-4A5D-8E79-1102C6326A38}"/>
                </a:ext>
              </a:extLst>
            </p:cNvPr>
            <p:cNvSpPr txBox="1"/>
            <p:nvPr/>
          </p:nvSpPr>
          <p:spPr>
            <a:xfrm>
              <a:off x="6322233" y="2618211"/>
              <a:ext cx="410368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Moldova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65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36025AE3-FAC1-4AA5-8AF7-BC5716D335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0786" y="2478476"/>
              <a:ext cx="213263" cy="150039"/>
            </a:xfrm>
            <a:prstGeom prst="rect">
              <a:avLst/>
            </a:prstGeom>
            <a:noFill/>
          </p:spPr>
        </p:pic>
      </p:grpSp>
      <p:grpSp>
        <p:nvGrpSpPr>
          <p:cNvPr id="6" name="组合 5">
            <a:extLst>
              <a:ext uri="{FF2B5EF4-FFF2-40B4-BE49-F238E27FC236}">
                <a16:creationId xmlns="" xmlns:a16="http://schemas.microsoft.com/office/drawing/2014/main" id="{09A074D7-D746-4BCA-BE2F-22AEDEA0D120}"/>
              </a:ext>
            </a:extLst>
          </p:cNvPr>
          <p:cNvGrpSpPr/>
          <p:nvPr/>
        </p:nvGrpSpPr>
        <p:grpSpPr>
          <a:xfrm>
            <a:off x="6040123" y="3137227"/>
            <a:ext cx="307697" cy="254257"/>
            <a:chOff x="5647882" y="2762401"/>
            <a:chExt cx="307777" cy="254323"/>
          </a:xfrm>
        </p:grpSpPr>
        <p:pic>
          <p:nvPicPr>
            <p:cNvPr id="462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00191E44-2146-4208-B4C5-B76B8F07A1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5139" y="2762401"/>
              <a:ext cx="213263" cy="150039"/>
            </a:xfrm>
            <a:prstGeom prst="rect">
              <a:avLst/>
            </a:prstGeom>
            <a:noFill/>
          </p:spPr>
        </p:pic>
        <p:sp>
          <p:nvSpPr>
            <p:cNvPr id="463" name="195a93ef-0b9d-424d-883c-5a6639fecf82">
              <a:extLst>
                <a:ext uri="{FF2B5EF4-FFF2-40B4-BE49-F238E27FC236}">
                  <a16:creationId xmlns="" xmlns:a16="http://schemas.microsoft.com/office/drawing/2014/main" id="{73862744-D183-4D24-B1E4-CF29B1821D4A}"/>
                </a:ext>
              </a:extLst>
            </p:cNvPr>
            <p:cNvSpPr txBox="1"/>
            <p:nvPr/>
          </p:nvSpPr>
          <p:spPr>
            <a:xfrm>
              <a:off x="5647882" y="2893613"/>
              <a:ext cx="307777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Italy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="" xmlns:a16="http://schemas.microsoft.com/office/drawing/2014/main" id="{1EA8DFAB-5C49-4AEE-9925-F636AF1495CA}"/>
              </a:ext>
            </a:extLst>
          </p:cNvPr>
          <p:cNvGrpSpPr/>
          <p:nvPr/>
        </p:nvGrpSpPr>
        <p:grpSpPr>
          <a:xfrm>
            <a:off x="5516460" y="3069297"/>
            <a:ext cx="307697" cy="264387"/>
            <a:chOff x="5124083" y="2694453"/>
            <a:chExt cx="307777" cy="264456"/>
          </a:xfrm>
        </p:grpSpPr>
        <p:pic>
          <p:nvPicPr>
            <p:cNvPr id="460" name="Picture 2" descr="E:\01 日常工作\03 品牌规范设计\公司广告源文档\HW LOGO(字白）.png">
              <a:extLst>
                <a:ext uri="{FF2B5EF4-FFF2-40B4-BE49-F238E27FC236}">
                  <a16:creationId xmlns="" xmlns:a16="http://schemas.microsoft.com/office/drawing/2014/main" id="{877BF4FA-1EC8-4DD9-8C73-E15351B651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5934" y="2694453"/>
              <a:ext cx="213263" cy="150038"/>
            </a:xfrm>
            <a:prstGeom prst="rect">
              <a:avLst/>
            </a:prstGeom>
            <a:noFill/>
          </p:spPr>
        </p:pic>
        <p:sp>
          <p:nvSpPr>
            <p:cNvPr id="461" name="195a93ef-0b9d-424d-883c-5a6639fecf82">
              <a:extLst>
                <a:ext uri="{FF2B5EF4-FFF2-40B4-BE49-F238E27FC236}">
                  <a16:creationId xmlns="" xmlns:a16="http://schemas.microsoft.com/office/drawing/2014/main" id="{3A466C50-ECBC-42DD-B3FE-9029BCD95EF8}"/>
                </a:ext>
              </a:extLst>
            </p:cNvPr>
            <p:cNvSpPr txBox="1"/>
            <p:nvPr/>
          </p:nvSpPr>
          <p:spPr>
            <a:xfrm>
              <a:off x="5124083" y="2835798"/>
              <a:ext cx="307777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45012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Spain</a:t>
              </a:r>
              <a:endParaRPr lang="en-US" sz="8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442" name="Picture 2" descr="E:\01 日常工作\03 品牌规范设计\公司广告源文档\HW LOGO(字白）.png">
            <a:extLst>
              <a:ext uri="{FF2B5EF4-FFF2-40B4-BE49-F238E27FC236}">
                <a16:creationId xmlns="" xmlns:a16="http://schemas.microsoft.com/office/drawing/2014/main" id="{E3A35D74-B499-478D-9930-5C8BA7FA18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38864" y="4400051"/>
            <a:ext cx="213210" cy="150000"/>
          </a:xfrm>
          <a:prstGeom prst="rect">
            <a:avLst/>
          </a:prstGeom>
          <a:noFill/>
        </p:spPr>
      </p:pic>
      <p:sp>
        <p:nvSpPr>
          <p:cNvPr id="443" name="195a93ef-0b9d-424d-883c-5a6639fecf82">
            <a:extLst>
              <a:ext uri="{FF2B5EF4-FFF2-40B4-BE49-F238E27FC236}">
                <a16:creationId xmlns="" xmlns:a16="http://schemas.microsoft.com/office/drawing/2014/main" id="{11D8D079-AF90-4231-8B31-9739DF7EB99C}"/>
              </a:ext>
            </a:extLst>
          </p:cNvPr>
          <p:cNvSpPr txBox="1"/>
          <p:nvPr/>
        </p:nvSpPr>
        <p:spPr>
          <a:xfrm>
            <a:off x="8895106" y="4557948"/>
            <a:ext cx="512827" cy="12307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1450126" font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</a:rPr>
              <a:t>Indonesia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="" xmlns:a16="http://schemas.microsoft.com/office/drawing/2014/main" id="{7DA32501-14D6-46DB-AD39-727A88BBE7E9}"/>
              </a:ext>
            </a:extLst>
          </p:cNvPr>
          <p:cNvGrpSpPr/>
          <p:nvPr/>
        </p:nvGrpSpPr>
        <p:grpSpPr>
          <a:xfrm>
            <a:off x="10798243" y="1764302"/>
            <a:ext cx="841451" cy="1027775"/>
            <a:chOff x="10957724" y="1521636"/>
            <a:chExt cx="841670" cy="1028043"/>
          </a:xfrm>
        </p:grpSpPr>
        <p:sp>
          <p:nvSpPr>
            <p:cNvPr id="412" name="Rectangle 308">
              <a:extLst>
                <a:ext uri="{FF2B5EF4-FFF2-40B4-BE49-F238E27FC236}">
                  <a16:creationId xmlns="" xmlns:a16="http://schemas.microsoft.com/office/drawing/2014/main" id="{96663816-BCA1-4637-9AB0-71C7DA27A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22079" y="1521636"/>
              <a:ext cx="512961" cy="24628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21895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Weifang, Shandong</a:t>
              </a:r>
              <a:endParaRPr lang="en-US" altLang="zh-CN" sz="8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520" name="Picture 3">
              <a:hlinkClick r:id="rId21" action="ppaction://hlinksldjump"/>
              <a:extLst>
                <a:ext uri="{FF2B5EF4-FFF2-40B4-BE49-F238E27FC236}">
                  <a16:creationId xmlns="" xmlns:a16="http://schemas.microsoft.com/office/drawing/2014/main" id="{C79EC97D-57D8-4BF7-A43E-E7F95B1F7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print"/>
            <a:srcRect l="12646" r="5813"/>
            <a:stretch/>
          </p:blipFill>
          <p:spPr bwMode="auto">
            <a:xfrm>
              <a:off x="10957724" y="1751747"/>
              <a:ext cx="841670" cy="797932"/>
            </a:xfrm>
            <a:prstGeom prst="ellipse">
              <a:avLst/>
            </a:prstGeom>
            <a:noFill/>
            <a:ln>
              <a:noFill/>
            </a:ln>
          </p:spPr>
        </p:pic>
      </p:grpSp>
      <p:pic>
        <p:nvPicPr>
          <p:cNvPr id="521" name="Picture 6" descr="http://www.2b1stconsulting.com/wp-content/uploads/2012/08/Saudi_Aramco-Yanbu_Refinery.gif">
            <a:hlinkClick r:id="rId23" action="ppaction://hlinksldjump"/>
            <a:extLst>
              <a:ext uri="{FF2B5EF4-FFF2-40B4-BE49-F238E27FC236}">
                <a16:creationId xmlns="" xmlns:a16="http://schemas.microsoft.com/office/drawing/2014/main" id="{110EF615-C5E1-4D02-84B0-562D4E35D072}"/>
              </a:ext>
            </a:extLst>
          </p:cNvPr>
          <p:cNvPicPr>
            <a:picLocks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706964" y="4042597"/>
            <a:ext cx="841450" cy="797724"/>
          </a:xfrm>
          <a:prstGeom prst="ellipse">
            <a:avLst/>
          </a:prstGeom>
          <a:noFill/>
          <a:ln w="12700">
            <a:noFill/>
          </a:ln>
        </p:spPr>
      </p:pic>
      <p:grpSp>
        <p:nvGrpSpPr>
          <p:cNvPr id="11" name="组合 10">
            <a:extLst>
              <a:ext uri="{FF2B5EF4-FFF2-40B4-BE49-F238E27FC236}">
                <a16:creationId xmlns="" xmlns:a16="http://schemas.microsoft.com/office/drawing/2014/main" id="{AA189C5D-98FF-4965-A6E9-9157FD736639}"/>
              </a:ext>
            </a:extLst>
          </p:cNvPr>
          <p:cNvGrpSpPr/>
          <p:nvPr/>
        </p:nvGrpSpPr>
        <p:grpSpPr>
          <a:xfrm>
            <a:off x="10381503" y="3186886"/>
            <a:ext cx="836447" cy="1104997"/>
            <a:chOff x="10192007" y="2649417"/>
            <a:chExt cx="836665" cy="1105283"/>
          </a:xfrm>
        </p:grpSpPr>
        <p:sp>
          <p:nvSpPr>
            <p:cNvPr id="415" name="Rectangle 308">
              <a:extLst>
                <a:ext uri="{FF2B5EF4-FFF2-40B4-BE49-F238E27FC236}">
                  <a16:creationId xmlns="" xmlns:a16="http://schemas.microsoft.com/office/drawing/2014/main" id="{8B0B1AD6-1170-45F6-99C9-AF90F7923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3859" y="2649417"/>
              <a:ext cx="512961" cy="24628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218956" fontAlgn="ctr"/>
              <a:r>
                <a:rPr lang="en-US" sz="8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Dunhuang, Gansu</a:t>
              </a:r>
              <a:endParaRPr lang="en-US" altLang="zh-CN" sz="8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522" name="Picture 3">
              <a:hlinkClick r:id="rId25" action="ppaction://hlinksldjump"/>
              <a:extLst>
                <a:ext uri="{FF2B5EF4-FFF2-40B4-BE49-F238E27FC236}">
                  <a16:creationId xmlns="" xmlns:a16="http://schemas.microsoft.com/office/drawing/2014/main" id="{BE19D312-D5B2-4D36-A072-A9423EA956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62" t="1360" r="7522" b="10983"/>
            <a:stretch/>
          </p:blipFill>
          <p:spPr bwMode="auto">
            <a:xfrm>
              <a:off x="10192007" y="2909150"/>
              <a:ext cx="836665" cy="845550"/>
            </a:xfrm>
            <a:prstGeom prst="ellipse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6350">
              <a:noFill/>
              <a:miter lim="800000"/>
              <a:headEnd/>
              <a:tailEnd/>
            </a:ln>
            <a:effectLst/>
          </p:spPr>
        </p:pic>
      </p:grpSp>
      <p:sp>
        <p:nvSpPr>
          <p:cNvPr id="381" name="TextBox 2">
            <a:extLst>
              <a:ext uri="{FF2B5EF4-FFF2-40B4-BE49-F238E27FC236}">
                <a16:creationId xmlns="" xmlns:a16="http://schemas.microsoft.com/office/drawing/2014/main" id="{5C2AA109-7BA1-49BB-9C91-745F02AC5F6C}"/>
              </a:ext>
            </a:extLst>
          </p:cNvPr>
          <p:cNvSpPr txBox="1"/>
          <p:nvPr/>
        </p:nvSpPr>
        <p:spPr>
          <a:xfrm>
            <a:off x="530156" y="590475"/>
            <a:ext cx="10687794" cy="430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25" fontAlgn="ctr">
              <a:spcBef>
                <a:spcPct val="0"/>
              </a:spcBef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uawei Actively Contributes to Global Smart City Construction and Sets Footprint in 120+ Cities in 40+ Countries.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81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8000"/>
    </mc:Choice>
    <mc:Fallback xmlns="">
      <p:transition advClick="0" advTm="800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1732BB3-4AF8-42E3-B725-7AD8B53978C4}"/>
              </a:ext>
            </a:extLst>
          </p:cNvPr>
          <p:cNvSpPr txBox="1"/>
          <p:nvPr/>
        </p:nvSpPr>
        <p:spPr>
          <a:xfrm>
            <a:off x="530157" y="590475"/>
            <a:ext cx="10253957" cy="430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25" fontAlgn="ctr">
              <a:spcBef>
                <a:spcPct val="0"/>
              </a:spcBef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uawei Has Helped Seven Cities Win International Smart City Awards in Recent Two Years.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="" xmlns:a16="http://schemas.microsoft.com/office/drawing/2014/main" id="{9D982BAE-6C6B-4FAC-B72C-45A2C7461021}"/>
              </a:ext>
            </a:extLst>
          </p:cNvPr>
          <p:cNvSpPr txBox="1"/>
          <p:nvPr/>
        </p:nvSpPr>
        <p:spPr>
          <a:xfrm>
            <a:off x="4735804" y="1287720"/>
            <a:ext cx="7110119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City Expo World Congress</a:t>
            </a:r>
            <a:endParaRPr lang="en-US" altLang="zh-CN" sz="160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2016 and 2017</a:t>
            </a:r>
          </a:p>
          <a:p>
            <a:pPr algn="r" defTabSz="1219078" fontAlgn="ctr"/>
            <a:r>
              <a:rPr lang="en-US" sz="1600" dirty="0" smtClean="0">
                <a:solidFill>
                  <a:srgbClr val="FFC000"/>
                </a:solidFill>
                <a:latin typeface="Arial" panose="020B0604020202020204" pitchFamily="34" charset="0"/>
              </a:rPr>
              <a:t>Yanbu, Shenzhen, Weifang, Dunhuang, Cameroon, First </a:t>
            </a:r>
            <a:r>
              <a:rPr lang="en-US" sz="1600" dirty="0" smtClean="0">
                <a:solidFill>
                  <a:srgbClr val="FFC000"/>
                </a:solidFill>
                <a:latin typeface="Arial" panose="020B0604020202020204" pitchFamily="34" charset="0"/>
              </a:rPr>
              <a:t>Affiliated Hospital of Zhengzhou </a:t>
            </a:r>
            <a:r>
              <a:rPr lang="en-US" sz="1600" dirty="0" smtClean="0">
                <a:solidFill>
                  <a:srgbClr val="FFC000"/>
                </a:solidFill>
                <a:latin typeface="Arial" panose="020B0604020202020204" pitchFamily="34" charset="0"/>
              </a:rPr>
              <a:t>University, and </a:t>
            </a:r>
            <a:r>
              <a:rPr lang="en-US" sz="1600" dirty="0" smtClean="0">
                <a:solidFill>
                  <a:srgbClr val="FFC000"/>
                </a:solidFill>
                <a:latin typeface="Arial" panose="020B0604020202020204" pitchFamily="34" charset="0"/>
              </a:rPr>
              <a:t>Kenya</a:t>
            </a:r>
            <a:endParaRPr lang="en-US" sz="16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2" name="组合 19">
            <a:extLst>
              <a:ext uri="{FF2B5EF4-FFF2-40B4-BE49-F238E27FC236}">
                <a16:creationId xmlns="" xmlns:a16="http://schemas.microsoft.com/office/drawing/2014/main" id="{A8D9B5A2-F6E0-4ED1-9137-418AD5E21C9E}"/>
              </a:ext>
            </a:extLst>
          </p:cNvPr>
          <p:cNvGrpSpPr/>
          <p:nvPr/>
        </p:nvGrpSpPr>
        <p:grpSpPr>
          <a:xfrm>
            <a:off x="650550" y="1770113"/>
            <a:ext cx="10989144" cy="4412996"/>
            <a:chOff x="-462862" y="1719988"/>
            <a:chExt cx="7873584" cy="3161857"/>
          </a:xfrm>
        </p:grpSpPr>
        <p:pic>
          <p:nvPicPr>
            <p:cNvPr id="19" name="图片 4" descr="肯尼亚客户获奖演说">
              <a:extLst>
                <a:ext uri="{FF2B5EF4-FFF2-40B4-BE49-F238E27FC236}">
                  <a16:creationId xmlns="" xmlns:a16="http://schemas.microsoft.com/office/drawing/2014/main" id="{D98403DB-363B-4AC1-B729-834935CA3A4F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462862" y="1719988"/>
              <a:ext cx="2927033" cy="2697358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7" name="图片 6">
              <a:extLst>
                <a:ext uri="{FF2B5EF4-FFF2-40B4-BE49-F238E27FC236}">
                  <a16:creationId xmlns="" xmlns:a16="http://schemas.microsoft.com/office/drawing/2014/main" id="{2FAE1B74-456C-4AE4-BBB9-92EA498016D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3" cstate="print"/>
            <a:srcRect t="4075"/>
            <a:stretch/>
          </p:blipFill>
          <p:spPr>
            <a:xfrm>
              <a:off x="530293" y="2428545"/>
              <a:ext cx="2860438" cy="215864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2" name="图片 11">
              <a:extLst>
                <a:ext uri="{FF2B5EF4-FFF2-40B4-BE49-F238E27FC236}">
                  <a16:creationId xmlns="" xmlns:a16="http://schemas.microsoft.com/office/drawing/2014/main" id="{D4CE61AF-228B-4924-895B-B5206C11974A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print"/>
            <a:srcRect r="2671"/>
            <a:stretch/>
          </p:blipFill>
          <p:spPr>
            <a:xfrm>
              <a:off x="2464172" y="2926061"/>
              <a:ext cx="1557582" cy="1712921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4" name="图片 13">
              <a:extLst>
                <a:ext uri="{FF2B5EF4-FFF2-40B4-BE49-F238E27FC236}">
                  <a16:creationId xmlns="" xmlns:a16="http://schemas.microsoft.com/office/drawing/2014/main" id="{0A3D8646-A00D-4865-934A-AFBCCD498A45}"/>
                </a:ext>
              </a:extLst>
            </p:cNvPr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7660" y="3320847"/>
              <a:ext cx="1166697" cy="1412386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5" name="图片 14" descr="E:\1-事件营销\201611 智博会\3-新闻稿\三个奖项获奖新闻\酒泉敦煌.jpg">
              <a:extLst>
                <a:ext uri="{FF2B5EF4-FFF2-40B4-BE49-F238E27FC236}">
                  <a16:creationId xmlns="" xmlns:a16="http://schemas.microsoft.com/office/drawing/2014/main" id="{F7155EE2-F1CD-4E63-ACD8-4E5DA19A8784}"/>
                </a:ext>
              </a:extLst>
            </p:cNvPr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80921" y="3673033"/>
              <a:ext cx="1297803" cy="112569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6" name="图片 15" descr="E:\1-事件营销\201611 智博会\3-新闻稿\三个奖项获奖新闻\郑大一附院.jpg">
              <a:extLst>
                <a:ext uri="{FF2B5EF4-FFF2-40B4-BE49-F238E27FC236}">
                  <a16:creationId xmlns="" xmlns:a16="http://schemas.microsoft.com/office/drawing/2014/main" id="{A3D12285-AB14-4628-BE20-C84833B898AC}"/>
                </a:ext>
              </a:extLst>
            </p:cNvPr>
            <p:cNvPicPr/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623559" y="3912901"/>
              <a:ext cx="1082038" cy="968944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7" name="图片 16">
              <a:extLst>
                <a:ext uri="{FF2B5EF4-FFF2-40B4-BE49-F238E27FC236}">
                  <a16:creationId xmlns="" xmlns:a16="http://schemas.microsoft.com/office/drawing/2014/main" id="{95B80FF5-A665-4FC9-B280-A84F29B197A2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174449" y="4079068"/>
              <a:ext cx="1236273" cy="762517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</p:grpSp>
    </p:spTree>
    <p:extLst>
      <p:ext uri="{BB962C8B-B14F-4D97-AF65-F5344CB8AC3E}">
        <p14:creationId xmlns:p14="http://schemas.microsoft.com/office/powerpoint/2010/main" val="316142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E:\01 日常工作\04 展厅相关设计\2016年\CEBIT 2016\PPT优化项目\阎总PPT\20副本.jpg">
            <a:extLst>
              <a:ext uri="{FF2B5EF4-FFF2-40B4-BE49-F238E27FC236}">
                <a16:creationId xmlns="" xmlns:a16="http://schemas.microsoft.com/office/drawing/2014/main" id="{341C3DB7-5B77-4CEB-AE37-883BEF829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-3075"/>
            <a:ext cx="12192000" cy="686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标题 1">
            <a:extLst>
              <a:ext uri="{FF2B5EF4-FFF2-40B4-BE49-F238E27FC236}">
                <a16:creationId xmlns="" xmlns:a16="http://schemas.microsoft.com/office/drawing/2014/main" id="{6E794465-B22F-46A4-8FF2-E6BBFEF0F5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49316" y="2703608"/>
            <a:ext cx="8134786" cy="773852"/>
          </a:xfrm>
          <a:prstGeom prst="rect">
            <a:avLst/>
          </a:prstGeom>
        </p:spPr>
        <p:txBody>
          <a:bodyPr wrap="square" lIns="47992" tIns="47992" rIns="47992" bIns="47992">
            <a:no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225" fontAlgn="ctr">
              <a:spcBef>
                <a:spcPct val="0"/>
              </a:spcBef>
            </a:pPr>
            <a:r>
              <a:rPr lang="en-US" sz="4399" dirty="0" smtClean="0">
                <a:solidFill>
                  <a:prstClr val="white"/>
                </a:solidFill>
                <a:latin typeface="Arial" panose="020B0604020202020204" pitchFamily="34" charset="0"/>
              </a:rPr>
              <a:t>Huawei Smart City Solution</a:t>
            </a:r>
            <a:endParaRPr lang="en-US" altLang="zh-CN" sz="4399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36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E53823CB-BBFD-463F-ACFB-A4FC66CE39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9"/>
            <a:ext cx="12192000" cy="6857802"/>
          </a:xfrm>
          <a:prstGeom prst="rect">
            <a:avLst/>
          </a:prstGeom>
        </p:spPr>
      </p:pic>
      <p:pic>
        <p:nvPicPr>
          <p:cNvPr id="260" name="图片 259">
            <a:extLst>
              <a:ext uri="{FF2B5EF4-FFF2-40B4-BE49-F238E27FC236}">
                <a16:creationId xmlns="" xmlns:a16="http://schemas.microsoft.com/office/drawing/2014/main" id="{128612E2-E07B-4F0B-8687-0EE95575DB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4010" y="1338202"/>
            <a:ext cx="3073818" cy="2163435"/>
          </a:xfrm>
          <a:prstGeom prst="rect">
            <a:avLst/>
          </a:prstGeom>
        </p:spPr>
      </p:pic>
      <p:pic>
        <p:nvPicPr>
          <p:cNvPr id="267" name="图片 266">
            <a:extLst>
              <a:ext uri="{FF2B5EF4-FFF2-40B4-BE49-F238E27FC236}">
                <a16:creationId xmlns="" xmlns:a16="http://schemas.microsoft.com/office/drawing/2014/main" id="{7D792A8A-9F73-46EC-B25B-2349B60AC89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337" y="2686844"/>
            <a:ext cx="9152089" cy="2727773"/>
          </a:xfrm>
          <a:prstGeom prst="rect">
            <a:avLst/>
          </a:prstGeom>
        </p:spPr>
      </p:pic>
      <p:pic>
        <p:nvPicPr>
          <p:cNvPr id="304" name="图片 303">
            <a:extLst>
              <a:ext uri="{FF2B5EF4-FFF2-40B4-BE49-F238E27FC236}">
                <a16:creationId xmlns="" xmlns:a16="http://schemas.microsoft.com/office/drawing/2014/main" id="{27ABEFF7-7072-47E2-8E43-D5143E0423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613" y="3821003"/>
            <a:ext cx="11077640" cy="1595954"/>
          </a:xfrm>
          <a:prstGeom prst="rect">
            <a:avLst/>
          </a:prstGeom>
        </p:spPr>
      </p:pic>
      <p:grpSp>
        <p:nvGrpSpPr>
          <p:cNvPr id="12" name="组合 245">
            <a:extLst>
              <a:ext uri="{FF2B5EF4-FFF2-40B4-BE49-F238E27FC236}">
                <a16:creationId xmlns="" xmlns:a16="http://schemas.microsoft.com/office/drawing/2014/main" id="{4C76D554-43B9-43E3-A0F6-18C36C279D24}"/>
              </a:ext>
            </a:extLst>
          </p:cNvPr>
          <p:cNvGrpSpPr/>
          <p:nvPr/>
        </p:nvGrpSpPr>
        <p:grpSpPr>
          <a:xfrm>
            <a:off x="3383720" y="4753091"/>
            <a:ext cx="139589" cy="205120"/>
            <a:chOff x="15730537" y="3268663"/>
            <a:chExt cx="765173" cy="1123948"/>
          </a:xfrm>
          <a:solidFill>
            <a:schemeClr val="bg1">
              <a:alpha val="43000"/>
            </a:schemeClr>
          </a:solidFill>
        </p:grpSpPr>
        <p:sp>
          <p:nvSpPr>
            <p:cNvPr id="13" name="Freeform 57">
              <a:extLst>
                <a:ext uri="{FF2B5EF4-FFF2-40B4-BE49-F238E27FC236}">
                  <a16:creationId xmlns="" xmlns:a16="http://schemas.microsoft.com/office/drawing/2014/main" id="{CD653944-6C78-4A96-BCA2-9BF156560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Freeform 58">
              <a:extLst>
                <a:ext uri="{FF2B5EF4-FFF2-40B4-BE49-F238E27FC236}">
                  <a16:creationId xmlns="" xmlns:a16="http://schemas.microsoft.com/office/drawing/2014/main" id="{ECB73333-3B6B-45F1-A3E6-58CA83357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59">
              <a:extLst>
                <a:ext uri="{FF2B5EF4-FFF2-40B4-BE49-F238E27FC236}">
                  <a16:creationId xmlns="" xmlns:a16="http://schemas.microsoft.com/office/drawing/2014/main" id="{96BD86A7-93D3-4E40-97AA-50D7FED82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Freeform 60">
              <a:extLst>
                <a:ext uri="{FF2B5EF4-FFF2-40B4-BE49-F238E27FC236}">
                  <a16:creationId xmlns="" xmlns:a16="http://schemas.microsoft.com/office/drawing/2014/main" id="{B651F956-BD33-4DA1-A33D-B3473A5A8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Freeform 61">
              <a:extLst>
                <a:ext uri="{FF2B5EF4-FFF2-40B4-BE49-F238E27FC236}">
                  <a16:creationId xmlns="" xmlns:a16="http://schemas.microsoft.com/office/drawing/2014/main" id="{17B677C6-6604-4530-B430-A258161C48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30537" y="3460749"/>
              <a:ext cx="765173" cy="931862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1" name="TextBox 2">
            <a:extLst>
              <a:ext uri="{FF2B5EF4-FFF2-40B4-BE49-F238E27FC236}">
                <a16:creationId xmlns="" xmlns:a16="http://schemas.microsoft.com/office/drawing/2014/main" id="{1EB7A005-06EA-4DD4-97B2-BFC47289BAC4}"/>
              </a:ext>
            </a:extLst>
          </p:cNvPr>
          <p:cNvSpPr txBox="1"/>
          <p:nvPr/>
        </p:nvSpPr>
        <p:spPr>
          <a:xfrm>
            <a:off x="541281" y="145967"/>
            <a:ext cx="10844481" cy="1292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>
              <a:lnSpc>
                <a:spcPct val="150000"/>
              </a:lnSpc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eading New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CT, Build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 Smart City Nervous System</a:t>
            </a:r>
            <a:endParaRPr kumimoji="1" lang="en-US" altLang="zh-CN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294" name="图片 293">
            <a:extLst>
              <a:ext uri="{FF2B5EF4-FFF2-40B4-BE49-F238E27FC236}">
                <a16:creationId xmlns="" xmlns:a16="http://schemas.microsoft.com/office/drawing/2014/main" id="{0DA01274-67D6-4B70-9A1A-1918D6D572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007" y="5121027"/>
            <a:ext cx="11814619" cy="1124426"/>
          </a:xfrm>
          <a:prstGeom prst="rect">
            <a:avLst/>
          </a:prstGeom>
        </p:spPr>
      </p:pic>
      <p:pic>
        <p:nvPicPr>
          <p:cNvPr id="298" name="图片 297">
            <a:extLst>
              <a:ext uri="{FF2B5EF4-FFF2-40B4-BE49-F238E27FC236}">
                <a16:creationId xmlns="" xmlns:a16="http://schemas.microsoft.com/office/drawing/2014/main" id="{76CFE9D9-B6CA-4D4B-ACC4-0CF11F03008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157" y="4000010"/>
            <a:ext cx="7940194" cy="1458080"/>
          </a:xfrm>
          <a:prstGeom prst="rect">
            <a:avLst/>
          </a:prstGeom>
        </p:spPr>
      </p:pic>
      <p:pic>
        <p:nvPicPr>
          <p:cNvPr id="306" name="图片 305">
            <a:extLst>
              <a:ext uri="{FF2B5EF4-FFF2-40B4-BE49-F238E27FC236}">
                <a16:creationId xmlns="" xmlns:a16="http://schemas.microsoft.com/office/drawing/2014/main" id="{26D85E93-4B07-4FE1-9119-FD52F0F2686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63" y="5794885"/>
            <a:ext cx="5934306" cy="699110"/>
          </a:xfrm>
          <a:prstGeom prst="rect">
            <a:avLst/>
          </a:prstGeom>
        </p:spPr>
      </p:pic>
      <p:grpSp>
        <p:nvGrpSpPr>
          <p:cNvPr id="222" name="组合 221">
            <a:extLst>
              <a:ext uri="{FF2B5EF4-FFF2-40B4-BE49-F238E27FC236}">
                <a16:creationId xmlns="" xmlns:a16="http://schemas.microsoft.com/office/drawing/2014/main" id="{83629A78-42BE-4094-9216-C40E6C7E30B7}"/>
              </a:ext>
            </a:extLst>
          </p:cNvPr>
          <p:cNvGrpSpPr/>
          <p:nvPr/>
        </p:nvGrpSpPr>
        <p:grpSpPr>
          <a:xfrm>
            <a:off x="8027486" y="4916894"/>
            <a:ext cx="385663" cy="387249"/>
            <a:chOff x="8029576" y="4918075"/>
            <a:chExt cx="385763" cy="387350"/>
          </a:xfrm>
        </p:grpSpPr>
        <p:sp>
          <p:nvSpPr>
            <p:cNvPr id="224" name="Oval 7">
              <a:extLst>
                <a:ext uri="{FF2B5EF4-FFF2-40B4-BE49-F238E27FC236}">
                  <a16:creationId xmlns="" xmlns:a16="http://schemas.microsoft.com/office/drawing/2014/main" id="{19698ED0-4E45-4360-8E75-3BFD3DFC2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9576" y="4918075"/>
              <a:ext cx="385763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5" name="Freeform 23">
              <a:extLst>
                <a:ext uri="{FF2B5EF4-FFF2-40B4-BE49-F238E27FC236}">
                  <a16:creationId xmlns="" xmlns:a16="http://schemas.microsoft.com/office/drawing/2014/main" id="{3DC78C3D-555D-4031-95AB-52F89F58D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413" y="5005388"/>
              <a:ext cx="188913" cy="211138"/>
            </a:xfrm>
            <a:custGeom>
              <a:avLst/>
              <a:gdLst>
                <a:gd name="T0" fmla="*/ 43 w 119"/>
                <a:gd name="T1" fmla="*/ 13 h 133"/>
                <a:gd name="T2" fmla="*/ 53 w 119"/>
                <a:gd name="T3" fmla="*/ 9 h 133"/>
                <a:gd name="T4" fmla="*/ 62 w 119"/>
                <a:gd name="T5" fmla="*/ 8 h 133"/>
                <a:gd name="T6" fmla="*/ 74 w 119"/>
                <a:gd name="T7" fmla="*/ 11 h 133"/>
                <a:gd name="T8" fmla="*/ 79 w 119"/>
                <a:gd name="T9" fmla="*/ 15 h 133"/>
                <a:gd name="T10" fmla="*/ 85 w 119"/>
                <a:gd name="T11" fmla="*/ 11 h 133"/>
                <a:gd name="T12" fmla="*/ 77 w 119"/>
                <a:gd name="T13" fmla="*/ 4 h 133"/>
                <a:gd name="T14" fmla="*/ 62 w 119"/>
                <a:gd name="T15" fmla="*/ 0 h 133"/>
                <a:gd name="T16" fmla="*/ 49 w 119"/>
                <a:gd name="T17" fmla="*/ 2 h 133"/>
                <a:gd name="T18" fmla="*/ 39 w 119"/>
                <a:gd name="T19" fmla="*/ 9 h 133"/>
                <a:gd name="T20" fmla="*/ 70 w 119"/>
                <a:gd name="T21" fmla="*/ 15 h 133"/>
                <a:gd name="T22" fmla="*/ 62 w 119"/>
                <a:gd name="T23" fmla="*/ 11 h 133"/>
                <a:gd name="T24" fmla="*/ 55 w 119"/>
                <a:gd name="T25" fmla="*/ 13 h 133"/>
                <a:gd name="T26" fmla="*/ 47 w 119"/>
                <a:gd name="T27" fmla="*/ 17 h 133"/>
                <a:gd name="T28" fmla="*/ 49 w 119"/>
                <a:gd name="T29" fmla="*/ 23 h 133"/>
                <a:gd name="T30" fmla="*/ 55 w 119"/>
                <a:gd name="T31" fmla="*/ 21 h 133"/>
                <a:gd name="T32" fmla="*/ 62 w 119"/>
                <a:gd name="T33" fmla="*/ 19 h 133"/>
                <a:gd name="T34" fmla="*/ 68 w 119"/>
                <a:gd name="T35" fmla="*/ 23 h 133"/>
                <a:gd name="T36" fmla="*/ 74 w 119"/>
                <a:gd name="T37" fmla="*/ 19 h 133"/>
                <a:gd name="T38" fmla="*/ 119 w 119"/>
                <a:gd name="T39" fmla="*/ 34 h 133"/>
                <a:gd name="T40" fmla="*/ 115 w 119"/>
                <a:gd name="T41" fmla="*/ 30 h 133"/>
                <a:gd name="T42" fmla="*/ 1 w 119"/>
                <a:gd name="T43" fmla="*/ 32 h 133"/>
                <a:gd name="T44" fmla="*/ 0 w 119"/>
                <a:gd name="T45" fmla="*/ 112 h 133"/>
                <a:gd name="T46" fmla="*/ 1 w 119"/>
                <a:gd name="T47" fmla="*/ 116 h 133"/>
                <a:gd name="T48" fmla="*/ 62 w 119"/>
                <a:gd name="T49" fmla="*/ 114 h 133"/>
                <a:gd name="T50" fmla="*/ 62 w 119"/>
                <a:gd name="T51" fmla="*/ 107 h 133"/>
                <a:gd name="T52" fmla="*/ 11 w 119"/>
                <a:gd name="T53" fmla="*/ 105 h 133"/>
                <a:gd name="T54" fmla="*/ 13 w 119"/>
                <a:gd name="T55" fmla="*/ 42 h 133"/>
                <a:gd name="T56" fmla="*/ 102 w 119"/>
                <a:gd name="T57" fmla="*/ 44 h 133"/>
                <a:gd name="T58" fmla="*/ 108 w 119"/>
                <a:gd name="T59" fmla="*/ 103 h 133"/>
                <a:gd name="T60" fmla="*/ 110 w 119"/>
                <a:gd name="T61" fmla="*/ 109 h 133"/>
                <a:gd name="T62" fmla="*/ 117 w 119"/>
                <a:gd name="T63" fmla="*/ 116 h 133"/>
                <a:gd name="T64" fmla="*/ 119 w 119"/>
                <a:gd name="T65" fmla="*/ 112 h 133"/>
                <a:gd name="T66" fmla="*/ 115 w 119"/>
                <a:gd name="T67" fmla="*/ 78 h 133"/>
                <a:gd name="T68" fmla="*/ 110 w 119"/>
                <a:gd name="T69" fmla="*/ 78 h 133"/>
                <a:gd name="T70" fmla="*/ 108 w 119"/>
                <a:gd name="T71" fmla="*/ 72 h 133"/>
                <a:gd name="T72" fmla="*/ 115 w 119"/>
                <a:gd name="T73" fmla="*/ 70 h 133"/>
                <a:gd name="T74" fmla="*/ 104 w 119"/>
                <a:gd name="T75" fmla="*/ 107 h 133"/>
                <a:gd name="T76" fmla="*/ 89 w 119"/>
                <a:gd name="T77" fmla="*/ 101 h 133"/>
                <a:gd name="T78" fmla="*/ 87 w 119"/>
                <a:gd name="T79" fmla="*/ 84 h 133"/>
                <a:gd name="T80" fmla="*/ 85 w 119"/>
                <a:gd name="T81" fmla="*/ 82 h 133"/>
                <a:gd name="T82" fmla="*/ 79 w 119"/>
                <a:gd name="T83" fmla="*/ 84 h 133"/>
                <a:gd name="T84" fmla="*/ 77 w 119"/>
                <a:gd name="T85" fmla="*/ 86 h 133"/>
                <a:gd name="T86" fmla="*/ 77 w 119"/>
                <a:gd name="T87" fmla="*/ 111 h 133"/>
                <a:gd name="T88" fmla="*/ 76 w 119"/>
                <a:gd name="T89" fmla="*/ 111 h 133"/>
                <a:gd name="T90" fmla="*/ 76 w 119"/>
                <a:gd name="T91" fmla="*/ 105 h 133"/>
                <a:gd name="T92" fmla="*/ 70 w 119"/>
                <a:gd name="T93" fmla="*/ 107 h 133"/>
                <a:gd name="T94" fmla="*/ 72 w 119"/>
                <a:gd name="T95" fmla="*/ 116 h 133"/>
                <a:gd name="T96" fmla="*/ 81 w 119"/>
                <a:gd name="T97" fmla="*/ 131 h 133"/>
                <a:gd name="T98" fmla="*/ 96 w 119"/>
                <a:gd name="T99" fmla="*/ 133 h 133"/>
                <a:gd name="T100" fmla="*/ 98 w 119"/>
                <a:gd name="T101" fmla="*/ 130 h 133"/>
                <a:gd name="T102" fmla="*/ 104 w 119"/>
                <a:gd name="T103" fmla="*/ 124 h 133"/>
                <a:gd name="T104" fmla="*/ 104 w 119"/>
                <a:gd name="T105" fmla="*/ 107 h 133"/>
                <a:gd name="T106" fmla="*/ 72 w 119"/>
                <a:gd name="T107" fmla="*/ 80 h 133"/>
                <a:gd name="T108" fmla="*/ 72 w 119"/>
                <a:gd name="T109" fmla="*/ 84 h 133"/>
                <a:gd name="T110" fmla="*/ 55 w 119"/>
                <a:gd name="T111" fmla="*/ 70 h 133"/>
                <a:gd name="T112" fmla="*/ 55 w 119"/>
                <a:gd name="T113" fmla="*/ 51 h 133"/>
                <a:gd name="T114" fmla="*/ 45 w 119"/>
                <a:gd name="T115" fmla="*/ 70 h 133"/>
                <a:gd name="T116" fmla="*/ 45 w 119"/>
                <a:gd name="T117" fmla="*/ 51 h 133"/>
                <a:gd name="T118" fmla="*/ 20 w 119"/>
                <a:gd name="T119" fmla="*/ 51 h 133"/>
                <a:gd name="T120" fmla="*/ 20 w 119"/>
                <a:gd name="T121" fmla="*/ 70 h 133"/>
                <a:gd name="T122" fmla="*/ 19 w 119"/>
                <a:gd name="T123" fmla="*/ 9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9" h="133">
                  <a:moveTo>
                    <a:pt x="39" y="9"/>
                  </a:moveTo>
                  <a:lnTo>
                    <a:pt x="41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9" y="11"/>
                  </a:lnTo>
                  <a:lnTo>
                    <a:pt x="51" y="9"/>
                  </a:lnTo>
                  <a:lnTo>
                    <a:pt x="53" y="9"/>
                  </a:lnTo>
                  <a:lnTo>
                    <a:pt x="55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4" y="8"/>
                  </a:lnTo>
                  <a:lnTo>
                    <a:pt x="66" y="8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5" y="13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9"/>
                  </a:lnTo>
                  <a:lnTo>
                    <a:pt x="83" y="8"/>
                  </a:lnTo>
                  <a:lnTo>
                    <a:pt x="79" y="6"/>
                  </a:lnTo>
                  <a:lnTo>
                    <a:pt x="77" y="4"/>
                  </a:lnTo>
                  <a:lnTo>
                    <a:pt x="76" y="4"/>
                  </a:lnTo>
                  <a:lnTo>
                    <a:pt x="72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3" y="2"/>
                  </a:lnTo>
                  <a:lnTo>
                    <a:pt x="49" y="2"/>
                  </a:lnTo>
                  <a:lnTo>
                    <a:pt x="47" y="4"/>
                  </a:lnTo>
                  <a:lnTo>
                    <a:pt x="43" y="4"/>
                  </a:lnTo>
                  <a:lnTo>
                    <a:pt x="41" y="6"/>
                  </a:lnTo>
                  <a:lnTo>
                    <a:pt x="39" y="8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close/>
                  <a:moveTo>
                    <a:pt x="72" y="17"/>
                  </a:moveTo>
                  <a:lnTo>
                    <a:pt x="70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6" y="13"/>
                  </a:lnTo>
                  <a:lnTo>
                    <a:pt x="64" y="11"/>
                  </a:lnTo>
                  <a:lnTo>
                    <a:pt x="62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7" y="11"/>
                  </a:lnTo>
                  <a:lnTo>
                    <a:pt x="55" y="13"/>
                  </a:lnTo>
                  <a:lnTo>
                    <a:pt x="53" y="13"/>
                  </a:lnTo>
                  <a:lnTo>
                    <a:pt x="51" y="13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9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3" y="23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4" y="21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7"/>
                  </a:lnTo>
                  <a:lnTo>
                    <a:pt x="72" y="17"/>
                  </a:lnTo>
                  <a:close/>
                  <a:moveTo>
                    <a:pt x="119" y="34"/>
                  </a:moveTo>
                  <a:lnTo>
                    <a:pt x="119" y="34"/>
                  </a:lnTo>
                  <a:lnTo>
                    <a:pt x="119" y="32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5" y="30"/>
                  </a:lnTo>
                  <a:lnTo>
                    <a:pt x="3" y="30"/>
                  </a:lnTo>
                  <a:lnTo>
                    <a:pt x="3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3" y="118"/>
                  </a:lnTo>
                  <a:lnTo>
                    <a:pt x="3" y="118"/>
                  </a:lnTo>
                  <a:lnTo>
                    <a:pt x="5" y="118"/>
                  </a:lnTo>
                  <a:lnTo>
                    <a:pt x="64" y="118"/>
                  </a:lnTo>
                  <a:lnTo>
                    <a:pt x="62" y="114"/>
                  </a:lnTo>
                  <a:lnTo>
                    <a:pt x="62" y="112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09"/>
                  </a:lnTo>
                  <a:lnTo>
                    <a:pt x="62" y="107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98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2" y="101"/>
                  </a:lnTo>
                  <a:lnTo>
                    <a:pt x="104" y="103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8" y="103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10" y="118"/>
                  </a:lnTo>
                  <a:lnTo>
                    <a:pt x="115" y="118"/>
                  </a:lnTo>
                  <a:lnTo>
                    <a:pt x="115" y="118"/>
                  </a:lnTo>
                  <a:lnTo>
                    <a:pt x="117" y="118"/>
                  </a:lnTo>
                  <a:lnTo>
                    <a:pt x="117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2"/>
                  </a:lnTo>
                  <a:lnTo>
                    <a:pt x="119" y="36"/>
                  </a:lnTo>
                  <a:lnTo>
                    <a:pt x="119" y="34"/>
                  </a:lnTo>
                  <a:lnTo>
                    <a:pt x="119" y="34"/>
                  </a:lnTo>
                  <a:close/>
                  <a:moveTo>
                    <a:pt x="115" y="76"/>
                  </a:moveTo>
                  <a:lnTo>
                    <a:pt x="115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3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3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5" y="76"/>
                  </a:lnTo>
                  <a:close/>
                  <a:moveTo>
                    <a:pt x="104" y="107"/>
                  </a:moveTo>
                  <a:lnTo>
                    <a:pt x="104" y="107"/>
                  </a:lnTo>
                  <a:lnTo>
                    <a:pt x="102" y="105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107"/>
                  </a:lnTo>
                  <a:lnTo>
                    <a:pt x="77" y="111"/>
                  </a:lnTo>
                  <a:lnTo>
                    <a:pt x="77" y="111"/>
                  </a:lnTo>
                  <a:lnTo>
                    <a:pt x="77" y="111"/>
                  </a:lnTo>
                  <a:lnTo>
                    <a:pt x="77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6" y="107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0" y="109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2" y="116"/>
                  </a:lnTo>
                  <a:lnTo>
                    <a:pt x="76" y="124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1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96" y="133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4" y="126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16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close/>
                  <a:moveTo>
                    <a:pt x="72" y="84"/>
                  </a:moveTo>
                  <a:lnTo>
                    <a:pt x="72" y="82"/>
                  </a:lnTo>
                  <a:lnTo>
                    <a:pt x="72" y="80"/>
                  </a:lnTo>
                  <a:lnTo>
                    <a:pt x="74" y="78"/>
                  </a:lnTo>
                  <a:lnTo>
                    <a:pt x="19" y="78"/>
                  </a:lnTo>
                  <a:lnTo>
                    <a:pt x="19" y="86"/>
                  </a:lnTo>
                  <a:lnTo>
                    <a:pt x="70" y="86"/>
                  </a:lnTo>
                  <a:lnTo>
                    <a:pt x="72" y="84"/>
                  </a:lnTo>
                  <a:close/>
                  <a:moveTo>
                    <a:pt x="55" y="70"/>
                  </a:moveTo>
                  <a:lnTo>
                    <a:pt x="93" y="70"/>
                  </a:lnTo>
                  <a:lnTo>
                    <a:pt x="93" y="63"/>
                  </a:lnTo>
                  <a:lnTo>
                    <a:pt x="55" y="63"/>
                  </a:lnTo>
                  <a:lnTo>
                    <a:pt x="55" y="70"/>
                  </a:lnTo>
                  <a:close/>
                  <a:moveTo>
                    <a:pt x="55" y="51"/>
                  </a:moveTo>
                  <a:lnTo>
                    <a:pt x="55" y="59"/>
                  </a:lnTo>
                  <a:lnTo>
                    <a:pt x="77" y="59"/>
                  </a:lnTo>
                  <a:lnTo>
                    <a:pt x="77" y="51"/>
                  </a:lnTo>
                  <a:lnTo>
                    <a:pt x="55" y="51"/>
                  </a:lnTo>
                  <a:close/>
                  <a:moveTo>
                    <a:pt x="20" y="70"/>
                  </a:moveTo>
                  <a:lnTo>
                    <a:pt x="20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7" y="70"/>
                  </a:lnTo>
                  <a:lnTo>
                    <a:pt x="47" y="69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9" y="51"/>
                  </a:lnTo>
                  <a:lnTo>
                    <a:pt x="19" y="69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close/>
                  <a:moveTo>
                    <a:pt x="19" y="97"/>
                  </a:moveTo>
                  <a:lnTo>
                    <a:pt x="55" y="97"/>
                  </a:lnTo>
                  <a:lnTo>
                    <a:pt x="55" y="90"/>
                  </a:lnTo>
                  <a:lnTo>
                    <a:pt x="19" y="90"/>
                  </a:lnTo>
                  <a:lnTo>
                    <a:pt x="19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28" name="组合 227">
            <a:extLst>
              <a:ext uri="{FF2B5EF4-FFF2-40B4-BE49-F238E27FC236}">
                <a16:creationId xmlns="" xmlns:a16="http://schemas.microsoft.com/office/drawing/2014/main" id="{38A75B21-C5E9-43B1-A66A-B7BC87673AAF}"/>
              </a:ext>
            </a:extLst>
          </p:cNvPr>
          <p:cNvGrpSpPr/>
          <p:nvPr/>
        </p:nvGrpSpPr>
        <p:grpSpPr>
          <a:xfrm>
            <a:off x="9574895" y="5458091"/>
            <a:ext cx="388837" cy="387249"/>
            <a:chOff x="9577388" y="5459413"/>
            <a:chExt cx="388938" cy="387350"/>
          </a:xfrm>
        </p:grpSpPr>
        <p:sp>
          <p:nvSpPr>
            <p:cNvPr id="230" name="Oval 13">
              <a:extLst>
                <a:ext uri="{FF2B5EF4-FFF2-40B4-BE49-F238E27FC236}">
                  <a16:creationId xmlns="" xmlns:a16="http://schemas.microsoft.com/office/drawing/2014/main" id="{DE1A0EA7-E845-45BA-BE59-D51A5C4B17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388" y="5459413"/>
              <a:ext cx="388938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1" name="Freeform 30">
              <a:extLst>
                <a:ext uri="{FF2B5EF4-FFF2-40B4-BE49-F238E27FC236}">
                  <a16:creationId xmlns="" xmlns:a16="http://schemas.microsoft.com/office/drawing/2014/main" id="{CD8DD7AF-EBEA-44BD-8CFD-68753DBF0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4226" y="5543550"/>
              <a:ext cx="195263" cy="219075"/>
            </a:xfrm>
            <a:custGeom>
              <a:avLst/>
              <a:gdLst>
                <a:gd name="T0" fmla="*/ 122 w 123"/>
                <a:gd name="T1" fmla="*/ 17 h 138"/>
                <a:gd name="T2" fmla="*/ 116 w 123"/>
                <a:gd name="T3" fmla="*/ 8 h 138"/>
                <a:gd name="T4" fmla="*/ 108 w 123"/>
                <a:gd name="T5" fmla="*/ 2 h 138"/>
                <a:gd name="T6" fmla="*/ 99 w 123"/>
                <a:gd name="T7" fmla="*/ 0 h 138"/>
                <a:gd name="T8" fmla="*/ 97 w 123"/>
                <a:gd name="T9" fmla="*/ 2 h 138"/>
                <a:gd name="T10" fmla="*/ 97 w 123"/>
                <a:gd name="T11" fmla="*/ 8 h 138"/>
                <a:gd name="T12" fmla="*/ 105 w 123"/>
                <a:gd name="T13" fmla="*/ 10 h 138"/>
                <a:gd name="T14" fmla="*/ 112 w 123"/>
                <a:gd name="T15" fmla="*/ 14 h 138"/>
                <a:gd name="T16" fmla="*/ 116 w 123"/>
                <a:gd name="T17" fmla="*/ 19 h 138"/>
                <a:gd name="T18" fmla="*/ 118 w 123"/>
                <a:gd name="T19" fmla="*/ 27 h 138"/>
                <a:gd name="T20" fmla="*/ 118 w 123"/>
                <a:gd name="T21" fmla="*/ 31 h 138"/>
                <a:gd name="T22" fmla="*/ 123 w 123"/>
                <a:gd name="T23" fmla="*/ 31 h 138"/>
                <a:gd name="T24" fmla="*/ 123 w 123"/>
                <a:gd name="T25" fmla="*/ 25 h 138"/>
                <a:gd name="T26" fmla="*/ 110 w 123"/>
                <a:gd name="T27" fmla="*/ 19 h 138"/>
                <a:gd name="T28" fmla="*/ 106 w 123"/>
                <a:gd name="T29" fmla="*/ 16 h 138"/>
                <a:gd name="T30" fmla="*/ 103 w 123"/>
                <a:gd name="T31" fmla="*/ 14 h 138"/>
                <a:gd name="T32" fmla="*/ 97 w 123"/>
                <a:gd name="T33" fmla="*/ 12 h 138"/>
                <a:gd name="T34" fmla="*/ 97 w 123"/>
                <a:gd name="T35" fmla="*/ 17 h 138"/>
                <a:gd name="T36" fmla="*/ 99 w 123"/>
                <a:gd name="T37" fmla="*/ 17 h 138"/>
                <a:gd name="T38" fmla="*/ 105 w 123"/>
                <a:gd name="T39" fmla="*/ 21 h 138"/>
                <a:gd name="T40" fmla="*/ 106 w 123"/>
                <a:gd name="T41" fmla="*/ 27 h 138"/>
                <a:gd name="T42" fmla="*/ 106 w 123"/>
                <a:gd name="T43" fmla="*/ 27 h 138"/>
                <a:gd name="T44" fmla="*/ 112 w 123"/>
                <a:gd name="T45" fmla="*/ 27 h 138"/>
                <a:gd name="T46" fmla="*/ 112 w 123"/>
                <a:gd name="T47" fmla="*/ 23 h 138"/>
                <a:gd name="T48" fmla="*/ 99 w 123"/>
                <a:gd name="T49" fmla="*/ 27 h 138"/>
                <a:gd name="T50" fmla="*/ 95 w 123"/>
                <a:gd name="T51" fmla="*/ 23 h 138"/>
                <a:gd name="T52" fmla="*/ 55 w 123"/>
                <a:gd name="T53" fmla="*/ 25 h 138"/>
                <a:gd name="T54" fmla="*/ 51 w 123"/>
                <a:gd name="T55" fmla="*/ 27 h 138"/>
                <a:gd name="T56" fmla="*/ 51 w 123"/>
                <a:gd name="T57" fmla="*/ 31 h 138"/>
                <a:gd name="T58" fmla="*/ 36 w 123"/>
                <a:gd name="T59" fmla="*/ 40 h 138"/>
                <a:gd name="T60" fmla="*/ 19 w 123"/>
                <a:gd name="T61" fmla="*/ 46 h 138"/>
                <a:gd name="T62" fmla="*/ 12 w 123"/>
                <a:gd name="T63" fmla="*/ 65 h 138"/>
                <a:gd name="T64" fmla="*/ 19 w 123"/>
                <a:gd name="T65" fmla="*/ 82 h 138"/>
                <a:gd name="T66" fmla="*/ 36 w 123"/>
                <a:gd name="T67" fmla="*/ 90 h 138"/>
                <a:gd name="T68" fmla="*/ 51 w 123"/>
                <a:gd name="T69" fmla="*/ 94 h 138"/>
                <a:gd name="T70" fmla="*/ 4 w 123"/>
                <a:gd name="T71" fmla="*/ 99 h 138"/>
                <a:gd name="T72" fmla="*/ 0 w 123"/>
                <a:gd name="T73" fmla="*/ 109 h 138"/>
                <a:gd name="T74" fmla="*/ 70 w 123"/>
                <a:gd name="T75" fmla="*/ 107 h 138"/>
                <a:gd name="T76" fmla="*/ 101 w 123"/>
                <a:gd name="T77" fmla="*/ 105 h 138"/>
                <a:gd name="T78" fmla="*/ 78 w 123"/>
                <a:gd name="T79" fmla="*/ 99 h 138"/>
                <a:gd name="T80" fmla="*/ 76 w 123"/>
                <a:gd name="T81" fmla="*/ 101 h 138"/>
                <a:gd name="T82" fmla="*/ 74 w 123"/>
                <a:gd name="T83" fmla="*/ 99 h 138"/>
                <a:gd name="T84" fmla="*/ 74 w 123"/>
                <a:gd name="T85" fmla="*/ 98 h 138"/>
                <a:gd name="T86" fmla="*/ 78 w 123"/>
                <a:gd name="T87" fmla="*/ 98 h 138"/>
                <a:gd name="T88" fmla="*/ 91 w 123"/>
                <a:gd name="T89" fmla="*/ 92 h 138"/>
                <a:gd name="T90" fmla="*/ 61 w 123"/>
                <a:gd name="T91" fmla="*/ 92 h 138"/>
                <a:gd name="T92" fmla="*/ 59 w 123"/>
                <a:gd name="T93" fmla="*/ 90 h 138"/>
                <a:gd name="T94" fmla="*/ 63 w 123"/>
                <a:gd name="T95" fmla="*/ 65 h 138"/>
                <a:gd name="T96" fmla="*/ 59 w 123"/>
                <a:gd name="T97" fmla="*/ 35 h 138"/>
                <a:gd name="T98" fmla="*/ 61 w 123"/>
                <a:gd name="T99" fmla="*/ 33 h 138"/>
                <a:gd name="T100" fmla="*/ 91 w 123"/>
                <a:gd name="T101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3" h="138">
                  <a:moveTo>
                    <a:pt x="123" y="25"/>
                  </a:moveTo>
                  <a:lnTo>
                    <a:pt x="123" y="21"/>
                  </a:lnTo>
                  <a:lnTo>
                    <a:pt x="122" y="19"/>
                  </a:lnTo>
                  <a:lnTo>
                    <a:pt x="122" y="17"/>
                  </a:lnTo>
                  <a:lnTo>
                    <a:pt x="120" y="14"/>
                  </a:lnTo>
                  <a:lnTo>
                    <a:pt x="120" y="12"/>
                  </a:lnTo>
                  <a:lnTo>
                    <a:pt x="118" y="10"/>
                  </a:lnTo>
                  <a:lnTo>
                    <a:pt x="116" y="8"/>
                  </a:lnTo>
                  <a:lnTo>
                    <a:pt x="114" y="6"/>
                  </a:lnTo>
                  <a:lnTo>
                    <a:pt x="112" y="6"/>
                  </a:lnTo>
                  <a:lnTo>
                    <a:pt x="110" y="4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3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3" y="8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8" y="12"/>
                  </a:lnTo>
                  <a:lnTo>
                    <a:pt x="110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6"/>
                  </a:lnTo>
                  <a:lnTo>
                    <a:pt x="114" y="17"/>
                  </a:lnTo>
                  <a:lnTo>
                    <a:pt x="116" y="19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18" y="25"/>
                  </a:lnTo>
                  <a:lnTo>
                    <a:pt x="118" y="27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20" y="31"/>
                  </a:lnTo>
                  <a:lnTo>
                    <a:pt x="122" y="33"/>
                  </a:lnTo>
                  <a:lnTo>
                    <a:pt x="123" y="33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27"/>
                  </a:lnTo>
                  <a:lnTo>
                    <a:pt x="123" y="25"/>
                  </a:lnTo>
                  <a:close/>
                  <a:moveTo>
                    <a:pt x="112" y="23"/>
                  </a:moveTo>
                  <a:lnTo>
                    <a:pt x="112" y="21"/>
                  </a:lnTo>
                  <a:lnTo>
                    <a:pt x="110" y="19"/>
                  </a:lnTo>
                  <a:lnTo>
                    <a:pt x="110" y="19"/>
                  </a:lnTo>
                  <a:lnTo>
                    <a:pt x="110" y="17"/>
                  </a:lnTo>
                  <a:lnTo>
                    <a:pt x="108" y="17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3" y="14"/>
                  </a:lnTo>
                  <a:lnTo>
                    <a:pt x="101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7" y="12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101" y="19"/>
                  </a:lnTo>
                  <a:lnTo>
                    <a:pt x="103" y="19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6" y="23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10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3"/>
                  </a:lnTo>
                  <a:lnTo>
                    <a:pt x="112" y="23"/>
                  </a:lnTo>
                  <a:close/>
                  <a:moveTo>
                    <a:pt x="101" y="31"/>
                  </a:moveTo>
                  <a:lnTo>
                    <a:pt x="101" y="29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7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3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1" y="27"/>
                  </a:lnTo>
                  <a:lnTo>
                    <a:pt x="51" y="29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44"/>
                  </a:lnTo>
                  <a:lnTo>
                    <a:pt x="46" y="42"/>
                  </a:lnTo>
                  <a:lnTo>
                    <a:pt x="42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27" y="42"/>
                  </a:lnTo>
                  <a:lnTo>
                    <a:pt x="23" y="44"/>
                  </a:lnTo>
                  <a:lnTo>
                    <a:pt x="19" y="46"/>
                  </a:lnTo>
                  <a:lnTo>
                    <a:pt x="17" y="52"/>
                  </a:lnTo>
                  <a:lnTo>
                    <a:pt x="13" y="56"/>
                  </a:lnTo>
                  <a:lnTo>
                    <a:pt x="13" y="59"/>
                  </a:lnTo>
                  <a:lnTo>
                    <a:pt x="12" y="65"/>
                  </a:lnTo>
                  <a:lnTo>
                    <a:pt x="13" y="71"/>
                  </a:lnTo>
                  <a:lnTo>
                    <a:pt x="13" y="75"/>
                  </a:lnTo>
                  <a:lnTo>
                    <a:pt x="17" y="78"/>
                  </a:lnTo>
                  <a:lnTo>
                    <a:pt x="19" y="82"/>
                  </a:lnTo>
                  <a:lnTo>
                    <a:pt x="23" y="86"/>
                  </a:lnTo>
                  <a:lnTo>
                    <a:pt x="27" y="88"/>
                  </a:lnTo>
                  <a:lnTo>
                    <a:pt x="32" y="90"/>
                  </a:lnTo>
                  <a:lnTo>
                    <a:pt x="36" y="90"/>
                  </a:lnTo>
                  <a:lnTo>
                    <a:pt x="42" y="90"/>
                  </a:lnTo>
                  <a:lnTo>
                    <a:pt x="46" y="88"/>
                  </a:lnTo>
                  <a:lnTo>
                    <a:pt x="51" y="86"/>
                  </a:lnTo>
                  <a:lnTo>
                    <a:pt x="51" y="94"/>
                  </a:lnTo>
                  <a:lnTo>
                    <a:pt x="13" y="94"/>
                  </a:lnTo>
                  <a:lnTo>
                    <a:pt x="8" y="96"/>
                  </a:lnTo>
                  <a:lnTo>
                    <a:pt x="6" y="98"/>
                  </a:lnTo>
                  <a:lnTo>
                    <a:pt x="4" y="99"/>
                  </a:lnTo>
                  <a:lnTo>
                    <a:pt x="4" y="101"/>
                  </a:lnTo>
                  <a:lnTo>
                    <a:pt x="2" y="103"/>
                  </a:lnTo>
                  <a:lnTo>
                    <a:pt x="0" y="105"/>
                  </a:lnTo>
                  <a:lnTo>
                    <a:pt x="0" y="109"/>
                  </a:lnTo>
                  <a:lnTo>
                    <a:pt x="0" y="138"/>
                  </a:lnTo>
                  <a:lnTo>
                    <a:pt x="70" y="138"/>
                  </a:lnTo>
                  <a:lnTo>
                    <a:pt x="70" y="109"/>
                  </a:lnTo>
                  <a:lnTo>
                    <a:pt x="70" y="107"/>
                  </a:lnTo>
                  <a:lnTo>
                    <a:pt x="101" y="107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close/>
                  <a:moveTo>
                    <a:pt x="78" y="99"/>
                  </a:moveTo>
                  <a:lnTo>
                    <a:pt x="78" y="99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6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6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9"/>
                  </a:lnTo>
                  <a:close/>
                  <a:moveTo>
                    <a:pt x="91" y="90"/>
                  </a:moveTo>
                  <a:lnTo>
                    <a:pt x="91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0"/>
                  </a:lnTo>
                  <a:lnTo>
                    <a:pt x="59" y="77"/>
                  </a:lnTo>
                  <a:lnTo>
                    <a:pt x="61" y="75"/>
                  </a:lnTo>
                  <a:lnTo>
                    <a:pt x="61" y="71"/>
                  </a:lnTo>
                  <a:lnTo>
                    <a:pt x="63" y="65"/>
                  </a:lnTo>
                  <a:lnTo>
                    <a:pt x="61" y="59"/>
                  </a:lnTo>
                  <a:lnTo>
                    <a:pt x="61" y="56"/>
                  </a:lnTo>
                  <a:lnTo>
                    <a:pt x="59" y="54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34" name="组合 233">
            <a:extLst>
              <a:ext uri="{FF2B5EF4-FFF2-40B4-BE49-F238E27FC236}">
                <a16:creationId xmlns="" xmlns:a16="http://schemas.microsoft.com/office/drawing/2014/main" id="{40176C5C-B251-4439-A4BB-5F1EEA03F837}"/>
              </a:ext>
            </a:extLst>
          </p:cNvPr>
          <p:cNvGrpSpPr/>
          <p:nvPr/>
        </p:nvGrpSpPr>
        <p:grpSpPr>
          <a:xfrm>
            <a:off x="11385762" y="5761224"/>
            <a:ext cx="385663" cy="390423"/>
            <a:chOff x="11388726" y="5762625"/>
            <a:chExt cx="385763" cy="390525"/>
          </a:xfrm>
        </p:grpSpPr>
        <p:sp>
          <p:nvSpPr>
            <p:cNvPr id="236" name="Oval 31">
              <a:extLst>
                <a:ext uri="{FF2B5EF4-FFF2-40B4-BE49-F238E27FC236}">
                  <a16:creationId xmlns="" xmlns:a16="http://schemas.microsoft.com/office/drawing/2014/main" id="{19E3528D-9347-48A4-AC3F-8D6B1EB80E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88726" y="5762625"/>
              <a:ext cx="385763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7" name="Freeform 32">
              <a:extLst>
                <a:ext uri="{FF2B5EF4-FFF2-40B4-BE49-F238E27FC236}">
                  <a16:creationId xmlns="" xmlns:a16="http://schemas.microsoft.com/office/drawing/2014/main" id="{66F2D0E6-1408-4B38-A0E4-6F4EF37CA0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82388" y="5846763"/>
              <a:ext cx="195263" cy="217488"/>
            </a:xfrm>
            <a:custGeom>
              <a:avLst/>
              <a:gdLst>
                <a:gd name="T0" fmla="*/ 121 w 123"/>
                <a:gd name="T1" fmla="*/ 17 h 137"/>
                <a:gd name="T2" fmla="*/ 116 w 123"/>
                <a:gd name="T3" fmla="*/ 10 h 137"/>
                <a:gd name="T4" fmla="*/ 108 w 123"/>
                <a:gd name="T5" fmla="*/ 4 h 137"/>
                <a:gd name="T6" fmla="*/ 99 w 123"/>
                <a:gd name="T7" fmla="*/ 0 h 137"/>
                <a:gd name="T8" fmla="*/ 97 w 123"/>
                <a:gd name="T9" fmla="*/ 2 h 137"/>
                <a:gd name="T10" fmla="*/ 97 w 123"/>
                <a:gd name="T11" fmla="*/ 8 h 137"/>
                <a:gd name="T12" fmla="*/ 106 w 123"/>
                <a:gd name="T13" fmla="*/ 10 h 137"/>
                <a:gd name="T14" fmla="*/ 112 w 123"/>
                <a:gd name="T15" fmla="*/ 13 h 137"/>
                <a:gd name="T16" fmla="*/ 116 w 123"/>
                <a:gd name="T17" fmla="*/ 19 h 137"/>
                <a:gd name="T18" fmla="*/ 118 w 123"/>
                <a:gd name="T19" fmla="*/ 29 h 137"/>
                <a:gd name="T20" fmla="*/ 118 w 123"/>
                <a:gd name="T21" fmla="*/ 32 h 137"/>
                <a:gd name="T22" fmla="*/ 123 w 123"/>
                <a:gd name="T23" fmla="*/ 32 h 137"/>
                <a:gd name="T24" fmla="*/ 123 w 123"/>
                <a:gd name="T25" fmla="*/ 25 h 137"/>
                <a:gd name="T26" fmla="*/ 110 w 123"/>
                <a:gd name="T27" fmla="*/ 19 h 137"/>
                <a:gd name="T28" fmla="*/ 106 w 123"/>
                <a:gd name="T29" fmla="*/ 15 h 137"/>
                <a:gd name="T30" fmla="*/ 102 w 123"/>
                <a:gd name="T31" fmla="*/ 13 h 137"/>
                <a:gd name="T32" fmla="*/ 97 w 123"/>
                <a:gd name="T33" fmla="*/ 13 h 137"/>
                <a:gd name="T34" fmla="*/ 97 w 123"/>
                <a:gd name="T35" fmla="*/ 17 h 137"/>
                <a:gd name="T36" fmla="*/ 99 w 123"/>
                <a:gd name="T37" fmla="*/ 19 h 137"/>
                <a:gd name="T38" fmla="*/ 104 w 123"/>
                <a:gd name="T39" fmla="*/ 21 h 137"/>
                <a:gd name="T40" fmla="*/ 106 w 123"/>
                <a:gd name="T41" fmla="*/ 27 h 137"/>
                <a:gd name="T42" fmla="*/ 108 w 123"/>
                <a:gd name="T43" fmla="*/ 29 h 137"/>
                <a:gd name="T44" fmla="*/ 112 w 123"/>
                <a:gd name="T45" fmla="*/ 27 h 137"/>
                <a:gd name="T46" fmla="*/ 112 w 123"/>
                <a:gd name="T47" fmla="*/ 23 h 137"/>
                <a:gd name="T48" fmla="*/ 99 w 123"/>
                <a:gd name="T49" fmla="*/ 27 h 137"/>
                <a:gd name="T50" fmla="*/ 95 w 123"/>
                <a:gd name="T51" fmla="*/ 25 h 137"/>
                <a:gd name="T52" fmla="*/ 57 w 123"/>
                <a:gd name="T53" fmla="*/ 25 h 137"/>
                <a:gd name="T54" fmla="*/ 51 w 123"/>
                <a:gd name="T55" fmla="*/ 29 h 137"/>
                <a:gd name="T56" fmla="*/ 51 w 123"/>
                <a:gd name="T57" fmla="*/ 32 h 137"/>
                <a:gd name="T58" fmla="*/ 38 w 123"/>
                <a:gd name="T59" fmla="*/ 40 h 137"/>
                <a:gd name="T60" fmla="*/ 19 w 123"/>
                <a:gd name="T61" fmla="*/ 48 h 137"/>
                <a:gd name="T62" fmla="*/ 11 w 123"/>
                <a:gd name="T63" fmla="*/ 65 h 137"/>
                <a:gd name="T64" fmla="*/ 19 w 123"/>
                <a:gd name="T65" fmla="*/ 84 h 137"/>
                <a:gd name="T66" fmla="*/ 38 w 123"/>
                <a:gd name="T67" fmla="*/ 92 h 137"/>
                <a:gd name="T68" fmla="*/ 51 w 123"/>
                <a:gd name="T69" fmla="*/ 95 h 137"/>
                <a:gd name="T70" fmla="*/ 4 w 123"/>
                <a:gd name="T71" fmla="*/ 99 h 137"/>
                <a:gd name="T72" fmla="*/ 0 w 123"/>
                <a:gd name="T73" fmla="*/ 109 h 137"/>
                <a:gd name="T74" fmla="*/ 70 w 123"/>
                <a:gd name="T75" fmla="*/ 107 h 137"/>
                <a:gd name="T76" fmla="*/ 100 w 123"/>
                <a:gd name="T77" fmla="*/ 105 h 137"/>
                <a:gd name="T78" fmla="*/ 78 w 123"/>
                <a:gd name="T79" fmla="*/ 99 h 137"/>
                <a:gd name="T80" fmla="*/ 76 w 123"/>
                <a:gd name="T81" fmla="*/ 101 h 137"/>
                <a:gd name="T82" fmla="*/ 74 w 123"/>
                <a:gd name="T83" fmla="*/ 101 h 137"/>
                <a:gd name="T84" fmla="*/ 74 w 123"/>
                <a:gd name="T85" fmla="*/ 97 h 137"/>
                <a:gd name="T86" fmla="*/ 78 w 123"/>
                <a:gd name="T87" fmla="*/ 97 h 137"/>
                <a:gd name="T88" fmla="*/ 91 w 123"/>
                <a:gd name="T89" fmla="*/ 92 h 137"/>
                <a:gd name="T90" fmla="*/ 61 w 123"/>
                <a:gd name="T91" fmla="*/ 93 h 137"/>
                <a:gd name="T92" fmla="*/ 59 w 123"/>
                <a:gd name="T93" fmla="*/ 92 h 137"/>
                <a:gd name="T94" fmla="*/ 63 w 123"/>
                <a:gd name="T95" fmla="*/ 65 h 137"/>
                <a:gd name="T96" fmla="*/ 59 w 123"/>
                <a:gd name="T97" fmla="*/ 34 h 137"/>
                <a:gd name="T98" fmla="*/ 61 w 123"/>
                <a:gd name="T99" fmla="*/ 32 h 137"/>
                <a:gd name="T100" fmla="*/ 91 w 123"/>
                <a:gd name="T101" fmla="*/ 3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3" h="137">
                  <a:moveTo>
                    <a:pt x="123" y="25"/>
                  </a:moveTo>
                  <a:lnTo>
                    <a:pt x="123" y="23"/>
                  </a:lnTo>
                  <a:lnTo>
                    <a:pt x="123" y="19"/>
                  </a:lnTo>
                  <a:lnTo>
                    <a:pt x="121" y="17"/>
                  </a:lnTo>
                  <a:lnTo>
                    <a:pt x="119" y="15"/>
                  </a:lnTo>
                  <a:lnTo>
                    <a:pt x="119" y="11"/>
                  </a:lnTo>
                  <a:lnTo>
                    <a:pt x="118" y="10"/>
                  </a:lnTo>
                  <a:lnTo>
                    <a:pt x="116" y="10"/>
                  </a:lnTo>
                  <a:lnTo>
                    <a:pt x="114" y="8"/>
                  </a:lnTo>
                  <a:lnTo>
                    <a:pt x="112" y="6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106" y="2"/>
                  </a:lnTo>
                  <a:lnTo>
                    <a:pt x="102" y="2"/>
                  </a:lnTo>
                  <a:lnTo>
                    <a:pt x="100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8" y="11"/>
                  </a:lnTo>
                  <a:lnTo>
                    <a:pt x="110" y="11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6" y="19"/>
                  </a:lnTo>
                  <a:lnTo>
                    <a:pt x="116" y="21"/>
                  </a:lnTo>
                  <a:lnTo>
                    <a:pt x="118" y="25"/>
                  </a:lnTo>
                  <a:lnTo>
                    <a:pt x="118" y="27"/>
                  </a:lnTo>
                  <a:lnTo>
                    <a:pt x="118" y="29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2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3" y="29"/>
                  </a:lnTo>
                  <a:lnTo>
                    <a:pt x="123" y="25"/>
                  </a:lnTo>
                  <a:close/>
                  <a:moveTo>
                    <a:pt x="112" y="23"/>
                  </a:moveTo>
                  <a:lnTo>
                    <a:pt x="112" y="21"/>
                  </a:lnTo>
                  <a:lnTo>
                    <a:pt x="110" y="21"/>
                  </a:lnTo>
                  <a:lnTo>
                    <a:pt x="110" y="19"/>
                  </a:lnTo>
                  <a:lnTo>
                    <a:pt x="110" y="17"/>
                  </a:lnTo>
                  <a:lnTo>
                    <a:pt x="108" y="17"/>
                  </a:lnTo>
                  <a:lnTo>
                    <a:pt x="108" y="17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3"/>
                  </a:lnTo>
                  <a:lnTo>
                    <a:pt x="106" y="23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9"/>
                  </a:lnTo>
                  <a:lnTo>
                    <a:pt x="108" y="29"/>
                  </a:lnTo>
                  <a:lnTo>
                    <a:pt x="110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00" y="30"/>
                  </a:moveTo>
                  <a:lnTo>
                    <a:pt x="100" y="29"/>
                  </a:lnTo>
                  <a:lnTo>
                    <a:pt x="99" y="29"/>
                  </a:lnTo>
                  <a:lnTo>
                    <a:pt x="99" y="27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3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5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2"/>
                  </a:lnTo>
                  <a:lnTo>
                    <a:pt x="51" y="44"/>
                  </a:lnTo>
                  <a:lnTo>
                    <a:pt x="47" y="42"/>
                  </a:lnTo>
                  <a:lnTo>
                    <a:pt x="42" y="40"/>
                  </a:lnTo>
                  <a:lnTo>
                    <a:pt x="38" y="40"/>
                  </a:lnTo>
                  <a:lnTo>
                    <a:pt x="32" y="40"/>
                  </a:lnTo>
                  <a:lnTo>
                    <a:pt x="28" y="42"/>
                  </a:lnTo>
                  <a:lnTo>
                    <a:pt x="23" y="44"/>
                  </a:lnTo>
                  <a:lnTo>
                    <a:pt x="19" y="48"/>
                  </a:lnTo>
                  <a:lnTo>
                    <a:pt x="17" y="51"/>
                  </a:lnTo>
                  <a:lnTo>
                    <a:pt x="13" y="55"/>
                  </a:lnTo>
                  <a:lnTo>
                    <a:pt x="13" y="59"/>
                  </a:lnTo>
                  <a:lnTo>
                    <a:pt x="11" y="65"/>
                  </a:lnTo>
                  <a:lnTo>
                    <a:pt x="13" y="71"/>
                  </a:lnTo>
                  <a:lnTo>
                    <a:pt x="13" y="76"/>
                  </a:lnTo>
                  <a:lnTo>
                    <a:pt x="17" y="80"/>
                  </a:lnTo>
                  <a:lnTo>
                    <a:pt x="19" y="84"/>
                  </a:lnTo>
                  <a:lnTo>
                    <a:pt x="23" y="86"/>
                  </a:lnTo>
                  <a:lnTo>
                    <a:pt x="28" y="90"/>
                  </a:lnTo>
                  <a:lnTo>
                    <a:pt x="32" y="90"/>
                  </a:lnTo>
                  <a:lnTo>
                    <a:pt x="38" y="92"/>
                  </a:lnTo>
                  <a:lnTo>
                    <a:pt x="42" y="90"/>
                  </a:lnTo>
                  <a:lnTo>
                    <a:pt x="47" y="90"/>
                  </a:lnTo>
                  <a:lnTo>
                    <a:pt x="51" y="86"/>
                  </a:lnTo>
                  <a:lnTo>
                    <a:pt x="51" y="95"/>
                  </a:lnTo>
                  <a:lnTo>
                    <a:pt x="13" y="95"/>
                  </a:lnTo>
                  <a:lnTo>
                    <a:pt x="9" y="95"/>
                  </a:lnTo>
                  <a:lnTo>
                    <a:pt x="6" y="97"/>
                  </a:lnTo>
                  <a:lnTo>
                    <a:pt x="4" y="99"/>
                  </a:lnTo>
                  <a:lnTo>
                    <a:pt x="4" y="101"/>
                  </a:lnTo>
                  <a:lnTo>
                    <a:pt x="2" y="103"/>
                  </a:lnTo>
                  <a:lnTo>
                    <a:pt x="2" y="105"/>
                  </a:lnTo>
                  <a:lnTo>
                    <a:pt x="0" y="109"/>
                  </a:lnTo>
                  <a:lnTo>
                    <a:pt x="0" y="137"/>
                  </a:lnTo>
                  <a:lnTo>
                    <a:pt x="70" y="137"/>
                  </a:lnTo>
                  <a:lnTo>
                    <a:pt x="70" y="109"/>
                  </a:lnTo>
                  <a:lnTo>
                    <a:pt x="7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00" y="32"/>
                  </a:lnTo>
                  <a:lnTo>
                    <a:pt x="100" y="30"/>
                  </a:lnTo>
                  <a:lnTo>
                    <a:pt x="100" y="30"/>
                  </a:lnTo>
                  <a:close/>
                  <a:moveTo>
                    <a:pt x="78" y="99"/>
                  </a:moveTo>
                  <a:lnTo>
                    <a:pt x="78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6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6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9"/>
                  </a:lnTo>
                  <a:lnTo>
                    <a:pt x="78" y="99"/>
                  </a:lnTo>
                  <a:close/>
                  <a:moveTo>
                    <a:pt x="91" y="92"/>
                  </a:moveTo>
                  <a:lnTo>
                    <a:pt x="91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3"/>
                  </a:lnTo>
                  <a:lnTo>
                    <a:pt x="61" y="93"/>
                  </a:lnTo>
                  <a:lnTo>
                    <a:pt x="61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63" y="71"/>
                  </a:lnTo>
                  <a:lnTo>
                    <a:pt x="63" y="65"/>
                  </a:lnTo>
                  <a:lnTo>
                    <a:pt x="63" y="59"/>
                  </a:lnTo>
                  <a:lnTo>
                    <a:pt x="61" y="55"/>
                  </a:lnTo>
                  <a:lnTo>
                    <a:pt x="59" y="53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40" name="组合 239">
            <a:extLst>
              <a:ext uri="{FF2B5EF4-FFF2-40B4-BE49-F238E27FC236}">
                <a16:creationId xmlns="" xmlns:a16="http://schemas.microsoft.com/office/drawing/2014/main" id="{1D43B713-1E34-4803-83A4-2212087094E7}"/>
              </a:ext>
            </a:extLst>
          </p:cNvPr>
          <p:cNvGrpSpPr/>
          <p:nvPr/>
        </p:nvGrpSpPr>
        <p:grpSpPr>
          <a:xfrm>
            <a:off x="6770513" y="6054835"/>
            <a:ext cx="388837" cy="387249"/>
            <a:chOff x="6772276" y="6056313"/>
            <a:chExt cx="388938" cy="387350"/>
          </a:xfrm>
        </p:grpSpPr>
        <p:sp>
          <p:nvSpPr>
            <p:cNvPr id="242" name="Oval 11">
              <a:extLst>
                <a:ext uri="{FF2B5EF4-FFF2-40B4-BE49-F238E27FC236}">
                  <a16:creationId xmlns="" xmlns:a16="http://schemas.microsoft.com/office/drawing/2014/main" id="{DAFEEF75-D15C-4DDD-99F5-87121648D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2276" y="6056313"/>
              <a:ext cx="388938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3" name="Freeform 37">
              <a:extLst>
                <a:ext uri="{FF2B5EF4-FFF2-40B4-BE49-F238E27FC236}">
                  <a16:creationId xmlns="" xmlns:a16="http://schemas.microsoft.com/office/drawing/2014/main" id="{BD5E3AF6-A1CE-4FF5-8273-7A3F084572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1651" y="6094413"/>
              <a:ext cx="234950" cy="276225"/>
            </a:xfrm>
            <a:custGeom>
              <a:avLst/>
              <a:gdLst>
                <a:gd name="T0" fmla="*/ 9 w 78"/>
                <a:gd name="T1" fmla="*/ 52 h 91"/>
                <a:gd name="T2" fmla="*/ 55 w 78"/>
                <a:gd name="T3" fmla="*/ 23 h 91"/>
                <a:gd name="T4" fmla="*/ 3 w 78"/>
                <a:gd name="T5" fmla="*/ 29 h 91"/>
                <a:gd name="T6" fmla="*/ 22 w 78"/>
                <a:gd name="T7" fmla="*/ 89 h 91"/>
                <a:gd name="T8" fmla="*/ 75 w 78"/>
                <a:gd name="T9" fmla="*/ 88 h 91"/>
                <a:gd name="T10" fmla="*/ 5 w 78"/>
                <a:gd name="T11" fmla="*/ 82 h 91"/>
                <a:gd name="T12" fmla="*/ 28 w 78"/>
                <a:gd name="T13" fmla="*/ 86 h 91"/>
                <a:gd name="T14" fmla="*/ 55 w 78"/>
                <a:gd name="T15" fmla="*/ 82 h 91"/>
                <a:gd name="T16" fmla="*/ 19 w 78"/>
                <a:gd name="T17" fmla="*/ 50 h 91"/>
                <a:gd name="T18" fmla="*/ 9 w 78"/>
                <a:gd name="T19" fmla="*/ 50 h 91"/>
                <a:gd name="T20" fmla="*/ 9 w 78"/>
                <a:gd name="T21" fmla="*/ 40 h 91"/>
                <a:gd name="T22" fmla="*/ 9 w 78"/>
                <a:gd name="T23" fmla="*/ 69 h 91"/>
                <a:gd name="T24" fmla="*/ 18 w 78"/>
                <a:gd name="T25" fmla="*/ 77 h 91"/>
                <a:gd name="T26" fmla="*/ 12 w 78"/>
                <a:gd name="T27" fmla="*/ 75 h 91"/>
                <a:gd name="T28" fmla="*/ 14 w 78"/>
                <a:gd name="T29" fmla="*/ 70 h 91"/>
                <a:gd name="T30" fmla="*/ 59 w 78"/>
                <a:gd name="T31" fmla="*/ 44 h 91"/>
                <a:gd name="T32" fmla="*/ 57 w 78"/>
                <a:gd name="T33" fmla="*/ 42 h 91"/>
                <a:gd name="T34" fmla="*/ 69 w 78"/>
                <a:gd name="T35" fmla="*/ 52 h 91"/>
                <a:gd name="T36" fmla="*/ 69 w 78"/>
                <a:gd name="T37" fmla="*/ 50 h 91"/>
                <a:gd name="T38" fmla="*/ 59 w 78"/>
                <a:gd name="T39" fmla="*/ 50 h 91"/>
                <a:gd name="T40" fmla="*/ 59 w 78"/>
                <a:gd name="T41" fmla="*/ 77 h 91"/>
                <a:gd name="T42" fmla="*/ 68 w 78"/>
                <a:gd name="T43" fmla="*/ 69 h 91"/>
                <a:gd name="T44" fmla="*/ 61 w 78"/>
                <a:gd name="T45" fmla="*/ 73 h 91"/>
                <a:gd name="T46" fmla="*/ 66 w 78"/>
                <a:gd name="T47" fmla="*/ 71 h 91"/>
                <a:gd name="T48" fmla="*/ 46 w 78"/>
                <a:gd name="T49" fmla="*/ 36 h 91"/>
                <a:gd name="T50" fmla="*/ 44 w 78"/>
                <a:gd name="T51" fmla="*/ 69 h 91"/>
                <a:gd name="T52" fmla="*/ 34 w 78"/>
                <a:gd name="T53" fmla="*/ 79 h 91"/>
                <a:gd name="T54" fmla="*/ 41 w 78"/>
                <a:gd name="T55" fmla="*/ 77 h 91"/>
                <a:gd name="T56" fmla="*/ 35 w 78"/>
                <a:gd name="T57" fmla="*/ 74 h 91"/>
                <a:gd name="T58" fmla="*/ 42 w 78"/>
                <a:gd name="T59" fmla="*/ 71 h 91"/>
                <a:gd name="T60" fmla="*/ 46 w 78"/>
                <a:gd name="T61" fmla="*/ 44 h 91"/>
                <a:gd name="T62" fmla="*/ 33 w 78"/>
                <a:gd name="T63" fmla="*/ 53 h 91"/>
                <a:gd name="T64" fmla="*/ 31 w 78"/>
                <a:gd name="T65" fmla="*/ 51 h 91"/>
                <a:gd name="T66" fmla="*/ 29 w 78"/>
                <a:gd name="T67" fmla="*/ 8 h 91"/>
                <a:gd name="T68" fmla="*/ 32 w 78"/>
                <a:gd name="T69" fmla="*/ 5 h 91"/>
                <a:gd name="T70" fmla="*/ 38 w 78"/>
                <a:gd name="T71" fmla="*/ 4 h 91"/>
                <a:gd name="T72" fmla="*/ 44 w 78"/>
                <a:gd name="T73" fmla="*/ 5 h 91"/>
                <a:gd name="T74" fmla="*/ 48 w 78"/>
                <a:gd name="T75" fmla="*/ 8 h 91"/>
                <a:gd name="T76" fmla="*/ 51 w 78"/>
                <a:gd name="T77" fmla="*/ 7 h 91"/>
                <a:gd name="T78" fmla="*/ 48 w 78"/>
                <a:gd name="T79" fmla="*/ 4 h 91"/>
                <a:gd name="T80" fmla="*/ 41 w 78"/>
                <a:gd name="T81" fmla="*/ 1 h 91"/>
                <a:gd name="T82" fmla="*/ 34 w 78"/>
                <a:gd name="T83" fmla="*/ 1 h 91"/>
                <a:gd name="T84" fmla="*/ 27 w 78"/>
                <a:gd name="T85" fmla="*/ 5 h 91"/>
                <a:gd name="T86" fmla="*/ 44 w 78"/>
                <a:gd name="T87" fmla="*/ 9 h 91"/>
                <a:gd name="T88" fmla="*/ 40 w 78"/>
                <a:gd name="T89" fmla="*/ 7 h 91"/>
                <a:gd name="T90" fmla="*/ 36 w 78"/>
                <a:gd name="T91" fmla="*/ 7 h 91"/>
                <a:gd name="T92" fmla="*/ 32 w 78"/>
                <a:gd name="T93" fmla="*/ 8 h 91"/>
                <a:gd name="T94" fmla="*/ 31 w 78"/>
                <a:gd name="T95" fmla="*/ 10 h 91"/>
                <a:gd name="T96" fmla="*/ 34 w 78"/>
                <a:gd name="T97" fmla="*/ 12 h 91"/>
                <a:gd name="T98" fmla="*/ 38 w 78"/>
                <a:gd name="T99" fmla="*/ 11 h 91"/>
                <a:gd name="T100" fmla="*/ 42 w 78"/>
                <a:gd name="T101" fmla="*/ 13 h 91"/>
                <a:gd name="T102" fmla="*/ 45 w 78"/>
                <a:gd name="T103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91">
                  <a:moveTo>
                    <a:pt x="9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20" y="55"/>
                    <a:pt x="20" y="54"/>
                  </a:cubicBezTo>
                  <a:cubicBezTo>
                    <a:pt x="20" y="53"/>
                    <a:pt x="19" y="52"/>
                    <a:pt x="1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8" y="52"/>
                    <a:pt x="7" y="53"/>
                    <a:pt x="7" y="54"/>
                  </a:cubicBezTo>
                  <a:cubicBezTo>
                    <a:pt x="7" y="55"/>
                    <a:pt x="8" y="56"/>
                    <a:pt x="9" y="56"/>
                  </a:cubicBezTo>
                  <a:close/>
                  <a:moveTo>
                    <a:pt x="75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2"/>
                    <a:pt x="54" y="20"/>
                    <a:pt x="53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3" y="20"/>
                    <a:pt x="22" y="22"/>
                    <a:pt x="22" y="23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1" y="29"/>
                    <a:pt x="0" y="30"/>
                    <a:pt x="0" y="3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6"/>
                    <a:pt x="1" y="88"/>
                    <a:pt x="3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0"/>
                    <a:pt x="23" y="91"/>
                    <a:pt x="25" y="91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4" y="91"/>
                    <a:pt x="55" y="90"/>
                    <a:pt x="55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75" y="88"/>
                    <a:pt x="75" y="88"/>
                    <a:pt x="75" y="88"/>
                  </a:cubicBezTo>
                  <a:cubicBezTo>
                    <a:pt x="76" y="88"/>
                    <a:pt x="78" y="86"/>
                    <a:pt x="78" y="85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8" y="30"/>
                    <a:pt x="76" y="29"/>
                    <a:pt x="75" y="29"/>
                  </a:cubicBezTo>
                  <a:close/>
                  <a:moveTo>
                    <a:pt x="22" y="82"/>
                  </a:moveTo>
                  <a:cubicBezTo>
                    <a:pt x="5" y="82"/>
                    <a:pt x="5" y="82"/>
                    <a:pt x="5" y="82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2" y="34"/>
                    <a:pt x="22" y="34"/>
                    <a:pt x="22" y="34"/>
                  </a:cubicBezTo>
                  <a:lnTo>
                    <a:pt x="22" y="82"/>
                  </a:lnTo>
                  <a:close/>
                  <a:moveTo>
                    <a:pt x="50" y="86"/>
                  </a:moveTo>
                  <a:cubicBezTo>
                    <a:pt x="28" y="86"/>
                    <a:pt x="28" y="86"/>
                    <a:pt x="28" y="8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50" y="26"/>
                    <a:pt x="50" y="26"/>
                    <a:pt x="50" y="26"/>
                  </a:cubicBezTo>
                  <a:lnTo>
                    <a:pt x="50" y="86"/>
                  </a:lnTo>
                  <a:close/>
                  <a:moveTo>
                    <a:pt x="72" y="82"/>
                  </a:moveTo>
                  <a:cubicBezTo>
                    <a:pt x="55" y="82"/>
                    <a:pt x="55" y="82"/>
                    <a:pt x="55" y="8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72" y="34"/>
                    <a:pt x="72" y="34"/>
                    <a:pt x="72" y="34"/>
                  </a:cubicBezTo>
                  <a:lnTo>
                    <a:pt x="72" y="82"/>
                  </a:lnTo>
                  <a:close/>
                  <a:moveTo>
                    <a:pt x="9" y="50"/>
                  </a:moveTo>
                  <a:cubicBezTo>
                    <a:pt x="19" y="50"/>
                    <a:pt x="19" y="50"/>
                    <a:pt x="19" y="50"/>
                  </a:cubicBezTo>
                  <a:cubicBezTo>
                    <a:pt x="19" y="50"/>
                    <a:pt x="20" y="49"/>
                    <a:pt x="20" y="48"/>
                  </a:cubicBezTo>
                  <a:cubicBezTo>
                    <a:pt x="20" y="47"/>
                    <a:pt x="19" y="46"/>
                    <a:pt x="1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6"/>
                    <a:pt x="7" y="47"/>
                    <a:pt x="7" y="48"/>
                  </a:cubicBezTo>
                  <a:cubicBezTo>
                    <a:pt x="7" y="49"/>
                    <a:pt x="8" y="50"/>
                    <a:pt x="9" y="50"/>
                  </a:cubicBezTo>
                  <a:close/>
                  <a:moveTo>
                    <a:pt x="9" y="44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20" y="43"/>
                    <a:pt x="20" y="42"/>
                  </a:cubicBezTo>
                  <a:cubicBezTo>
                    <a:pt x="20" y="41"/>
                    <a:pt x="19" y="40"/>
                    <a:pt x="1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8" y="40"/>
                    <a:pt x="7" y="41"/>
                    <a:pt x="7" y="42"/>
                  </a:cubicBezTo>
                  <a:cubicBezTo>
                    <a:pt x="7" y="43"/>
                    <a:pt x="8" y="44"/>
                    <a:pt x="9" y="44"/>
                  </a:cubicBezTo>
                  <a:close/>
                  <a:moveTo>
                    <a:pt x="18" y="69"/>
                  </a:moveTo>
                  <a:cubicBezTo>
                    <a:pt x="17" y="67"/>
                    <a:pt x="15" y="67"/>
                    <a:pt x="14" y="67"/>
                  </a:cubicBezTo>
                  <a:cubicBezTo>
                    <a:pt x="12" y="67"/>
                    <a:pt x="11" y="67"/>
                    <a:pt x="9" y="69"/>
                  </a:cubicBezTo>
                  <a:cubicBezTo>
                    <a:pt x="8" y="70"/>
                    <a:pt x="8" y="71"/>
                    <a:pt x="8" y="73"/>
                  </a:cubicBezTo>
                  <a:cubicBezTo>
                    <a:pt x="8" y="74"/>
                    <a:pt x="8" y="76"/>
                    <a:pt x="9" y="77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11" y="78"/>
                    <a:pt x="12" y="79"/>
                    <a:pt x="14" y="79"/>
                  </a:cubicBezTo>
                  <a:cubicBezTo>
                    <a:pt x="15" y="79"/>
                    <a:pt x="17" y="78"/>
                    <a:pt x="18" y="77"/>
                  </a:cubicBezTo>
                  <a:cubicBezTo>
                    <a:pt x="19" y="76"/>
                    <a:pt x="20" y="75"/>
                    <a:pt x="20" y="73"/>
                  </a:cubicBezTo>
                  <a:cubicBezTo>
                    <a:pt x="20" y="71"/>
                    <a:pt x="19" y="70"/>
                    <a:pt x="18" y="69"/>
                  </a:cubicBezTo>
                  <a:close/>
                  <a:moveTo>
                    <a:pt x="16" y="75"/>
                  </a:moveTo>
                  <a:cubicBezTo>
                    <a:pt x="15" y="75"/>
                    <a:pt x="15" y="76"/>
                    <a:pt x="14" y="76"/>
                  </a:cubicBezTo>
                  <a:cubicBezTo>
                    <a:pt x="13" y="76"/>
                    <a:pt x="12" y="75"/>
                    <a:pt x="12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1" y="74"/>
                    <a:pt x="11" y="74"/>
                    <a:pt x="11" y="73"/>
                  </a:cubicBezTo>
                  <a:cubicBezTo>
                    <a:pt x="11" y="72"/>
                    <a:pt x="11" y="71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0"/>
                    <a:pt x="13" y="70"/>
                    <a:pt x="14" y="70"/>
                  </a:cubicBezTo>
                  <a:cubicBezTo>
                    <a:pt x="15" y="70"/>
                    <a:pt x="15" y="70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7" y="72"/>
                    <a:pt x="17" y="73"/>
                  </a:cubicBezTo>
                  <a:cubicBezTo>
                    <a:pt x="17" y="74"/>
                    <a:pt x="16" y="74"/>
                    <a:pt x="16" y="75"/>
                  </a:cubicBezTo>
                  <a:close/>
                  <a:moveTo>
                    <a:pt x="5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70" y="43"/>
                    <a:pt x="70" y="42"/>
                  </a:cubicBezTo>
                  <a:cubicBezTo>
                    <a:pt x="70" y="41"/>
                    <a:pt x="69" y="40"/>
                    <a:pt x="69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8" y="40"/>
                    <a:pt x="57" y="41"/>
                    <a:pt x="57" y="42"/>
                  </a:cubicBezTo>
                  <a:cubicBezTo>
                    <a:pt x="57" y="43"/>
                    <a:pt x="58" y="44"/>
                    <a:pt x="59" y="44"/>
                  </a:cubicBezTo>
                  <a:close/>
                  <a:moveTo>
                    <a:pt x="59" y="56"/>
                  </a:move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70" y="55"/>
                    <a:pt x="70" y="54"/>
                  </a:cubicBezTo>
                  <a:cubicBezTo>
                    <a:pt x="70" y="53"/>
                    <a:pt x="69" y="52"/>
                    <a:pt x="6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8" y="52"/>
                    <a:pt x="57" y="53"/>
                    <a:pt x="57" y="54"/>
                  </a:cubicBezTo>
                  <a:cubicBezTo>
                    <a:pt x="57" y="55"/>
                    <a:pt x="58" y="56"/>
                    <a:pt x="59" y="56"/>
                  </a:cubicBezTo>
                  <a:close/>
                  <a:moveTo>
                    <a:pt x="5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70" y="49"/>
                    <a:pt x="70" y="48"/>
                  </a:cubicBezTo>
                  <a:cubicBezTo>
                    <a:pt x="70" y="47"/>
                    <a:pt x="69" y="46"/>
                    <a:pt x="6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6"/>
                    <a:pt x="57" y="47"/>
                    <a:pt x="57" y="48"/>
                  </a:cubicBezTo>
                  <a:cubicBezTo>
                    <a:pt x="57" y="49"/>
                    <a:pt x="58" y="50"/>
                    <a:pt x="59" y="50"/>
                  </a:cubicBezTo>
                  <a:close/>
                  <a:moveTo>
                    <a:pt x="68" y="69"/>
                  </a:moveTo>
                  <a:cubicBezTo>
                    <a:pt x="67" y="67"/>
                    <a:pt x="65" y="67"/>
                    <a:pt x="64" y="67"/>
                  </a:cubicBezTo>
                  <a:cubicBezTo>
                    <a:pt x="62" y="67"/>
                    <a:pt x="60" y="67"/>
                    <a:pt x="59" y="69"/>
                  </a:cubicBezTo>
                  <a:cubicBezTo>
                    <a:pt x="58" y="70"/>
                    <a:pt x="58" y="71"/>
                    <a:pt x="58" y="73"/>
                  </a:cubicBezTo>
                  <a:cubicBezTo>
                    <a:pt x="58" y="74"/>
                    <a:pt x="58" y="76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8"/>
                    <a:pt x="62" y="79"/>
                    <a:pt x="64" y="79"/>
                  </a:cubicBezTo>
                  <a:cubicBezTo>
                    <a:pt x="65" y="79"/>
                    <a:pt x="67" y="78"/>
                    <a:pt x="68" y="77"/>
                  </a:cubicBezTo>
                  <a:cubicBezTo>
                    <a:pt x="69" y="76"/>
                    <a:pt x="70" y="75"/>
                    <a:pt x="70" y="73"/>
                  </a:cubicBezTo>
                  <a:cubicBezTo>
                    <a:pt x="70" y="71"/>
                    <a:pt x="69" y="70"/>
                    <a:pt x="68" y="69"/>
                  </a:cubicBezTo>
                  <a:close/>
                  <a:moveTo>
                    <a:pt x="66" y="75"/>
                  </a:moveTo>
                  <a:cubicBezTo>
                    <a:pt x="65" y="75"/>
                    <a:pt x="65" y="76"/>
                    <a:pt x="64" y="76"/>
                  </a:cubicBezTo>
                  <a:cubicBezTo>
                    <a:pt x="63" y="76"/>
                    <a:pt x="62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1" y="74"/>
                    <a:pt x="61" y="74"/>
                    <a:pt x="61" y="73"/>
                  </a:cubicBezTo>
                  <a:cubicBezTo>
                    <a:pt x="61" y="72"/>
                    <a:pt x="61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0"/>
                    <a:pt x="63" y="70"/>
                    <a:pt x="64" y="70"/>
                  </a:cubicBezTo>
                  <a:cubicBezTo>
                    <a:pt x="65" y="70"/>
                    <a:pt x="65" y="70"/>
                    <a:pt x="66" y="71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71"/>
                    <a:pt x="67" y="72"/>
                    <a:pt x="67" y="73"/>
                  </a:cubicBezTo>
                  <a:cubicBezTo>
                    <a:pt x="67" y="74"/>
                    <a:pt x="66" y="74"/>
                    <a:pt x="66" y="75"/>
                  </a:cubicBezTo>
                  <a:close/>
                  <a:moveTo>
                    <a:pt x="33" y="38"/>
                  </a:moveTo>
                  <a:cubicBezTo>
                    <a:pt x="45" y="38"/>
                    <a:pt x="45" y="38"/>
                    <a:pt x="45" y="38"/>
                  </a:cubicBezTo>
                  <a:cubicBezTo>
                    <a:pt x="46" y="38"/>
                    <a:pt x="46" y="37"/>
                    <a:pt x="46" y="36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5"/>
                    <a:pt x="31" y="36"/>
                  </a:cubicBezTo>
                  <a:cubicBezTo>
                    <a:pt x="31" y="37"/>
                    <a:pt x="32" y="38"/>
                    <a:pt x="33" y="38"/>
                  </a:cubicBezTo>
                  <a:close/>
                  <a:moveTo>
                    <a:pt x="44" y="69"/>
                  </a:moveTo>
                  <a:cubicBezTo>
                    <a:pt x="42" y="68"/>
                    <a:pt x="41" y="67"/>
                    <a:pt x="39" y="67"/>
                  </a:cubicBezTo>
                  <a:cubicBezTo>
                    <a:pt x="37" y="67"/>
                    <a:pt x="35" y="68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2" y="70"/>
                    <a:pt x="32" y="72"/>
                    <a:pt x="32" y="74"/>
                  </a:cubicBezTo>
                  <a:cubicBezTo>
                    <a:pt x="32" y="76"/>
                    <a:pt x="32" y="78"/>
                    <a:pt x="34" y="79"/>
                  </a:cubicBezTo>
                  <a:cubicBezTo>
                    <a:pt x="35" y="80"/>
                    <a:pt x="37" y="81"/>
                    <a:pt x="39" y="81"/>
                  </a:cubicBezTo>
                  <a:cubicBezTo>
                    <a:pt x="41" y="81"/>
                    <a:pt x="42" y="80"/>
                    <a:pt x="44" y="79"/>
                  </a:cubicBezTo>
                  <a:cubicBezTo>
                    <a:pt x="45" y="78"/>
                    <a:pt x="46" y="76"/>
                    <a:pt x="46" y="74"/>
                  </a:cubicBezTo>
                  <a:cubicBezTo>
                    <a:pt x="46" y="72"/>
                    <a:pt x="45" y="70"/>
                    <a:pt x="44" y="69"/>
                  </a:cubicBezTo>
                  <a:close/>
                  <a:moveTo>
                    <a:pt x="41" y="77"/>
                  </a:moveTo>
                  <a:cubicBezTo>
                    <a:pt x="41" y="77"/>
                    <a:pt x="40" y="78"/>
                    <a:pt x="39" y="78"/>
                  </a:cubicBezTo>
                  <a:cubicBezTo>
                    <a:pt x="38" y="78"/>
                    <a:pt x="37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6"/>
                    <a:pt x="35" y="75"/>
                    <a:pt x="35" y="74"/>
                  </a:cubicBezTo>
                  <a:cubicBezTo>
                    <a:pt x="35" y="73"/>
                    <a:pt x="35" y="72"/>
                    <a:pt x="36" y="71"/>
                  </a:cubicBezTo>
                  <a:cubicBezTo>
                    <a:pt x="36" y="71"/>
                    <a:pt x="36" y="71"/>
                    <a:pt x="36" y="71"/>
                  </a:cubicBezTo>
                  <a:cubicBezTo>
                    <a:pt x="37" y="71"/>
                    <a:pt x="38" y="70"/>
                    <a:pt x="39" y="70"/>
                  </a:cubicBezTo>
                  <a:cubicBezTo>
                    <a:pt x="40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2"/>
                    <a:pt x="43" y="73"/>
                    <a:pt x="43" y="74"/>
                  </a:cubicBezTo>
                  <a:cubicBezTo>
                    <a:pt x="43" y="75"/>
                    <a:pt x="42" y="76"/>
                    <a:pt x="41" y="77"/>
                  </a:cubicBezTo>
                  <a:close/>
                  <a:moveTo>
                    <a:pt x="33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6" y="45"/>
                    <a:pt x="46" y="44"/>
                    <a:pt x="46" y="44"/>
                  </a:cubicBezTo>
                  <a:cubicBezTo>
                    <a:pt x="46" y="43"/>
                    <a:pt x="46" y="42"/>
                    <a:pt x="45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2" y="42"/>
                    <a:pt x="31" y="43"/>
                    <a:pt x="31" y="44"/>
                  </a:cubicBezTo>
                  <a:cubicBezTo>
                    <a:pt x="31" y="44"/>
                    <a:pt x="32" y="45"/>
                    <a:pt x="33" y="45"/>
                  </a:cubicBezTo>
                  <a:close/>
                  <a:moveTo>
                    <a:pt x="33" y="53"/>
                  </a:moveTo>
                  <a:cubicBezTo>
                    <a:pt x="45" y="53"/>
                    <a:pt x="45" y="53"/>
                    <a:pt x="45" y="53"/>
                  </a:cubicBezTo>
                  <a:cubicBezTo>
                    <a:pt x="46" y="53"/>
                    <a:pt x="46" y="52"/>
                    <a:pt x="46" y="51"/>
                  </a:cubicBezTo>
                  <a:cubicBezTo>
                    <a:pt x="46" y="50"/>
                    <a:pt x="46" y="49"/>
                    <a:pt x="45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2" y="49"/>
                    <a:pt x="31" y="50"/>
                    <a:pt x="31" y="51"/>
                  </a:cubicBezTo>
                  <a:cubicBezTo>
                    <a:pt x="31" y="52"/>
                    <a:pt x="32" y="53"/>
                    <a:pt x="33" y="53"/>
                  </a:cubicBezTo>
                  <a:close/>
                  <a:moveTo>
                    <a:pt x="27" y="6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lnTo>
                    <a:pt x="27" y="6"/>
                  </a:lnTo>
                  <a:close/>
                  <a:moveTo>
                    <a:pt x="44" y="9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lnTo>
                    <a:pt x="44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46" name="组合 245">
            <a:extLst>
              <a:ext uri="{FF2B5EF4-FFF2-40B4-BE49-F238E27FC236}">
                <a16:creationId xmlns="" xmlns:a16="http://schemas.microsoft.com/office/drawing/2014/main" id="{8EC45B24-FF06-4F06-B803-5623D2F5DD01}"/>
              </a:ext>
            </a:extLst>
          </p:cNvPr>
          <p:cNvGrpSpPr/>
          <p:nvPr/>
        </p:nvGrpSpPr>
        <p:grpSpPr>
          <a:xfrm>
            <a:off x="8900384" y="4523297"/>
            <a:ext cx="641131" cy="390423"/>
            <a:chOff x="8902701" y="4524375"/>
            <a:chExt cx="641298" cy="390525"/>
          </a:xfrm>
        </p:grpSpPr>
        <p:grpSp>
          <p:nvGrpSpPr>
            <p:cNvPr id="247" name="组合 634">
              <a:extLst>
                <a:ext uri="{FF2B5EF4-FFF2-40B4-BE49-F238E27FC236}">
                  <a16:creationId xmlns="" xmlns:a16="http://schemas.microsoft.com/office/drawing/2014/main" id="{17FB51C4-BF98-4B0F-9B62-0FAAB72C7C0C}"/>
                </a:ext>
              </a:extLst>
            </p:cNvPr>
            <p:cNvGrpSpPr/>
            <p:nvPr/>
          </p:nvGrpSpPr>
          <p:grpSpPr>
            <a:xfrm>
              <a:off x="9446494" y="4620084"/>
              <a:ext cx="97505" cy="80710"/>
              <a:chOff x="14694364" y="-730546"/>
              <a:chExt cx="550607" cy="411372"/>
            </a:xfrm>
            <a:solidFill>
              <a:schemeClr val="bg1">
                <a:alpha val="43000"/>
              </a:schemeClr>
            </a:solidFill>
          </p:grpSpPr>
          <p:sp>
            <p:nvSpPr>
              <p:cNvPr id="312" name="Freeform 36">
                <a:extLst>
                  <a:ext uri="{FF2B5EF4-FFF2-40B4-BE49-F238E27FC236}">
                    <a16:creationId xmlns="" xmlns:a16="http://schemas.microsoft.com/office/drawing/2014/main" id="{C6128D6F-22AB-4779-A458-B9C43883B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4364" y="-578655"/>
                <a:ext cx="82274" cy="259481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8" y="8"/>
                  </a:cxn>
                  <a:cxn ang="0">
                    <a:pos x="4" y="18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2" y="50"/>
                  </a:cxn>
                  <a:cxn ang="0">
                    <a:pos x="4" y="60"/>
                  </a:cxn>
                  <a:cxn ang="0">
                    <a:pos x="10" y="72"/>
                  </a:cxn>
                  <a:cxn ang="0">
                    <a:pos x="18" y="80"/>
                  </a:cxn>
                  <a:cxn ang="0">
                    <a:pos x="18" y="80"/>
                  </a:cxn>
                  <a:cxn ang="0">
                    <a:pos x="22" y="82"/>
                  </a:cxn>
                  <a:cxn ang="0">
                    <a:pos x="24" y="80"/>
                  </a:cxn>
                  <a:cxn ang="0">
                    <a:pos x="24" y="80"/>
                  </a:cxn>
                  <a:cxn ang="0">
                    <a:pos x="26" y="78"/>
                  </a:cxn>
                  <a:cxn ang="0">
                    <a:pos x="24" y="74"/>
                  </a:cxn>
                  <a:cxn ang="0">
                    <a:pos x="24" y="74"/>
                  </a:cxn>
                  <a:cxn ang="0">
                    <a:pos x="18" y="66"/>
                  </a:cxn>
                  <a:cxn ang="0">
                    <a:pos x="12" y="58"/>
                  </a:cxn>
                  <a:cxn ang="0">
                    <a:pos x="10" y="48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0" y="30"/>
                  </a:cxn>
                  <a:cxn ang="0">
                    <a:pos x="12" y="22"/>
                  </a:cxn>
                  <a:cxn ang="0">
                    <a:pos x="16" y="14"/>
                  </a:cxn>
                  <a:cxn ang="0">
                    <a:pos x="22" y="6"/>
                  </a:cxn>
                  <a:cxn ang="0">
                    <a:pos x="22" y="6"/>
                  </a:cxn>
                  <a:cxn ang="0">
                    <a:pos x="22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  <a:cxn ang="0">
                    <a:pos x="16" y="0"/>
                  </a:cxn>
                  <a:cxn ang="0">
                    <a:pos x="16" y="0"/>
                  </a:cxn>
                </a:cxnLst>
                <a:rect l="0" t="0" r="r" b="b"/>
                <a:pathLst>
                  <a:path w="26" h="82">
                    <a:moveTo>
                      <a:pt x="16" y="0"/>
                    </a:moveTo>
                    <a:lnTo>
                      <a:pt x="16" y="0"/>
                    </a:lnTo>
                    <a:lnTo>
                      <a:pt x="8" y="8"/>
                    </a:lnTo>
                    <a:lnTo>
                      <a:pt x="4" y="18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50"/>
                    </a:lnTo>
                    <a:lnTo>
                      <a:pt x="4" y="60"/>
                    </a:lnTo>
                    <a:lnTo>
                      <a:pt x="10" y="72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22" y="82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6" y="78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18" y="66"/>
                    </a:lnTo>
                    <a:lnTo>
                      <a:pt x="12" y="58"/>
                    </a:lnTo>
                    <a:lnTo>
                      <a:pt x="10" y="4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0" y="30"/>
                    </a:lnTo>
                    <a:lnTo>
                      <a:pt x="12" y="22"/>
                    </a:lnTo>
                    <a:lnTo>
                      <a:pt x="16" y="1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9761" tIns="24881" rIns="49761" bIns="2488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75" fontAlgn="ctr">
                  <a:defRPr/>
                </a:pPr>
                <a:endParaRPr lang="en-US" altLang="zh-CN" sz="1686" kern="0" dirty="0">
                  <a:solidFill>
                    <a:sysClr val="windowText" lastClr="00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3" name="Freeform 37">
                <a:extLst>
                  <a:ext uri="{FF2B5EF4-FFF2-40B4-BE49-F238E27FC236}">
                    <a16:creationId xmlns="" xmlns:a16="http://schemas.microsoft.com/office/drawing/2014/main" id="{DD5CEFA1-D48B-4ECD-A8E4-11B16C126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6639" y="-559668"/>
                <a:ext cx="69617" cy="215179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2" y="2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0" y="42"/>
                  </a:cxn>
                  <a:cxn ang="0">
                    <a:pos x="4" y="50"/>
                  </a:cxn>
                  <a:cxn ang="0">
                    <a:pos x="8" y="60"/>
                  </a:cxn>
                  <a:cxn ang="0">
                    <a:pos x="14" y="68"/>
                  </a:cxn>
                  <a:cxn ang="0">
                    <a:pos x="14" y="68"/>
                  </a:cxn>
                  <a:cxn ang="0">
                    <a:pos x="18" y="68"/>
                  </a:cxn>
                  <a:cxn ang="0">
                    <a:pos x="20" y="68"/>
                  </a:cxn>
                  <a:cxn ang="0">
                    <a:pos x="20" y="68"/>
                  </a:cxn>
                  <a:cxn ang="0">
                    <a:pos x="22" y="64"/>
                  </a:cxn>
                  <a:cxn ang="0">
                    <a:pos x="20" y="62"/>
                  </a:cxn>
                  <a:cxn ang="0">
                    <a:pos x="20" y="62"/>
                  </a:cxn>
                  <a:cxn ang="0">
                    <a:pos x="14" y="54"/>
                  </a:cxn>
                  <a:cxn ang="0">
                    <a:pos x="12" y="48"/>
                  </a:cxn>
                  <a:cxn ang="0">
                    <a:pos x="8" y="4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8" y="26"/>
                  </a:cxn>
                  <a:cxn ang="0">
                    <a:pos x="10" y="20"/>
                  </a:cxn>
                  <a:cxn ang="0">
                    <a:pos x="14" y="14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</a:cxnLst>
                <a:rect l="0" t="0" r="r" b="b"/>
                <a:pathLst>
                  <a:path w="22" h="68">
                    <a:moveTo>
                      <a:pt x="12" y="2"/>
                    </a:moveTo>
                    <a:lnTo>
                      <a:pt x="12" y="2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42"/>
                    </a:lnTo>
                    <a:lnTo>
                      <a:pt x="4" y="50"/>
                    </a:lnTo>
                    <a:lnTo>
                      <a:pt x="8" y="60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4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14" y="54"/>
                    </a:lnTo>
                    <a:lnTo>
                      <a:pt x="12" y="48"/>
                    </a:lnTo>
                    <a:lnTo>
                      <a:pt x="8" y="4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6"/>
                    </a:lnTo>
                    <a:lnTo>
                      <a:pt x="10" y="20"/>
                    </a:lnTo>
                    <a:lnTo>
                      <a:pt x="14" y="1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9761" tIns="24881" rIns="49761" bIns="2488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75" fontAlgn="ctr">
                  <a:defRPr/>
                </a:pPr>
                <a:endParaRPr lang="en-US" altLang="zh-CN" sz="1686" kern="0" dirty="0">
                  <a:solidFill>
                    <a:sysClr val="windowText" lastClr="00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5" name="Freeform 39">
                <a:extLst>
                  <a:ext uri="{FF2B5EF4-FFF2-40B4-BE49-F238E27FC236}">
                    <a16:creationId xmlns="" xmlns:a16="http://schemas.microsoft.com/office/drawing/2014/main" id="{181CDEED-F90B-44CF-8DF6-9C66C525F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10805" y="-730546"/>
                <a:ext cx="234166" cy="221508"/>
              </a:xfrm>
              <a:custGeom>
                <a:avLst/>
                <a:gdLst/>
                <a:ahLst/>
                <a:cxnLst>
                  <a:cxn ang="0">
                    <a:pos x="74" y="66"/>
                  </a:cxn>
                  <a:cxn ang="0">
                    <a:pos x="74" y="66"/>
                  </a:cxn>
                  <a:cxn ang="0">
                    <a:pos x="72" y="52"/>
                  </a:cxn>
                  <a:cxn ang="0">
                    <a:pos x="68" y="42"/>
                  </a:cxn>
                  <a:cxn ang="0">
                    <a:pos x="62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44" y="12"/>
                  </a:cxn>
                  <a:cxn ang="0">
                    <a:pos x="32" y="6"/>
                  </a:cxn>
                  <a:cxn ang="0">
                    <a:pos x="18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16" y="10"/>
                  </a:cxn>
                  <a:cxn ang="0">
                    <a:pos x="28" y="14"/>
                  </a:cxn>
                  <a:cxn ang="0">
                    <a:pos x="40" y="20"/>
                  </a:cxn>
                  <a:cxn ang="0">
                    <a:pos x="48" y="26"/>
                  </a:cxn>
                  <a:cxn ang="0">
                    <a:pos x="48" y="26"/>
                  </a:cxn>
                  <a:cxn ang="0">
                    <a:pos x="56" y="36"/>
                  </a:cxn>
                  <a:cxn ang="0">
                    <a:pos x="60" y="44"/>
                  </a:cxn>
                  <a:cxn ang="0">
                    <a:pos x="64" y="54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66" y="68"/>
                  </a:cxn>
                  <a:cxn ang="0">
                    <a:pos x="70" y="70"/>
                  </a:cxn>
                  <a:cxn ang="0">
                    <a:pos x="70" y="70"/>
                  </a:cxn>
                  <a:cxn ang="0">
                    <a:pos x="72" y="68"/>
                  </a:cxn>
                  <a:cxn ang="0">
                    <a:pos x="74" y="66"/>
                  </a:cxn>
                  <a:cxn ang="0">
                    <a:pos x="74" y="66"/>
                  </a:cxn>
                </a:cxnLst>
                <a:rect l="0" t="0" r="r" b="b"/>
                <a:pathLst>
                  <a:path w="74" h="70">
                    <a:moveTo>
                      <a:pt x="74" y="66"/>
                    </a:moveTo>
                    <a:lnTo>
                      <a:pt x="74" y="66"/>
                    </a:lnTo>
                    <a:lnTo>
                      <a:pt x="72" y="52"/>
                    </a:lnTo>
                    <a:lnTo>
                      <a:pt x="68" y="42"/>
                    </a:lnTo>
                    <a:lnTo>
                      <a:pt x="62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44" y="12"/>
                    </a:lnTo>
                    <a:lnTo>
                      <a:pt x="32" y="6"/>
                    </a:lnTo>
                    <a:lnTo>
                      <a:pt x="18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6" y="10"/>
                    </a:lnTo>
                    <a:lnTo>
                      <a:pt x="28" y="14"/>
                    </a:lnTo>
                    <a:lnTo>
                      <a:pt x="40" y="2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6" y="36"/>
                    </a:lnTo>
                    <a:lnTo>
                      <a:pt x="60" y="44"/>
                    </a:lnTo>
                    <a:lnTo>
                      <a:pt x="64" y="5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70" y="70"/>
                    </a:lnTo>
                    <a:lnTo>
                      <a:pt x="70" y="70"/>
                    </a:lnTo>
                    <a:lnTo>
                      <a:pt x="72" y="68"/>
                    </a:lnTo>
                    <a:lnTo>
                      <a:pt x="74" y="66"/>
                    </a:lnTo>
                    <a:lnTo>
                      <a:pt x="74" y="6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9761" tIns="24881" rIns="49761" bIns="2488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75" fontAlgn="ctr">
                  <a:defRPr/>
                </a:pPr>
                <a:endParaRPr lang="en-US" altLang="zh-CN" sz="1686" kern="0" dirty="0">
                  <a:solidFill>
                    <a:sysClr val="windowText" lastClr="00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6" name="Freeform 40">
                <a:extLst>
                  <a:ext uri="{FF2B5EF4-FFF2-40B4-BE49-F238E27FC236}">
                    <a16:creationId xmlns="" xmlns:a16="http://schemas.microsoft.com/office/drawing/2014/main" id="{1B45CED2-D8E7-4642-80EF-396F01E8B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9161" y="-660929"/>
                <a:ext cx="196193" cy="183535"/>
              </a:xfrm>
              <a:custGeom>
                <a:avLst/>
                <a:gdLst/>
                <a:ahLst/>
                <a:cxnLst>
                  <a:cxn ang="0">
                    <a:pos x="62" y="54"/>
                  </a:cxn>
                  <a:cxn ang="0">
                    <a:pos x="62" y="54"/>
                  </a:cxn>
                  <a:cxn ang="0">
                    <a:pos x="62" y="44"/>
                  </a:cxn>
                  <a:cxn ang="0">
                    <a:pos x="58" y="34"/>
                  </a:cxn>
                  <a:cxn ang="0">
                    <a:pos x="54" y="24"/>
                  </a:cxn>
                  <a:cxn ang="0">
                    <a:pos x="46" y="16"/>
                  </a:cxn>
                  <a:cxn ang="0">
                    <a:pos x="46" y="16"/>
                  </a:cxn>
                  <a:cxn ang="0">
                    <a:pos x="38" y="10"/>
                  </a:cxn>
                  <a:cxn ang="0">
                    <a:pos x="28" y="4"/>
                  </a:cxn>
                  <a:cxn ang="0">
                    <a:pos x="1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14" y="8"/>
                  </a:cxn>
                  <a:cxn ang="0">
                    <a:pos x="24" y="12"/>
                  </a:cxn>
                  <a:cxn ang="0">
                    <a:pos x="34" y="16"/>
                  </a:cxn>
                  <a:cxn ang="0">
                    <a:pos x="40" y="22"/>
                  </a:cxn>
                  <a:cxn ang="0">
                    <a:pos x="40" y="22"/>
                  </a:cxn>
                  <a:cxn ang="0">
                    <a:pos x="46" y="30"/>
                  </a:cxn>
                  <a:cxn ang="0">
                    <a:pos x="50" y="36"/>
                  </a:cxn>
                  <a:cxn ang="0">
                    <a:pos x="54" y="46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56" y="58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8"/>
                  </a:cxn>
                  <a:cxn ang="0">
                    <a:pos x="62" y="54"/>
                  </a:cxn>
                  <a:cxn ang="0">
                    <a:pos x="62" y="54"/>
                  </a:cxn>
                </a:cxnLst>
                <a:rect l="0" t="0" r="r" b="b"/>
                <a:pathLst>
                  <a:path w="62" h="58">
                    <a:moveTo>
                      <a:pt x="62" y="54"/>
                    </a:moveTo>
                    <a:lnTo>
                      <a:pt x="62" y="54"/>
                    </a:lnTo>
                    <a:lnTo>
                      <a:pt x="62" y="44"/>
                    </a:lnTo>
                    <a:lnTo>
                      <a:pt x="58" y="34"/>
                    </a:lnTo>
                    <a:lnTo>
                      <a:pt x="54" y="2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38" y="10"/>
                    </a:lnTo>
                    <a:lnTo>
                      <a:pt x="28" y="4"/>
                    </a:lnTo>
                    <a:lnTo>
                      <a:pt x="1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4" y="8"/>
                    </a:lnTo>
                    <a:lnTo>
                      <a:pt x="24" y="12"/>
                    </a:lnTo>
                    <a:lnTo>
                      <a:pt x="34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6" y="30"/>
                    </a:lnTo>
                    <a:lnTo>
                      <a:pt x="50" y="36"/>
                    </a:lnTo>
                    <a:lnTo>
                      <a:pt x="54" y="46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8"/>
                    </a:lnTo>
                    <a:lnTo>
                      <a:pt x="62" y="54"/>
                    </a:lnTo>
                    <a:lnTo>
                      <a:pt x="62" y="5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9761" tIns="24881" rIns="49761" bIns="2488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75" fontAlgn="ctr">
                  <a:defRPr/>
                </a:pPr>
                <a:endParaRPr lang="en-US" altLang="zh-CN" sz="1686" kern="0" dirty="0">
                  <a:solidFill>
                    <a:sysClr val="windowText" lastClr="00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7" name="Freeform 41">
                <a:extLst>
                  <a:ext uri="{FF2B5EF4-FFF2-40B4-BE49-F238E27FC236}">
                    <a16:creationId xmlns="" xmlns:a16="http://schemas.microsoft.com/office/drawing/2014/main" id="{66477070-42A2-4DC7-B64C-6D3CB94FB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47517" y="-597641"/>
                <a:ext cx="164549" cy="151891"/>
              </a:xfrm>
              <a:custGeom>
                <a:avLst/>
                <a:gdLst/>
                <a:ahLst/>
                <a:cxnLst>
                  <a:cxn ang="0">
                    <a:pos x="52" y="44"/>
                  </a:cxn>
                  <a:cxn ang="0">
                    <a:pos x="52" y="44"/>
                  </a:cxn>
                  <a:cxn ang="0">
                    <a:pos x="50" y="36"/>
                  </a:cxn>
                  <a:cxn ang="0">
                    <a:pos x="48" y="28"/>
                  </a:cxn>
                  <a:cxn ang="0">
                    <a:pos x="44" y="20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2" y="8"/>
                  </a:cxn>
                  <a:cxn ang="0">
                    <a:pos x="22" y="4"/>
                  </a:cxn>
                  <a:cxn ang="0">
                    <a:pos x="1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12" y="10"/>
                  </a:cxn>
                  <a:cxn ang="0">
                    <a:pos x="20" y="12"/>
                  </a:cxn>
                  <a:cxn ang="0">
                    <a:pos x="26" y="1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6" y="26"/>
                  </a:cxn>
                  <a:cxn ang="0">
                    <a:pos x="40" y="32"/>
                  </a:cxn>
                  <a:cxn ang="0">
                    <a:pos x="42" y="38"/>
                  </a:cxn>
                  <a:cxn ang="0">
                    <a:pos x="42" y="44"/>
                  </a:cxn>
                  <a:cxn ang="0">
                    <a:pos x="42" y="44"/>
                  </a:cxn>
                  <a:cxn ang="0">
                    <a:pos x="44" y="48"/>
                  </a:cxn>
                  <a:cxn ang="0">
                    <a:pos x="48" y="48"/>
                  </a:cxn>
                  <a:cxn ang="0">
                    <a:pos x="48" y="48"/>
                  </a:cxn>
                  <a:cxn ang="0">
                    <a:pos x="50" y="48"/>
                  </a:cxn>
                  <a:cxn ang="0">
                    <a:pos x="52" y="44"/>
                  </a:cxn>
                  <a:cxn ang="0">
                    <a:pos x="52" y="44"/>
                  </a:cxn>
                </a:cxnLst>
                <a:rect l="0" t="0" r="r" b="b"/>
                <a:pathLst>
                  <a:path w="52" h="48">
                    <a:moveTo>
                      <a:pt x="52" y="44"/>
                    </a:moveTo>
                    <a:lnTo>
                      <a:pt x="52" y="44"/>
                    </a:lnTo>
                    <a:lnTo>
                      <a:pt x="50" y="36"/>
                    </a:lnTo>
                    <a:lnTo>
                      <a:pt x="48" y="28"/>
                    </a:lnTo>
                    <a:lnTo>
                      <a:pt x="44" y="2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2" y="8"/>
                    </a:lnTo>
                    <a:lnTo>
                      <a:pt x="22" y="4"/>
                    </a:lnTo>
                    <a:lnTo>
                      <a:pt x="1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12" y="10"/>
                    </a:lnTo>
                    <a:lnTo>
                      <a:pt x="20" y="12"/>
                    </a:lnTo>
                    <a:lnTo>
                      <a:pt x="26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6"/>
                    </a:lnTo>
                    <a:lnTo>
                      <a:pt x="40" y="32"/>
                    </a:lnTo>
                    <a:lnTo>
                      <a:pt x="42" y="38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2" y="44"/>
                    </a:lnTo>
                    <a:lnTo>
                      <a:pt x="52" y="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49761" tIns="24881" rIns="49761" bIns="2488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575" fontAlgn="ctr">
                  <a:defRPr/>
                </a:pPr>
                <a:endParaRPr lang="en-US" altLang="zh-CN" sz="1686" kern="0" dirty="0">
                  <a:solidFill>
                    <a:sysClr val="windowText" lastClr="000000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49" name="Oval 8">
              <a:extLst>
                <a:ext uri="{FF2B5EF4-FFF2-40B4-BE49-F238E27FC236}">
                  <a16:creationId xmlns="" xmlns:a16="http://schemas.microsoft.com/office/drawing/2014/main" id="{36A73B68-4FE9-4B37-9D6D-0A78C3D2E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2701" y="4524375"/>
              <a:ext cx="388938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0" name="Freeform 38">
              <a:extLst>
                <a:ext uri="{FF2B5EF4-FFF2-40B4-BE49-F238E27FC236}">
                  <a16:creationId xmlns="" xmlns:a16="http://schemas.microsoft.com/office/drawing/2014/main" id="{C2A704EC-7C01-4396-B818-F0DFB138D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0013" y="4564063"/>
              <a:ext cx="214313" cy="257175"/>
            </a:xfrm>
            <a:custGeom>
              <a:avLst/>
              <a:gdLst>
                <a:gd name="T0" fmla="*/ 59 w 71"/>
                <a:gd name="T1" fmla="*/ 77 h 85"/>
                <a:gd name="T2" fmla="*/ 62 w 71"/>
                <a:gd name="T3" fmla="*/ 55 h 85"/>
                <a:gd name="T4" fmla="*/ 55 w 71"/>
                <a:gd name="T5" fmla="*/ 48 h 85"/>
                <a:gd name="T6" fmla="*/ 46 w 71"/>
                <a:gd name="T7" fmla="*/ 35 h 85"/>
                <a:gd name="T8" fmla="*/ 37 w 71"/>
                <a:gd name="T9" fmla="*/ 28 h 85"/>
                <a:gd name="T10" fmla="*/ 34 w 71"/>
                <a:gd name="T11" fmla="*/ 21 h 85"/>
                <a:gd name="T12" fmla="*/ 25 w 71"/>
                <a:gd name="T13" fmla="*/ 30 h 85"/>
                <a:gd name="T14" fmla="*/ 16 w 71"/>
                <a:gd name="T15" fmla="*/ 37 h 85"/>
                <a:gd name="T16" fmla="*/ 11 w 71"/>
                <a:gd name="T17" fmla="*/ 51 h 85"/>
                <a:gd name="T18" fmla="*/ 16 w 71"/>
                <a:gd name="T19" fmla="*/ 77 h 85"/>
                <a:gd name="T20" fmla="*/ 1 w 71"/>
                <a:gd name="T21" fmla="*/ 77 h 85"/>
                <a:gd name="T22" fmla="*/ 12 w 71"/>
                <a:gd name="T23" fmla="*/ 81 h 85"/>
                <a:gd name="T24" fmla="*/ 27 w 71"/>
                <a:gd name="T25" fmla="*/ 81 h 85"/>
                <a:gd name="T26" fmla="*/ 48 w 71"/>
                <a:gd name="T27" fmla="*/ 81 h 85"/>
                <a:gd name="T28" fmla="*/ 59 w 71"/>
                <a:gd name="T29" fmla="*/ 83 h 85"/>
                <a:gd name="T30" fmla="*/ 34 w 71"/>
                <a:gd name="T31" fmla="*/ 74 h 85"/>
                <a:gd name="T32" fmla="*/ 23 w 71"/>
                <a:gd name="T33" fmla="*/ 77 h 85"/>
                <a:gd name="T34" fmla="*/ 16 w 71"/>
                <a:gd name="T35" fmla="*/ 55 h 85"/>
                <a:gd name="T36" fmla="*/ 34 w 71"/>
                <a:gd name="T37" fmla="*/ 38 h 85"/>
                <a:gd name="T38" fmla="*/ 26 w 71"/>
                <a:gd name="T39" fmla="*/ 38 h 85"/>
                <a:gd name="T40" fmla="*/ 43 w 71"/>
                <a:gd name="T41" fmla="*/ 31 h 85"/>
                <a:gd name="T42" fmla="*/ 52 w 71"/>
                <a:gd name="T43" fmla="*/ 38 h 85"/>
                <a:gd name="T44" fmla="*/ 34 w 71"/>
                <a:gd name="T45" fmla="*/ 38 h 85"/>
                <a:gd name="T46" fmla="*/ 45 w 71"/>
                <a:gd name="T47" fmla="*/ 77 h 85"/>
                <a:gd name="T48" fmla="*/ 37 w 71"/>
                <a:gd name="T49" fmla="*/ 76 h 85"/>
                <a:gd name="T50" fmla="*/ 52 w 71"/>
                <a:gd name="T51" fmla="*/ 64 h 85"/>
                <a:gd name="T52" fmla="*/ 25 w 71"/>
                <a:gd name="T53" fmla="*/ 7 h 85"/>
                <a:gd name="T54" fmla="*/ 26 w 71"/>
                <a:gd name="T55" fmla="*/ 7 h 85"/>
                <a:gd name="T56" fmla="*/ 29 w 71"/>
                <a:gd name="T57" fmla="*/ 5 h 85"/>
                <a:gd name="T58" fmla="*/ 33 w 71"/>
                <a:gd name="T59" fmla="*/ 4 h 85"/>
                <a:gd name="T60" fmla="*/ 36 w 71"/>
                <a:gd name="T61" fmla="*/ 4 h 85"/>
                <a:gd name="T62" fmla="*/ 39 w 71"/>
                <a:gd name="T63" fmla="*/ 5 h 85"/>
                <a:gd name="T64" fmla="*/ 43 w 71"/>
                <a:gd name="T65" fmla="*/ 6 h 85"/>
                <a:gd name="T66" fmla="*/ 45 w 71"/>
                <a:gd name="T67" fmla="*/ 8 h 85"/>
                <a:gd name="T68" fmla="*/ 46 w 71"/>
                <a:gd name="T69" fmla="*/ 8 h 85"/>
                <a:gd name="T70" fmla="*/ 48 w 71"/>
                <a:gd name="T71" fmla="*/ 6 h 85"/>
                <a:gd name="T72" fmla="*/ 46 w 71"/>
                <a:gd name="T73" fmla="*/ 4 h 85"/>
                <a:gd name="T74" fmla="*/ 42 w 71"/>
                <a:gd name="T75" fmla="*/ 2 h 85"/>
                <a:gd name="T76" fmla="*/ 38 w 71"/>
                <a:gd name="T77" fmla="*/ 0 h 85"/>
                <a:gd name="T78" fmla="*/ 33 w 71"/>
                <a:gd name="T79" fmla="*/ 0 h 85"/>
                <a:gd name="T80" fmla="*/ 29 w 71"/>
                <a:gd name="T81" fmla="*/ 1 h 85"/>
                <a:gd name="T82" fmla="*/ 25 w 71"/>
                <a:gd name="T83" fmla="*/ 3 h 85"/>
                <a:gd name="T84" fmla="*/ 23 w 71"/>
                <a:gd name="T85" fmla="*/ 5 h 85"/>
                <a:gd name="T86" fmla="*/ 41 w 71"/>
                <a:gd name="T87" fmla="*/ 9 h 85"/>
                <a:gd name="T88" fmla="*/ 38 w 71"/>
                <a:gd name="T89" fmla="*/ 7 h 85"/>
                <a:gd name="T90" fmla="*/ 36 w 71"/>
                <a:gd name="T91" fmla="*/ 6 h 85"/>
                <a:gd name="T92" fmla="*/ 32 w 71"/>
                <a:gd name="T93" fmla="*/ 7 h 85"/>
                <a:gd name="T94" fmla="*/ 30 w 71"/>
                <a:gd name="T95" fmla="*/ 7 h 85"/>
                <a:gd name="T96" fmla="*/ 28 w 71"/>
                <a:gd name="T97" fmla="*/ 9 h 85"/>
                <a:gd name="T98" fmla="*/ 28 w 71"/>
                <a:gd name="T99" fmla="*/ 10 h 85"/>
                <a:gd name="T100" fmla="*/ 30 w 71"/>
                <a:gd name="T101" fmla="*/ 12 h 85"/>
                <a:gd name="T102" fmla="*/ 31 w 71"/>
                <a:gd name="T103" fmla="*/ 12 h 85"/>
                <a:gd name="T104" fmla="*/ 33 w 71"/>
                <a:gd name="T105" fmla="*/ 11 h 85"/>
                <a:gd name="T106" fmla="*/ 36 w 71"/>
                <a:gd name="T107" fmla="*/ 11 h 85"/>
                <a:gd name="T108" fmla="*/ 38 w 71"/>
                <a:gd name="T109" fmla="*/ 12 h 85"/>
                <a:gd name="T110" fmla="*/ 39 w 71"/>
                <a:gd name="T111" fmla="*/ 12 h 85"/>
                <a:gd name="T112" fmla="*/ 42 w 71"/>
                <a:gd name="T113" fmla="*/ 11 h 85"/>
                <a:gd name="T114" fmla="*/ 41 w 71"/>
                <a:gd name="T115" fmla="*/ 1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1" h="85">
                  <a:moveTo>
                    <a:pt x="70" y="77"/>
                  </a:moveTo>
                  <a:cubicBezTo>
                    <a:pt x="69" y="76"/>
                    <a:pt x="67" y="76"/>
                    <a:pt x="66" y="77"/>
                  </a:cubicBezTo>
                  <a:cubicBezTo>
                    <a:pt x="64" y="79"/>
                    <a:pt x="61" y="79"/>
                    <a:pt x="59" y="77"/>
                  </a:cubicBezTo>
                  <a:cubicBezTo>
                    <a:pt x="58" y="76"/>
                    <a:pt x="57" y="75"/>
                    <a:pt x="56" y="74"/>
                  </a:cubicBezTo>
                  <a:cubicBezTo>
                    <a:pt x="56" y="71"/>
                    <a:pt x="56" y="68"/>
                    <a:pt x="57" y="65"/>
                  </a:cubicBezTo>
                  <a:cubicBezTo>
                    <a:pt x="58" y="62"/>
                    <a:pt x="59" y="59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4"/>
                    <a:pt x="62" y="52"/>
                    <a:pt x="61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6"/>
                    <a:pt x="54" y="35"/>
                    <a:pt x="54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29"/>
                    <a:pt x="46" y="28"/>
                    <a:pt x="45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6" y="19"/>
                    <a:pt x="36" y="19"/>
                  </a:cubicBezTo>
                  <a:cubicBezTo>
                    <a:pt x="35" y="19"/>
                    <a:pt x="34" y="20"/>
                    <a:pt x="34" y="21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5" y="29"/>
                    <a:pt x="25" y="30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6" y="36"/>
                    <a:pt x="16" y="37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9" y="52"/>
                    <a:pt x="9" y="54"/>
                    <a:pt x="10" y="55"/>
                  </a:cubicBezTo>
                  <a:cubicBezTo>
                    <a:pt x="12" y="60"/>
                    <a:pt x="14" y="63"/>
                    <a:pt x="15" y="67"/>
                  </a:cubicBezTo>
                  <a:cubicBezTo>
                    <a:pt x="15" y="70"/>
                    <a:pt x="15" y="73"/>
                    <a:pt x="16" y="77"/>
                  </a:cubicBezTo>
                  <a:cubicBezTo>
                    <a:pt x="15" y="76"/>
                    <a:pt x="14" y="75"/>
                    <a:pt x="12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8" y="73"/>
                    <a:pt x="4" y="74"/>
                    <a:pt x="1" y="77"/>
                  </a:cubicBezTo>
                  <a:cubicBezTo>
                    <a:pt x="0" y="78"/>
                    <a:pt x="0" y="80"/>
                    <a:pt x="1" y="81"/>
                  </a:cubicBezTo>
                  <a:cubicBezTo>
                    <a:pt x="2" y="82"/>
                    <a:pt x="4" y="82"/>
                    <a:pt x="5" y="81"/>
                  </a:cubicBezTo>
                  <a:cubicBezTo>
                    <a:pt x="7" y="79"/>
                    <a:pt x="10" y="79"/>
                    <a:pt x="12" y="81"/>
                  </a:cubicBezTo>
                  <a:cubicBezTo>
                    <a:pt x="16" y="85"/>
                    <a:pt x="22" y="85"/>
                    <a:pt x="26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9" y="79"/>
                    <a:pt x="32" y="79"/>
                    <a:pt x="34" y="81"/>
                  </a:cubicBezTo>
                  <a:cubicBezTo>
                    <a:pt x="38" y="85"/>
                    <a:pt x="44" y="85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50" y="79"/>
                    <a:pt x="54" y="79"/>
                    <a:pt x="55" y="81"/>
                  </a:cubicBezTo>
                  <a:cubicBezTo>
                    <a:pt x="56" y="82"/>
                    <a:pt x="58" y="82"/>
                    <a:pt x="59" y="83"/>
                  </a:cubicBezTo>
                  <a:cubicBezTo>
                    <a:pt x="63" y="85"/>
                    <a:pt x="67" y="84"/>
                    <a:pt x="70" y="81"/>
                  </a:cubicBezTo>
                  <a:cubicBezTo>
                    <a:pt x="71" y="80"/>
                    <a:pt x="71" y="78"/>
                    <a:pt x="70" y="77"/>
                  </a:cubicBezTo>
                  <a:close/>
                  <a:moveTo>
                    <a:pt x="34" y="74"/>
                  </a:moveTo>
                  <a:cubicBezTo>
                    <a:pt x="30" y="73"/>
                    <a:pt x="26" y="74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2" y="77"/>
                    <a:pt x="22" y="78"/>
                    <a:pt x="21" y="78"/>
                  </a:cubicBezTo>
                  <a:cubicBezTo>
                    <a:pt x="21" y="73"/>
                    <a:pt x="21" y="69"/>
                    <a:pt x="20" y="66"/>
                  </a:cubicBezTo>
                  <a:cubicBezTo>
                    <a:pt x="19" y="62"/>
                    <a:pt x="18" y="59"/>
                    <a:pt x="16" y="55"/>
                  </a:cubicBezTo>
                  <a:cubicBezTo>
                    <a:pt x="34" y="44"/>
                    <a:pt x="34" y="44"/>
                    <a:pt x="34" y="44"/>
                  </a:cubicBezTo>
                  <a:lnTo>
                    <a:pt x="34" y="74"/>
                  </a:lnTo>
                  <a:close/>
                  <a:moveTo>
                    <a:pt x="34" y="38"/>
                  </a:moveTo>
                  <a:cubicBezTo>
                    <a:pt x="19" y="46"/>
                    <a:pt x="19" y="46"/>
                    <a:pt x="19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7" y="38"/>
                    <a:pt x="28" y="38"/>
                    <a:pt x="28" y="37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8"/>
                    <a:pt x="44" y="38"/>
                    <a:pt x="45" y="3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6" y="37"/>
                    <a:pt x="35" y="37"/>
                    <a:pt x="34" y="38"/>
                  </a:cubicBezTo>
                  <a:close/>
                  <a:moveTo>
                    <a:pt x="52" y="64"/>
                  </a:moveTo>
                  <a:cubicBezTo>
                    <a:pt x="51" y="67"/>
                    <a:pt x="50" y="70"/>
                    <a:pt x="50" y="74"/>
                  </a:cubicBezTo>
                  <a:cubicBezTo>
                    <a:pt x="48" y="74"/>
                    <a:pt x="46" y="75"/>
                    <a:pt x="45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3" y="79"/>
                    <a:pt x="39" y="79"/>
                    <a:pt x="38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4" y="58"/>
                    <a:pt x="52" y="61"/>
                    <a:pt x="52" y="64"/>
                  </a:cubicBezTo>
                  <a:close/>
                  <a:moveTo>
                    <a:pt x="24" y="6"/>
                  </a:move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lnTo>
                    <a:pt x="24" y="6"/>
                  </a:lnTo>
                  <a:close/>
                  <a:moveTo>
                    <a:pt x="41" y="9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1" y="10"/>
                    <a:pt x="41" y="10"/>
                    <a:pt x="41" y="10"/>
                  </a:cubicBezTo>
                  <a:lnTo>
                    <a:pt x="4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18" name="组合 317">
            <a:extLst>
              <a:ext uri="{FF2B5EF4-FFF2-40B4-BE49-F238E27FC236}">
                <a16:creationId xmlns="" xmlns:a16="http://schemas.microsoft.com/office/drawing/2014/main" id="{7C8F48AA-C8FC-49B1-9FFF-9176147E18D0}"/>
              </a:ext>
            </a:extLst>
          </p:cNvPr>
          <p:cNvGrpSpPr/>
          <p:nvPr/>
        </p:nvGrpSpPr>
        <p:grpSpPr>
          <a:xfrm>
            <a:off x="6984769" y="3739275"/>
            <a:ext cx="388837" cy="387249"/>
            <a:chOff x="6986588" y="3740150"/>
            <a:chExt cx="388938" cy="387350"/>
          </a:xfrm>
        </p:grpSpPr>
        <p:sp>
          <p:nvSpPr>
            <p:cNvPr id="320" name="Oval 27">
              <a:extLst>
                <a:ext uri="{FF2B5EF4-FFF2-40B4-BE49-F238E27FC236}">
                  <a16:creationId xmlns="" xmlns:a16="http://schemas.microsoft.com/office/drawing/2014/main" id="{DEDE4C3F-6590-4DEC-A51F-20A2F074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6588" y="3740150"/>
              <a:ext cx="388938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1" name="Freeform 34">
              <a:extLst>
                <a:ext uri="{FF2B5EF4-FFF2-40B4-BE49-F238E27FC236}">
                  <a16:creationId xmlns="" xmlns:a16="http://schemas.microsoft.com/office/drawing/2014/main" id="{7D3590F9-C327-40F6-A147-ABD3D117E4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6276" y="3870325"/>
              <a:ext cx="306388" cy="127000"/>
            </a:xfrm>
            <a:custGeom>
              <a:avLst/>
              <a:gdLst>
                <a:gd name="T0" fmla="*/ 155 w 193"/>
                <a:gd name="T1" fmla="*/ 27 h 80"/>
                <a:gd name="T2" fmla="*/ 140 w 193"/>
                <a:gd name="T3" fmla="*/ 17 h 80"/>
                <a:gd name="T4" fmla="*/ 74 w 193"/>
                <a:gd name="T5" fmla="*/ 6 h 80"/>
                <a:gd name="T6" fmla="*/ 64 w 193"/>
                <a:gd name="T7" fmla="*/ 0 h 80"/>
                <a:gd name="T8" fmla="*/ 49 w 193"/>
                <a:gd name="T9" fmla="*/ 0 h 80"/>
                <a:gd name="T10" fmla="*/ 28 w 193"/>
                <a:gd name="T11" fmla="*/ 17 h 80"/>
                <a:gd name="T12" fmla="*/ 15 w 193"/>
                <a:gd name="T13" fmla="*/ 9 h 80"/>
                <a:gd name="T14" fmla="*/ 2 w 193"/>
                <a:gd name="T15" fmla="*/ 19 h 80"/>
                <a:gd name="T16" fmla="*/ 2 w 193"/>
                <a:gd name="T17" fmla="*/ 34 h 80"/>
                <a:gd name="T18" fmla="*/ 15 w 193"/>
                <a:gd name="T19" fmla="*/ 44 h 80"/>
                <a:gd name="T20" fmla="*/ 55 w 193"/>
                <a:gd name="T21" fmla="*/ 42 h 80"/>
                <a:gd name="T22" fmla="*/ 99 w 193"/>
                <a:gd name="T23" fmla="*/ 30 h 80"/>
                <a:gd name="T24" fmla="*/ 114 w 193"/>
                <a:gd name="T25" fmla="*/ 36 h 80"/>
                <a:gd name="T26" fmla="*/ 36 w 193"/>
                <a:gd name="T27" fmla="*/ 32 h 80"/>
                <a:gd name="T28" fmla="*/ 34 w 193"/>
                <a:gd name="T29" fmla="*/ 29 h 80"/>
                <a:gd name="T30" fmla="*/ 45 w 193"/>
                <a:gd name="T31" fmla="*/ 30 h 80"/>
                <a:gd name="T32" fmla="*/ 42 w 193"/>
                <a:gd name="T33" fmla="*/ 30 h 80"/>
                <a:gd name="T34" fmla="*/ 45 w 193"/>
                <a:gd name="T35" fmla="*/ 27 h 80"/>
                <a:gd name="T36" fmla="*/ 53 w 193"/>
                <a:gd name="T37" fmla="*/ 30 h 80"/>
                <a:gd name="T38" fmla="*/ 49 w 193"/>
                <a:gd name="T39" fmla="*/ 27 h 80"/>
                <a:gd name="T40" fmla="*/ 61 w 193"/>
                <a:gd name="T41" fmla="*/ 29 h 80"/>
                <a:gd name="T42" fmla="*/ 57 w 193"/>
                <a:gd name="T43" fmla="*/ 27 h 80"/>
                <a:gd name="T44" fmla="*/ 61 w 193"/>
                <a:gd name="T45" fmla="*/ 25 h 80"/>
                <a:gd name="T46" fmla="*/ 64 w 193"/>
                <a:gd name="T47" fmla="*/ 29 h 80"/>
                <a:gd name="T48" fmla="*/ 68 w 193"/>
                <a:gd name="T49" fmla="*/ 25 h 80"/>
                <a:gd name="T50" fmla="*/ 78 w 193"/>
                <a:gd name="T51" fmla="*/ 29 h 80"/>
                <a:gd name="T52" fmla="*/ 72 w 193"/>
                <a:gd name="T53" fmla="*/ 25 h 80"/>
                <a:gd name="T54" fmla="*/ 78 w 193"/>
                <a:gd name="T55" fmla="*/ 25 h 80"/>
                <a:gd name="T56" fmla="*/ 81 w 193"/>
                <a:gd name="T57" fmla="*/ 27 h 80"/>
                <a:gd name="T58" fmla="*/ 83 w 193"/>
                <a:gd name="T59" fmla="*/ 23 h 80"/>
                <a:gd name="T60" fmla="*/ 93 w 193"/>
                <a:gd name="T61" fmla="*/ 27 h 80"/>
                <a:gd name="T62" fmla="*/ 89 w 193"/>
                <a:gd name="T63" fmla="*/ 23 h 80"/>
                <a:gd name="T64" fmla="*/ 100 w 193"/>
                <a:gd name="T65" fmla="*/ 25 h 80"/>
                <a:gd name="T66" fmla="*/ 97 w 193"/>
                <a:gd name="T67" fmla="*/ 25 h 80"/>
                <a:gd name="T68" fmla="*/ 100 w 193"/>
                <a:gd name="T69" fmla="*/ 21 h 80"/>
                <a:gd name="T70" fmla="*/ 104 w 193"/>
                <a:gd name="T71" fmla="*/ 25 h 80"/>
                <a:gd name="T72" fmla="*/ 104 w 193"/>
                <a:gd name="T73" fmla="*/ 21 h 80"/>
                <a:gd name="T74" fmla="*/ 116 w 193"/>
                <a:gd name="T75" fmla="*/ 25 h 80"/>
                <a:gd name="T76" fmla="*/ 112 w 193"/>
                <a:gd name="T77" fmla="*/ 21 h 80"/>
                <a:gd name="T78" fmla="*/ 116 w 193"/>
                <a:gd name="T79" fmla="*/ 21 h 80"/>
                <a:gd name="T80" fmla="*/ 121 w 193"/>
                <a:gd name="T81" fmla="*/ 23 h 80"/>
                <a:gd name="T82" fmla="*/ 121 w 193"/>
                <a:gd name="T83" fmla="*/ 19 h 80"/>
                <a:gd name="T84" fmla="*/ 129 w 193"/>
                <a:gd name="T85" fmla="*/ 23 h 80"/>
                <a:gd name="T86" fmla="*/ 131 w 193"/>
                <a:gd name="T87" fmla="*/ 19 h 80"/>
                <a:gd name="T88" fmla="*/ 133 w 193"/>
                <a:gd name="T89" fmla="*/ 23 h 80"/>
                <a:gd name="T90" fmla="*/ 51 w 193"/>
                <a:gd name="T91" fmla="*/ 19 h 80"/>
                <a:gd name="T92" fmla="*/ 47 w 193"/>
                <a:gd name="T93" fmla="*/ 15 h 80"/>
                <a:gd name="T94" fmla="*/ 95 w 193"/>
                <a:gd name="T95" fmla="*/ 15 h 80"/>
                <a:gd name="T96" fmla="*/ 97 w 193"/>
                <a:gd name="T97" fmla="*/ 11 h 80"/>
                <a:gd name="T98" fmla="*/ 91 w 193"/>
                <a:gd name="T99" fmla="*/ 17 h 80"/>
                <a:gd name="T100" fmla="*/ 49 w 193"/>
                <a:gd name="T101" fmla="*/ 49 h 80"/>
                <a:gd name="T102" fmla="*/ 49 w 193"/>
                <a:gd name="T103" fmla="*/ 55 h 80"/>
                <a:gd name="T104" fmla="*/ 95 w 193"/>
                <a:gd name="T105" fmla="*/ 32 h 80"/>
                <a:gd name="T106" fmla="*/ 72 w 193"/>
                <a:gd name="T107" fmla="*/ 34 h 80"/>
                <a:gd name="T108" fmla="*/ 62 w 193"/>
                <a:gd name="T109" fmla="*/ 67 h 80"/>
                <a:gd name="T110" fmla="*/ 76 w 193"/>
                <a:gd name="T111" fmla="*/ 57 h 80"/>
                <a:gd name="T112" fmla="*/ 97 w 193"/>
                <a:gd name="T113" fmla="*/ 46 h 80"/>
                <a:gd name="T114" fmla="*/ 95 w 193"/>
                <a:gd name="T115" fmla="*/ 51 h 80"/>
                <a:gd name="T116" fmla="*/ 152 w 193"/>
                <a:gd name="T117" fmla="*/ 49 h 80"/>
                <a:gd name="T118" fmla="*/ 173 w 193"/>
                <a:gd name="T119" fmla="*/ 48 h 80"/>
                <a:gd name="T120" fmla="*/ 182 w 193"/>
                <a:gd name="T121" fmla="*/ 49 h 80"/>
                <a:gd name="T122" fmla="*/ 136 w 193"/>
                <a:gd name="T123" fmla="*/ 7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" h="80">
                  <a:moveTo>
                    <a:pt x="133" y="34"/>
                  </a:moveTo>
                  <a:lnTo>
                    <a:pt x="133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6" y="34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40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50" y="30"/>
                  </a:lnTo>
                  <a:lnTo>
                    <a:pt x="150" y="29"/>
                  </a:lnTo>
                  <a:lnTo>
                    <a:pt x="152" y="29"/>
                  </a:lnTo>
                  <a:lnTo>
                    <a:pt x="152" y="29"/>
                  </a:lnTo>
                  <a:lnTo>
                    <a:pt x="154" y="29"/>
                  </a:lnTo>
                  <a:lnTo>
                    <a:pt x="154" y="29"/>
                  </a:lnTo>
                  <a:lnTo>
                    <a:pt x="154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7" y="21"/>
                  </a:lnTo>
                  <a:lnTo>
                    <a:pt x="157" y="21"/>
                  </a:lnTo>
                  <a:lnTo>
                    <a:pt x="157" y="21"/>
                  </a:lnTo>
                  <a:lnTo>
                    <a:pt x="155" y="21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4" y="19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2" y="17"/>
                  </a:lnTo>
                  <a:lnTo>
                    <a:pt x="150" y="17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7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40" y="17"/>
                  </a:lnTo>
                  <a:lnTo>
                    <a:pt x="138" y="17"/>
                  </a:lnTo>
                  <a:lnTo>
                    <a:pt x="136" y="17"/>
                  </a:lnTo>
                  <a:lnTo>
                    <a:pt x="136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1" y="17"/>
                  </a:lnTo>
                  <a:lnTo>
                    <a:pt x="131" y="17"/>
                  </a:lnTo>
                  <a:lnTo>
                    <a:pt x="131" y="17"/>
                  </a:lnTo>
                  <a:lnTo>
                    <a:pt x="129" y="17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9" y="17"/>
                  </a:lnTo>
                  <a:lnTo>
                    <a:pt x="87" y="17"/>
                  </a:lnTo>
                  <a:lnTo>
                    <a:pt x="85" y="15"/>
                  </a:lnTo>
                  <a:lnTo>
                    <a:pt x="83" y="13"/>
                  </a:lnTo>
                  <a:lnTo>
                    <a:pt x="81" y="11"/>
                  </a:lnTo>
                  <a:lnTo>
                    <a:pt x="80" y="11"/>
                  </a:lnTo>
                  <a:lnTo>
                    <a:pt x="80" y="9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64" y="23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8" y="21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6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0" y="44"/>
                  </a:lnTo>
                  <a:lnTo>
                    <a:pt x="34" y="44"/>
                  </a:lnTo>
                  <a:lnTo>
                    <a:pt x="36" y="42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5" y="42"/>
                  </a:lnTo>
                  <a:lnTo>
                    <a:pt x="47" y="42"/>
                  </a:lnTo>
                  <a:lnTo>
                    <a:pt x="51" y="42"/>
                  </a:lnTo>
                  <a:lnTo>
                    <a:pt x="55" y="42"/>
                  </a:lnTo>
                  <a:lnTo>
                    <a:pt x="59" y="40"/>
                  </a:lnTo>
                  <a:lnTo>
                    <a:pt x="62" y="40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70" y="32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6" y="32"/>
                  </a:lnTo>
                  <a:lnTo>
                    <a:pt x="78" y="32"/>
                  </a:lnTo>
                  <a:lnTo>
                    <a:pt x="80" y="32"/>
                  </a:lnTo>
                  <a:lnTo>
                    <a:pt x="81" y="30"/>
                  </a:lnTo>
                  <a:lnTo>
                    <a:pt x="85" y="30"/>
                  </a:lnTo>
                  <a:lnTo>
                    <a:pt x="87" y="30"/>
                  </a:lnTo>
                  <a:lnTo>
                    <a:pt x="89" y="30"/>
                  </a:lnTo>
                  <a:lnTo>
                    <a:pt x="91" y="30"/>
                  </a:lnTo>
                  <a:lnTo>
                    <a:pt x="93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7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10" y="36"/>
                  </a:lnTo>
                  <a:lnTo>
                    <a:pt x="114" y="36"/>
                  </a:lnTo>
                  <a:lnTo>
                    <a:pt x="116" y="36"/>
                  </a:lnTo>
                  <a:lnTo>
                    <a:pt x="118" y="34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7" y="34"/>
                  </a:lnTo>
                  <a:lnTo>
                    <a:pt x="129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4"/>
                  </a:lnTo>
                  <a:close/>
                  <a:moveTo>
                    <a:pt x="38" y="30"/>
                  </a:move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close/>
                  <a:moveTo>
                    <a:pt x="45" y="30"/>
                  </a:move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close/>
                  <a:moveTo>
                    <a:pt x="53" y="29"/>
                  </a:moveTo>
                  <a:lnTo>
                    <a:pt x="53" y="29"/>
                  </a:lnTo>
                  <a:lnTo>
                    <a:pt x="53" y="29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close/>
                  <a:moveTo>
                    <a:pt x="61" y="29"/>
                  </a:move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9"/>
                  </a:lnTo>
                  <a:lnTo>
                    <a:pt x="61" y="29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70" y="29"/>
                  </a:lnTo>
                  <a:lnTo>
                    <a:pt x="70" y="29"/>
                  </a:lnTo>
                  <a:close/>
                  <a:moveTo>
                    <a:pt x="78" y="27"/>
                  </a:move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7"/>
                  </a:lnTo>
                  <a:lnTo>
                    <a:pt x="78" y="27"/>
                  </a:lnTo>
                  <a:close/>
                  <a:moveTo>
                    <a:pt x="85" y="27"/>
                  </a:move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7"/>
                  </a:lnTo>
                  <a:lnTo>
                    <a:pt x="85" y="27"/>
                  </a:lnTo>
                  <a:close/>
                  <a:moveTo>
                    <a:pt x="93" y="25"/>
                  </a:move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5"/>
                  </a:lnTo>
                  <a:lnTo>
                    <a:pt x="93" y="25"/>
                  </a:lnTo>
                  <a:close/>
                  <a:moveTo>
                    <a:pt x="100" y="25"/>
                  </a:move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5"/>
                  </a:lnTo>
                  <a:lnTo>
                    <a:pt x="100" y="25"/>
                  </a:lnTo>
                  <a:close/>
                  <a:moveTo>
                    <a:pt x="108" y="25"/>
                  </a:move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6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5"/>
                  </a:lnTo>
                  <a:lnTo>
                    <a:pt x="108" y="25"/>
                  </a:lnTo>
                  <a:close/>
                  <a:moveTo>
                    <a:pt x="118" y="23"/>
                  </a:move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6" y="23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18" y="23"/>
                  </a:lnTo>
                  <a:close/>
                  <a:moveTo>
                    <a:pt x="125" y="23"/>
                  </a:move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23"/>
                  </a:lnTo>
                  <a:lnTo>
                    <a:pt x="125" y="23"/>
                  </a:lnTo>
                  <a:close/>
                  <a:moveTo>
                    <a:pt x="131" y="23"/>
                  </a:move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3"/>
                  </a:lnTo>
                  <a:lnTo>
                    <a:pt x="131" y="23"/>
                  </a:lnTo>
                  <a:close/>
                  <a:moveTo>
                    <a:pt x="47" y="17"/>
                  </a:move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9" y="19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1" y="11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3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close/>
                  <a:moveTo>
                    <a:pt x="91" y="17"/>
                  </a:moveTo>
                  <a:lnTo>
                    <a:pt x="91" y="17"/>
                  </a:lnTo>
                  <a:lnTo>
                    <a:pt x="91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89" y="9"/>
                  </a:lnTo>
                  <a:lnTo>
                    <a:pt x="83" y="9"/>
                  </a:lnTo>
                  <a:lnTo>
                    <a:pt x="91" y="17"/>
                  </a:lnTo>
                  <a:lnTo>
                    <a:pt x="91" y="17"/>
                  </a:lnTo>
                  <a:close/>
                  <a:moveTo>
                    <a:pt x="51" y="55"/>
                  </a:moveTo>
                  <a:lnTo>
                    <a:pt x="51" y="55"/>
                  </a:lnTo>
                  <a:lnTo>
                    <a:pt x="51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7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close/>
                  <a:moveTo>
                    <a:pt x="95" y="34"/>
                  </a:move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7" y="32"/>
                  </a:lnTo>
                  <a:lnTo>
                    <a:pt x="85" y="32"/>
                  </a:lnTo>
                  <a:lnTo>
                    <a:pt x="83" y="32"/>
                  </a:lnTo>
                  <a:lnTo>
                    <a:pt x="81" y="32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7" y="69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8" y="65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4" y="61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3"/>
                  </a:lnTo>
                  <a:lnTo>
                    <a:pt x="95" y="34"/>
                  </a:lnTo>
                  <a:lnTo>
                    <a:pt x="95" y="34"/>
                  </a:lnTo>
                  <a:close/>
                  <a:moveTo>
                    <a:pt x="99" y="48"/>
                  </a:moveTo>
                  <a:lnTo>
                    <a:pt x="99" y="48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7" y="48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89" y="46"/>
                  </a:lnTo>
                  <a:lnTo>
                    <a:pt x="83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9" y="48"/>
                  </a:lnTo>
                  <a:close/>
                  <a:moveTo>
                    <a:pt x="157" y="49"/>
                  </a:moveTo>
                  <a:lnTo>
                    <a:pt x="154" y="49"/>
                  </a:lnTo>
                  <a:lnTo>
                    <a:pt x="152" y="49"/>
                  </a:lnTo>
                  <a:lnTo>
                    <a:pt x="148" y="49"/>
                  </a:lnTo>
                  <a:lnTo>
                    <a:pt x="146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2" y="59"/>
                  </a:lnTo>
                  <a:lnTo>
                    <a:pt x="144" y="61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5" y="61"/>
                  </a:lnTo>
                  <a:lnTo>
                    <a:pt x="159" y="61"/>
                  </a:lnTo>
                  <a:lnTo>
                    <a:pt x="161" y="59"/>
                  </a:lnTo>
                  <a:lnTo>
                    <a:pt x="163" y="59"/>
                  </a:lnTo>
                  <a:lnTo>
                    <a:pt x="165" y="57"/>
                  </a:lnTo>
                  <a:lnTo>
                    <a:pt x="167" y="55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1"/>
                  </a:lnTo>
                  <a:lnTo>
                    <a:pt x="173" y="48"/>
                  </a:lnTo>
                  <a:lnTo>
                    <a:pt x="174" y="46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4" y="42"/>
                  </a:lnTo>
                  <a:lnTo>
                    <a:pt x="174" y="42"/>
                  </a:lnTo>
                  <a:lnTo>
                    <a:pt x="174" y="40"/>
                  </a:lnTo>
                  <a:lnTo>
                    <a:pt x="169" y="38"/>
                  </a:lnTo>
                  <a:lnTo>
                    <a:pt x="167" y="38"/>
                  </a:lnTo>
                  <a:lnTo>
                    <a:pt x="167" y="38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3" y="42"/>
                  </a:lnTo>
                  <a:lnTo>
                    <a:pt x="161" y="46"/>
                  </a:lnTo>
                  <a:lnTo>
                    <a:pt x="159" y="48"/>
                  </a:lnTo>
                  <a:lnTo>
                    <a:pt x="157" y="48"/>
                  </a:lnTo>
                  <a:lnTo>
                    <a:pt x="157" y="49"/>
                  </a:lnTo>
                  <a:close/>
                  <a:moveTo>
                    <a:pt x="193" y="49"/>
                  </a:moveTo>
                  <a:lnTo>
                    <a:pt x="193" y="48"/>
                  </a:lnTo>
                  <a:lnTo>
                    <a:pt x="193" y="48"/>
                  </a:lnTo>
                  <a:lnTo>
                    <a:pt x="193" y="46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4" y="44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2" y="49"/>
                  </a:lnTo>
                  <a:lnTo>
                    <a:pt x="180" y="51"/>
                  </a:lnTo>
                  <a:lnTo>
                    <a:pt x="178" y="55"/>
                  </a:lnTo>
                  <a:lnTo>
                    <a:pt x="176" y="57"/>
                  </a:lnTo>
                  <a:lnTo>
                    <a:pt x="174" y="59"/>
                  </a:lnTo>
                  <a:lnTo>
                    <a:pt x="173" y="61"/>
                  </a:lnTo>
                  <a:lnTo>
                    <a:pt x="169" y="63"/>
                  </a:lnTo>
                  <a:lnTo>
                    <a:pt x="167" y="65"/>
                  </a:lnTo>
                  <a:lnTo>
                    <a:pt x="165" y="67"/>
                  </a:lnTo>
                  <a:lnTo>
                    <a:pt x="161" y="67"/>
                  </a:lnTo>
                  <a:lnTo>
                    <a:pt x="157" y="69"/>
                  </a:lnTo>
                  <a:lnTo>
                    <a:pt x="154" y="69"/>
                  </a:lnTo>
                  <a:lnTo>
                    <a:pt x="150" y="69"/>
                  </a:lnTo>
                  <a:lnTo>
                    <a:pt x="148" y="69"/>
                  </a:lnTo>
                  <a:lnTo>
                    <a:pt x="144" y="69"/>
                  </a:lnTo>
                  <a:lnTo>
                    <a:pt x="140" y="69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5" y="69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1" y="76"/>
                  </a:lnTo>
                  <a:lnTo>
                    <a:pt x="133" y="76"/>
                  </a:lnTo>
                  <a:lnTo>
                    <a:pt x="133" y="78"/>
                  </a:lnTo>
                  <a:lnTo>
                    <a:pt x="136" y="78"/>
                  </a:lnTo>
                  <a:lnTo>
                    <a:pt x="142" y="80"/>
                  </a:lnTo>
                  <a:lnTo>
                    <a:pt x="146" y="80"/>
                  </a:lnTo>
                  <a:lnTo>
                    <a:pt x="152" y="80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5" y="78"/>
                  </a:lnTo>
                  <a:lnTo>
                    <a:pt x="169" y="76"/>
                  </a:lnTo>
                  <a:lnTo>
                    <a:pt x="171" y="76"/>
                  </a:lnTo>
                  <a:lnTo>
                    <a:pt x="174" y="72"/>
                  </a:lnTo>
                  <a:lnTo>
                    <a:pt x="178" y="70"/>
                  </a:lnTo>
                  <a:lnTo>
                    <a:pt x="182" y="69"/>
                  </a:lnTo>
                  <a:lnTo>
                    <a:pt x="186" y="65"/>
                  </a:lnTo>
                  <a:lnTo>
                    <a:pt x="188" y="61"/>
                  </a:lnTo>
                  <a:lnTo>
                    <a:pt x="190" y="57"/>
                  </a:lnTo>
                  <a:lnTo>
                    <a:pt x="192" y="53"/>
                  </a:lnTo>
                  <a:lnTo>
                    <a:pt x="193" y="49"/>
                  </a:lnTo>
                  <a:lnTo>
                    <a:pt x="193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79" name="组合 378">
            <a:extLst>
              <a:ext uri="{FF2B5EF4-FFF2-40B4-BE49-F238E27FC236}">
                <a16:creationId xmlns="" xmlns:a16="http://schemas.microsoft.com/office/drawing/2014/main" id="{D2B974AB-F40F-447D-9FBF-E0713A410C3E}"/>
              </a:ext>
            </a:extLst>
          </p:cNvPr>
          <p:cNvGrpSpPr/>
          <p:nvPr/>
        </p:nvGrpSpPr>
        <p:grpSpPr>
          <a:xfrm>
            <a:off x="5551631" y="5215266"/>
            <a:ext cx="388837" cy="387249"/>
            <a:chOff x="5553076" y="5216525"/>
            <a:chExt cx="388938" cy="387350"/>
          </a:xfrm>
        </p:grpSpPr>
        <p:sp>
          <p:nvSpPr>
            <p:cNvPr id="381" name="Oval 24">
              <a:extLst>
                <a:ext uri="{FF2B5EF4-FFF2-40B4-BE49-F238E27FC236}">
                  <a16:creationId xmlns="" xmlns:a16="http://schemas.microsoft.com/office/drawing/2014/main" id="{FF3C7481-0C80-42F4-8856-F4161B1716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3076" y="5216525"/>
              <a:ext cx="388938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2" name="Freeform 29">
              <a:extLst>
                <a:ext uri="{FF2B5EF4-FFF2-40B4-BE49-F238E27FC236}">
                  <a16:creationId xmlns="" xmlns:a16="http://schemas.microsoft.com/office/drawing/2014/main" id="{8385B9B0-6245-4792-A59A-57948A908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1501" y="5305425"/>
              <a:ext cx="190500" cy="211138"/>
            </a:xfrm>
            <a:custGeom>
              <a:avLst/>
              <a:gdLst>
                <a:gd name="T0" fmla="*/ 44 w 120"/>
                <a:gd name="T1" fmla="*/ 13 h 133"/>
                <a:gd name="T2" fmla="*/ 52 w 120"/>
                <a:gd name="T3" fmla="*/ 9 h 133"/>
                <a:gd name="T4" fmla="*/ 61 w 120"/>
                <a:gd name="T5" fmla="*/ 7 h 133"/>
                <a:gd name="T6" fmla="*/ 73 w 120"/>
                <a:gd name="T7" fmla="*/ 11 h 133"/>
                <a:gd name="T8" fmla="*/ 80 w 120"/>
                <a:gd name="T9" fmla="*/ 15 h 133"/>
                <a:gd name="T10" fmla="*/ 84 w 120"/>
                <a:gd name="T11" fmla="*/ 11 h 133"/>
                <a:gd name="T12" fmla="*/ 78 w 120"/>
                <a:gd name="T13" fmla="*/ 5 h 133"/>
                <a:gd name="T14" fmla="*/ 63 w 120"/>
                <a:gd name="T15" fmla="*/ 0 h 133"/>
                <a:gd name="T16" fmla="*/ 50 w 120"/>
                <a:gd name="T17" fmla="*/ 2 h 133"/>
                <a:gd name="T18" fmla="*/ 38 w 120"/>
                <a:gd name="T19" fmla="*/ 9 h 133"/>
                <a:gd name="T20" fmla="*/ 71 w 120"/>
                <a:gd name="T21" fmla="*/ 15 h 133"/>
                <a:gd name="T22" fmla="*/ 63 w 120"/>
                <a:gd name="T23" fmla="*/ 13 h 133"/>
                <a:gd name="T24" fmla="*/ 54 w 120"/>
                <a:gd name="T25" fmla="*/ 13 h 133"/>
                <a:gd name="T26" fmla="*/ 46 w 120"/>
                <a:gd name="T27" fmla="*/ 17 h 133"/>
                <a:gd name="T28" fmla="*/ 50 w 120"/>
                <a:gd name="T29" fmla="*/ 23 h 133"/>
                <a:gd name="T30" fmla="*/ 54 w 120"/>
                <a:gd name="T31" fmla="*/ 21 h 133"/>
                <a:gd name="T32" fmla="*/ 61 w 120"/>
                <a:gd name="T33" fmla="*/ 21 h 133"/>
                <a:gd name="T34" fmla="*/ 69 w 120"/>
                <a:gd name="T35" fmla="*/ 24 h 133"/>
                <a:gd name="T36" fmla="*/ 73 w 120"/>
                <a:gd name="T37" fmla="*/ 19 h 133"/>
                <a:gd name="T38" fmla="*/ 118 w 120"/>
                <a:gd name="T39" fmla="*/ 34 h 133"/>
                <a:gd name="T40" fmla="*/ 114 w 120"/>
                <a:gd name="T41" fmla="*/ 32 h 133"/>
                <a:gd name="T42" fmla="*/ 2 w 120"/>
                <a:gd name="T43" fmla="*/ 32 h 133"/>
                <a:gd name="T44" fmla="*/ 0 w 120"/>
                <a:gd name="T45" fmla="*/ 114 h 133"/>
                <a:gd name="T46" fmla="*/ 2 w 120"/>
                <a:gd name="T47" fmla="*/ 118 h 133"/>
                <a:gd name="T48" fmla="*/ 63 w 120"/>
                <a:gd name="T49" fmla="*/ 114 h 133"/>
                <a:gd name="T50" fmla="*/ 61 w 120"/>
                <a:gd name="T51" fmla="*/ 108 h 133"/>
                <a:gd name="T52" fmla="*/ 10 w 120"/>
                <a:gd name="T53" fmla="*/ 105 h 133"/>
                <a:gd name="T54" fmla="*/ 12 w 120"/>
                <a:gd name="T55" fmla="*/ 42 h 133"/>
                <a:gd name="T56" fmla="*/ 101 w 120"/>
                <a:gd name="T57" fmla="*/ 44 h 133"/>
                <a:gd name="T58" fmla="*/ 107 w 120"/>
                <a:gd name="T59" fmla="*/ 105 h 133"/>
                <a:gd name="T60" fmla="*/ 109 w 120"/>
                <a:gd name="T61" fmla="*/ 108 h 133"/>
                <a:gd name="T62" fmla="*/ 118 w 120"/>
                <a:gd name="T63" fmla="*/ 118 h 133"/>
                <a:gd name="T64" fmla="*/ 120 w 120"/>
                <a:gd name="T65" fmla="*/ 114 h 133"/>
                <a:gd name="T66" fmla="*/ 116 w 120"/>
                <a:gd name="T67" fmla="*/ 78 h 133"/>
                <a:gd name="T68" fmla="*/ 109 w 120"/>
                <a:gd name="T69" fmla="*/ 80 h 133"/>
                <a:gd name="T70" fmla="*/ 107 w 120"/>
                <a:gd name="T71" fmla="*/ 72 h 133"/>
                <a:gd name="T72" fmla="*/ 114 w 120"/>
                <a:gd name="T73" fmla="*/ 70 h 133"/>
                <a:gd name="T74" fmla="*/ 103 w 120"/>
                <a:gd name="T75" fmla="*/ 106 h 133"/>
                <a:gd name="T76" fmla="*/ 88 w 120"/>
                <a:gd name="T77" fmla="*/ 101 h 133"/>
                <a:gd name="T78" fmla="*/ 88 w 120"/>
                <a:gd name="T79" fmla="*/ 84 h 133"/>
                <a:gd name="T80" fmla="*/ 84 w 120"/>
                <a:gd name="T81" fmla="*/ 82 h 133"/>
                <a:gd name="T82" fmla="*/ 78 w 120"/>
                <a:gd name="T83" fmla="*/ 84 h 133"/>
                <a:gd name="T84" fmla="*/ 76 w 120"/>
                <a:gd name="T85" fmla="*/ 85 h 133"/>
                <a:gd name="T86" fmla="*/ 76 w 120"/>
                <a:gd name="T87" fmla="*/ 112 h 133"/>
                <a:gd name="T88" fmla="*/ 76 w 120"/>
                <a:gd name="T89" fmla="*/ 112 h 133"/>
                <a:gd name="T90" fmla="*/ 74 w 120"/>
                <a:gd name="T91" fmla="*/ 105 h 133"/>
                <a:gd name="T92" fmla="*/ 71 w 120"/>
                <a:gd name="T93" fmla="*/ 106 h 133"/>
                <a:gd name="T94" fmla="*/ 73 w 120"/>
                <a:gd name="T95" fmla="*/ 116 h 133"/>
                <a:gd name="T96" fmla="*/ 82 w 120"/>
                <a:gd name="T97" fmla="*/ 133 h 133"/>
                <a:gd name="T98" fmla="*/ 97 w 120"/>
                <a:gd name="T99" fmla="*/ 133 h 133"/>
                <a:gd name="T100" fmla="*/ 97 w 120"/>
                <a:gd name="T101" fmla="*/ 129 h 133"/>
                <a:gd name="T102" fmla="*/ 105 w 120"/>
                <a:gd name="T103" fmla="*/ 124 h 133"/>
                <a:gd name="T104" fmla="*/ 105 w 120"/>
                <a:gd name="T105" fmla="*/ 106 h 133"/>
                <a:gd name="T106" fmla="*/ 73 w 120"/>
                <a:gd name="T107" fmla="*/ 80 h 133"/>
                <a:gd name="T108" fmla="*/ 71 w 120"/>
                <a:gd name="T109" fmla="*/ 84 h 133"/>
                <a:gd name="T110" fmla="*/ 54 w 120"/>
                <a:gd name="T111" fmla="*/ 70 h 133"/>
                <a:gd name="T112" fmla="*/ 54 w 120"/>
                <a:gd name="T113" fmla="*/ 51 h 133"/>
                <a:gd name="T114" fmla="*/ 46 w 120"/>
                <a:gd name="T115" fmla="*/ 70 h 133"/>
                <a:gd name="T116" fmla="*/ 46 w 120"/>
                <a:gd name="T117" fmla="*/ 51 h 133"/>
                <a:gd name="T118" fmla="*/ 19 w 120"/>
                <a:gd name="T119" fmla="*/ 51 h 133"/>
                <a:gd name="T120" fmla="*/ 19 w 120"/>
                <a:gd name="T121" fmla="*/ 70 h 133"/>
                <a:gd name="T122" fmla="*/ 19 w 120"/>
                <a:gd name="T123" fmla="*/ 9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133">
                  <a:moveTo>
                    <a:pt x="38" y="11"/>
                  </a:moveTo>
                  <a:lnTo>
                    <a:pt x="42" y="13"/>
                  </a:lnTo>
                  <a:lnTo>
                    <a:pt x="42" y="13"/>
                  </a:lnTo>
                  <a:lnTo>
                    <a:pt x="44" y="15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6" y="13"/>
                  </a:lnTo>
                  <a:lnTo>
                    <a:pt x="48" y="11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9" y="9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4" y="13"/>
                  </a:lnTo>
                  <a:lnTo>
                    <a:pt x="76" y="13"/>
                  </a:lnTo>
                  <a:lnTo>
                    <a:pt x="78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2" y="7"/>
                  </a:lnTo>
                  <a:lnTo>
                    <a:pt x="80" y="7"/>
                  </a:lnTo>
                  <a:lnTo>
                    <a:pt x="78" y="5"/>
                  </a:lnTo>
                  <a:lnTo>
                    <a:pt x="74" y="3"/>
                  </a:lnTo>
                  <a:lnTo>
                    <a:pt x="73" y="2"/>
                  </a:lnTo>
                  <a:lnTo>
                    <a:pt x="69" y="2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57" y="0"/>
                  </a:lnTo>
                  <a:lnTo>
                    <a:pt x="55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6" y="3"/>
                  </a:lnTo>
                  <a:lnTo>
                    <a:pt x="44" y="5"/>
                  </a:lnTo>
                  <a:lnTo>
                    <a:pt x="42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1"/>
                  </a:lnTo>
                  <a:close/>
                  <a:moveTo>
                    <a:pt x="73" y="17"/>
                  </a:moveTo>
                  <a:lnTo>
                    <a:pt x="71" y="15"/>
                  </a:lnTo>
                  <a:lnTo>
                    <a:pt x="69" y="15"/>
                  </a:lnTo>
                  <a:lnTo>
                    <a:pt x="67" y="13"/>
                  </a:lnTo>
                  <a:lnTo>
                    <a:pt x="65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1" y="11"/>
                  </a:lnTo>
                  <a:lnTo>
                    <a:pt x="59" y="11"/>
                  </a:lnTo>
                  <a:lnTo>
                    <a:pt x="57" y="11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9" y="24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17"/>
                  </a:lnTo>
                  <a:close/>
                  <a:moveTo>
                    <a:pt x="120" y="34"/>
                  </a:move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63" y="118"/>
                  </a:lnTo>
                  <a:lnTo>
                    <a:pt x="63" y="114"/>
                  </a:lnTo>
                  <a:lnTo>
                    <a:pt x="61" y="112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10" y="10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101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7" y="103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9" y="106"/>
                  </a:lnTo>
                  <a:lnTo>
                    <a:pt x="109" y="106"/>
                  </a:lnTo>
                  <a:lnTo>
                    <a:pt x="109" y="108"/>
                  </a:lnTo>
                  <a:lnTo>
                    <a:pt x="109" y="108"/>
                  </a:lnTo>
                  <a:lnTo>
                    <a:pt x="109" y="118"/>
                  </a:lnTo>
                  <a:lnTo>
                    <a:pt x="114" y="118"/>
                  </a:lnTo>
                  <a:lnTo>
                    <a:pt x="116" y="118"/>
                  </a:lnTo>
                  <a:lnTo>
                    <a:pt x="116" y="118"/>
                  </a:lnTo>
                  <a:lnTo>
                    <a:pt x="118" y="118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20" y="116"/>
                  </a:lnTo>
                  <a:lnTo>
                    <a:pt x="120" y="114"/>
                  </a:lnTo>
                  <a:lnTo>
                    <a:pt x="120" y="114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4"/>
                  </a:lnTo>
                  <a:close/>
                  <a:moveTo>
                    <a:pt x="116" y="76"/>
                  </a:moveTo>
                  <a:lnTo>
                    <a:pt x="116" y="78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0" y="80"/>
                  </a:lnTo>
                  <a:lnTo>
                    <a:pt x="109" y="80"/>
                  </a:lnTo>
                  <a:lnTo>
                    <a:pt x="109" y="78"/>
                  </a:lnTo>
                  <a:lnTo>
                    <a:pt x="107" y="78"/>
                  </a:lnTo>
                  <a:lnTo>
                    <a:pt x="107" y="76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10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6"/>
                  </a:lnTo>
                  <a:close/>
                  <a:moveTo>
                    <a:pt x="103" y="106"/>
                  </a:moveTo>
                  <a:lnTo>
                    <a:pt x="103" y="106"/>
                  </a:lnTo>
                  <a:lnTo>
                    <a:pt x="101" y="106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4" y="82"/>
                  </a:lnTo>
                  <a:lnTo>
                    <a:pt x="80" y="82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6" y="85"/>
                  </a:lnTo>
                  <a:lnTo>
                    <a:pt x="76" y="99"/>
                  </a:lnTo>
                  <a:lnTo>
                    <a:pt x="78" y="99"/>
                  </a:lnTo>
                  <a:lnTo>
                    <a:pt x="78" y="106"/>
                  </a:lnTo>
                  <a:lnTo>
                    <a:pt x="78" y="110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0"/>
                  </a:lnTo>
                  <a:lnTo>
                    <a:pt x="76" y="106"/>
                  </a:lnTo>
                  <a:lnTo>
                    <a:pt x="76" y="105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6"/>
                  </a:lnTo>
                  <a:lnTo>
                    <a:pt x="76" y="126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29"/>
                  </a:lnTo>
                  <a:lnTo>
                    <a:pt x="97" y="129"/>
                  </a:lnTo>
                  <a:lnTo>
                    <a:pt x="99" y="129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5" y="124"/>
                  </a:lnTo>
                  <a:lnTo>
                    <a:pt x="105" y="124"/>
                  </a:lnTo>
                  <a:lnTo>
                    <a:pt x="105" y="124"/>
                  </a:lnTo>
                  <a:lnTo>
                    <a:pt x="105" y="116"/>
                  </a:lnTo>
                  <a:lnTo>
                    <a:pt x="105" y="108"/>
                  </a:lnTo>
                  <a:lnTo>
                    <a:pt x="105" y="106"/>
                  </a:lnTo>
                  <a:lnTo>
                    <a:pt x="103" y="106"/>
                  </a:lnTo>
                  <a:lnTo>
                    <a:pt x="103" y="106"/>
                  </a:lnTo>
                  <a:close/>
                  <a:moveTo>
                    <a:pt x="71" y="84"/>
                  </a:moveTo>
                  <a:lnTo>
                    <a:pt x="71" y="82"/>
                  </a:lnTo>
                  <a:lnTo>
                    <a:pt x="73" y="80"/>
                  </a:lnTo>
                  <a:lnTo>
                    <a:pt x="73" y="78"/>
                  </a:lnTo>
                  <a:lnTo>
                    <a:pt x="19" y="78"/>
                  </a:lnTo>
                  <a:lnTo>
                    <a:pt x="19" y="87"/>
                  </a:lnTo>
                  <a:lnTo>
                    <a:pt x="71" y="87"/>
                  </a:lnTo>
                  <a:lnTo>
                    <a:pt x="71" y="84"/>
                  </a:lnTo>
                  <a:close/>
                  <a:moveTo>
                    <a:pt x="54" y="70"/>
                  </a:moveTo>
                  <a:lnTo>
                    <a:pt x="93" y="70"/>
                  </a:lnTo>
                  <a:lnTo>
                    <a:pt x="93" y="63"/>
                  </a:lnTo>
                  <a:lnTo>
                    <a:pt x="54" y="63"/>
                  </a:lnTo>
                  <a:lnTo>
                    <a:pt x="54" y="70"/>
                  </a:lnTo>
                  <a:close/>
                  <a:moveTo>
                    <a:pt x="54" y="51"/>
                  </a:moveTo>
                  <a:lnTo>
                    <a:pt x="54" y="59"/>
                  </a:lnTo>
                  <a:lnTo>
                    <a:pt x="76" y="59"/>
                  </a:lnTo>
                  <a:lnTo>
                    <a:pt x="76" y="51"/>
                  </a:lnTo>
                  <a:lnTo>
                    <a:pt x="54" y="51"/>
                  </a:lnTo>
                  <a:close/>
                  <a:moveTo>
                    <a:pt x="19" y="70"/>
                  </a:moveTo>
                  <a:lnTo>
                    <a:pt x="21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53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21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3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9" y="70"/>
                  </a:lnTo>
                  <a:close/>
                  <a:moveTo>
                    <a:pt x="19" y="99"/>
                  </a:moveTo>
                  <a:lnTo>
                    <a:pt x="54" y="99"/>
                  </a:lnTo>
                  <a:lnTo>
                    <a:pt x="54" y="91"/>
                  </a:lnTo>
                  <a:lnTo>
                    <a:pt x="19" y="91"/>
                  </a:lnTo>
                  <a:lnTo>
                    <a:pt x="1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85" name="组合 384">
            <a:extLst>
              <a:ext uri="{FF2B5EF4-FFF2-40B4-BE49-F238E27FC236}">
                <a16:creationId xmlns="" xmlns:a16="http://schemas.microsoft.com/office/drawing/2014/main" id="{166B3B53-3D13-4406-83ED-D421044CD549}"/>
              </a:ext>
            </a:extLst>
          </p:cNvPr>
          <p:cNvGrpSpPr/>
          <p:nvPr/>
        </p:nvGrpSpPr>
        <p:grpSpPr>
          <a:xfrm>
            <a:off x="5646856" y="4274125"/>
            <a:ext cx="385663" cy="390423"/>
            <a:chOff x="5648326" y="4275138"/>
            <a:chExt cx="385763" cy="390525"/>
          </a:xfrm>
        </p:grpSpPr>
        <p:sp>
          <p:nvSpPr>
            <p:cNvPr id="387" name="Oval 12">
              <a:extLst>
                <a:ext uri="{FF2B5EF4-FFF2-40B4-BE49-F238E27FC236}">
                  <a16:creationId xmlns="" xmlns:a16="http://schemas.microsoft.com/office/drawing/2014/main" id="{0F49BE86-DFEA-40AB-B1F5-34270BD62C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326" y="4275138"/>
              <a:ext cx="385763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8" name="Freeform 41">
              <a:extLst>
                <a:ext uri="{FF2B5EF4-FFF2-40B4-BE49-F238E27FC236}">
                  <a16:creationId xmlns="" xmlns:a16="http://schemas.microsoft.com/office/drawing/2014/main" id="{C5936970-FFD2-48E7-9AA7-0BBFCAC7C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4213" y="4337050"/>
              <a:ext cx="152400" cy="268288"/>
            </a:xfrm>
            <a:custGeom>
              <a:avLst/>
              <a:gdLst>
                <a:gd name="T0" fmla="*/ 26 w 51"/>
                <a:gd name="T1" fmla="*/ 26 h 89"/>
                <a:gd name="T2" fmla="*/ 39 w 51"/>
                <a:gd name="T3" fmla="*/ 61 h 89"/>
                <a:gd name="T4" fmla="*/ 45 w 51"/>
                <a:gd name="T5" fmla="*/ 66 h 89"/>
                <a:gd name="T6" fmla="*/ 37 w 51"/>
                <a:gd name="T7" fmla="*/ 66 h 89"/>
                <a:gd name="T8" fmla="*/ 39 w 51"/>
                <a:gd name="T9" fmla="*/ 68 h 89"/>
                <a:gd name="T10" fmla="*/ 26 w 51"/>
                <a:gd name="T11" fmla="*/ 19 h 89"/>
                <a:gd name="T12" fmla="*/ 0 w 51"/>
                <a:gd name="T13" fmla="*/ 38 h 89"/>
                <a:gd name="T14" fmla="*/ 5 w 51"/>
                <a:gd name="T15" fmla="*/ 80 h 89"/>
                <a:gd name="T16" fmla="*/ 3 w 51"/>
                <a:gd name="T17" fmla="*/ 88 h 89"/>
                <a:gd name="T18" fmla="*/ 39 w 51"/>
                <a:gd name="T19" fmla="*/ 80 h 89"/>
                <a:gd name="T20" fmla="*/ 48 w 51"/>
                <a:gd name="T21" fmla="*/ 86 h 89"/>
                <a:gd name="T22" fmla="*/ 50 w 51"/>
                <a:gd name="T23" fmla="*/ 79 h 89"/>
                <a:gd name="T24" fmla="*/ 51 w 51"/>
                <a:gd name="T25" fmla="*/ 38 h 89"/>
                <a:gd name="T26" fmla="*/ 6 w 51"/>
                <a:gd name="T27" fmla="*/ 75 h 89"/>
                <a:gd name="T28" fmla="*/ 18 w 51"/>
                <a:gd name="T29" fmla="*/ 32 h 89"/>
                <a:gd name="T30" fmla="*/ 26 w 51"/>
                <a:gd name="T31" fmla="*/ 24 h 89"/>
                <a:gd name="T32" fmla="*/ 33 w 51"/>
                <a:gd name="T33" fmla="*/ 32 h 89"/>
                <a:gd name="T34" fmla="*/ 46 w 51"/>
                <a:gd name="T35" fmla="*/ 75 h 89"/>
                <a:gd name="T36" fmla="*/ 42 w 51"/>
                <a:gd name="T37" fmla="*/ 53 h 89"/>
                <a:gd name="T38" fmla="*/ 42 w 51"/>
                <a:gd name="T39" fmla="*/ 39 h 89"/>
                <a:gd name="T40" fmla="*/ 10 w 51"/>
                <a:gd name="T41" fmla="*/ 39 h 89"/>
                <a:gd name="T42" fmla="*/ 10 w 51"/>
                <a:gd name="T43" fmla="*/ 53 h 89"/>
                <a:gd name="T44" fmla="*/ 12 w 51"/>
                <a:gd name="T45" fmla="*/ 41 h 89"/>
                <a:gd name="T46" fmla="*/ 39 w 51"/>
                <a:gd name="T47" fmla="*/ 41 h 89"/>
                <a:gd name="T48" fmla="*/ 39 w 51"/>
                <a:gd name="T49" fmla="*/ 51 h 89"/>
                <a:gd name="T50" fmla="*/ 12 w 51"/>
                <a:gd name="T51" fmla="*/ 51 h 89"/>
                <a:gd name="T52" fmla="*/ 12 w 51"/>
                <a:gd name="T53" fmla="*/ 61 h 89"/>
                <a:gd name="T54" fmla="*/ 18 w 51"/>
                <a:gd name="T55" fmla="*/ 66 h 89"/>
                <a:gd name="T56" fmla="*/ 10 w 51"/>
                <a:gd name="T57" fmla="*/ 66 h 89"/>
                <a:gd name="T58" fmla="*/ 12 w 51"/>
                <a:gd name="T59" fmla="*/ 68 h 89"/>
                <a:gd name="T60" fmla="*/ 16 w 51"/>
                <a:gd name="T61" fmla="*/ 7 h 89"/>
                <a:gd name="T62" fmla="*/ 17 w 51"/>
                <a:gd name="T63" fmla="*/ 7 h 89"/>
                <a:gd name="T64" fmla="*/ 19 w 51"/>
                <a:gd name="T65" fmla="*/ 5 h 89"/>
                <a:gd name="T66" fmla="*/ 23 w 51"/>
                <a:gd name="T67" fmla="*/ 4 h 89"/>
                <a:gd name="T68" fmla="*/ 26 w 51"/>
                <a:gd name="T69" fmla="*/ 4 h 89"/>
                <a:gd name="T70" fmla="*/ 30 w 51"/>
                <a:gd name="T71" fmla="*/ 4 h 89"/>
                <a:gd name="T72" fmla="*/ 33 w 51"/>
                <a:gd name="T73" fmla="*/ 6 h 89"/>
                <a:gd name="T74" fmla="*/ 35 w 51"/>
                <a:gd name="T75" fmla="*/ 8 h 89"/>
                <a:gd name="T76" fmla="*/ 36 w 51"/>
                <a:gd name="T77" fmla="*/ 8 h 89"/>
                <a:gd name="T78" fmla="*/ 38 w 51"/>
                <a:gd name="T79" fmla="*/ 6 h 89"/>
                <a:gd name="T80" fmla="*/ 37 w 51"/>
                <a:gd name="T81" fmla="*/ 4 h 89"/>
                <a:gd name="T82" fmla="*/ 33 w 51"/>
                <a:gd name="T83" fmla="*/ 2 h 89"/>
                <a:gd name="T84" fmla="*/ 28 w 51"/>
                <a:gd name="T85" fmla="*/ 0 h 89"/>
                <a:gd name="T86" fmla="*/ 24 w 51"/>
                <a:gd name="T87" fmla="*/ 0 h 89"/>
                <a:gd name="T88" fmla="*/ 19 w 51"/>
                <a:gd name="T89" fmla="*/ 1 h 89"/>
                <a:gd name="T90" fmla="*/ 15 w 51"/>
                <a:gd name="T91" fmla="*/ 3 h 89"/>
                <a:gd name="T92" fmla="*/ 14 w 51"/>
                <a:gd name="T93" fmla="*/ 5 h 89"/>
                <a:gd name="T94" fmla="*/ 30 w 51"/>
                <a:gd name="T95" fmla="*/ 8 h 89"/>
                <a:gd name="T96" fmla="*/ 28 w 51"/>
                <a:gd name="T97" fmla="*/ 7 h 89"/>
                <a:gd name="T98" fmla="*/ 25 w 51"/>
                <a:gd name="T99" fmla="*/ 6 h 89"/>
                <a:gd name="T100" fmla="*/ 23 w 51"/>
                <a:gd name="T101" fmla="*/ 6 h 89"/>
                <a:gd name="T102" fmla="*/ 20 w 51"/>
                <a:gd name="T103" fmla="*/ 7 h 89"/>
                <a:gd name="T104" fmla="*/ 18 w 51"/>
                <a:gd name="T105" fmla="*/ 9 h 89"/>
                <a:gd name="T106" fmla="*/ 18 w 51"/>
                <a:gd name="T107" fmla="*/ 9 h 89"/>
                <a:gd name="T108" fmla="*/ 20 w 51"/>
                <a:gd name="T109" fmla="*/ 12 h 89"/>
                <a:gd name="T110" fmla="*/ 21 w 51"/>
                <a:gd name="T111" fmla="*/ 12 h 89"/>
                <a:gd name="T112" fmla="*/ 23 w 51"/>
                <a:gd name="T113" fmla="*/ 10 h 89"/>
                <a:gd name="T114" fmla="*/ 26 w 51"/>
                <a:gd name="T115" fmla="*/ 10 h 89"/>
                <a:gd name="T116" fmla="*/ 28 w 51"/>
                <a:gd name="T117" fmla="*/ 12 h 89"/>
                <a:gd name="T118" fmla="*/ 29 w 51"/>
                <a:gd name="T119" fmla="*/ 12 h 89"/>
                <a:gd name="T120" fmla="*/ 32 w 51"/>
                <a:gd name="T121" fmla="*/ 10 h 89"/>
                <a:gd name="T122" fmla="*/ 32 w 51"/>
                <a:gd name="T123" fmla="*/ 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" h="89">
                  <a:moveTo>
                    <a:pt x="26" y="32"/>
                  </a:moveTo>
                  <a:cubicBezTo>
                    <a:pt x="27" y="32"/>
                    <a:pt x="28" y="31"/>
                    <a:pt x="28" y="29"/>
                  </a:cubicBezTo>
                  <a:cubicBezTo>
                    <a:pt x="28" y="28"/>
                    <a:pt x="27" y="26"/>
                    <a:pt x="26" y="26"/>
                  </a:cubicBezTo>
                  <a:cubicBezTo>
                    <a:pt x="24" y="26"/>
                    <a:pt x="23" y="28"/>
                    <a:pt x="23" y="29"/>
                  </a:cubicBezTo>
                  <a:cubicBezTo>
                    <a:pt x="23" y="31"/>
                    <a:pt x="24" y="32"/>
                    <a:pt x="26" y="32"/>
                  </a:cubicBezTo>
                  <a:close/>
                  <a:moveTo>
                    <a:pt x="39" y="61"/>
                  </a:moveTo>
                  <a:cubicBezTo>
                    <a:pt x="36" y="61"/>
                    <a:pt x="34" y="63"/>
                    <a:pt x="34" y="66"/>
                  </a:cubicBezTo>
                  <a:cubicBezTo>
                    <a:pt x="34" y="69"/>
                    <a:pt x="36" y="72"/>
                    <a:pt x="39" y="72"/>
                  </a:cubicBezTo>
                  <a:cubicBezTo>
                    <a:pt x="42" y="72"/>
                    <a:pt x="45" y="69"/>
                    <a:pt x="45" y="66"/>
                  </a:cubicBezTo>
                  <a:cubicBezTo>
                    <a:pt x="45" y="63"/>
                    <a:pt x="42" y="61"/>
                    <a:pt x="39" y="61"/>
                  </a:cubicBezTo>
                  <a:close/>
                  <a:moveTo>
                    <a:pt x="39" y="68"/>
                  </a:moveTo>
                  <a:cubicBezTo>
                    <a:pt x="38" y="68"/>
                    <a:pt x="37" y="67"/>
                    <a:pt x="37" y="66"/>
                  </a:cubicBezTo>
                  <a:cubicBezTo>
                    <a:pt x="37" y="65"/>
                    <a:pt x="38" y="64"/>
                    <a:pt x="39" y="64"/>
                  </a:cubicBezTo>
                  <a:cubicBezTo>
                    <a:pt x="41" y="64"/>
                    <a:pt x="41" y="65"/>
                    <a:pt x="41" y="66"/>
                  </a:cubicBezTo>
                  <a:cubicBezTo>
                    <a:pt x="41" y="67"/>
                    <a:pt x="41" y="68"/>
                    <a:pt x="39" y="68"/>
                  </a:cubicBezTo>
                  <a:close/>
                  <a:moveTo>
                    <a:pt x="40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5" y="22"/>
                    <a:pt x="30" y="19"/>
                    <a:pt x="26" y="19"/>
                  </a:cubicBezTo>
                  <a:cubicBezTo>
                    <a:pt x="21" y="19"/>
                    <a:pt x="17" y="22"/>
                    <a:pt x="16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6" y="26"/>
                    <a:pt x="0" y="32"/>
                    <a:pt x="0" y="38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7"/>
                    <a:pt x="1" y="78"/>
                    <a:pt x="2" y="79"/>
                  </a:cubicBezTo>
                  <a:cubicBezTo>
                    <a:pt x="3" y="80"/>
                    <a:pt x="4" y="80"/>
                    <a:pt x="5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4" y="89"/>
                    <a:pt x="5" y="89"/>
                    <a:pt x="6" y="88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9"/>
                    <a:pt x="47" y="89"/>
                    <a:pt x="48" y="88"/>
                  </a:cubicBezTo>
                  <a:cubicBezTo>
                    <a:pt x="49" y="88"/>
                    <a:pt x="49" y="87"/>
                    <a:pt x="48" y="86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7" y="80"/>
                    <a:pt x="49" y="80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1" y="78"/>
                    <a:pt x="51" y="77"/>
                    <a:pt x="51" y="75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2"/>
                    <a:pt x="46" y="26"/>
                    <a:pt x="40" y="26"/>
                  </a:cubicBezTo>
                  <a:close/>
                  <a:moveTo>
                    <a:pt x="46" y="75"/>
                  </a:moveTo>
                  <a:cubicBezTo>
                    <a:pt x="6" y="75"/>
                    <a:pt x="6" y="75"/>
                    <a:pt x="6" y="75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8" y="32"/>
                    <a:pt x="12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20" y="32"/>
                    <a:pt x="21" y="31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6"/>
                    <a:pt x="23" y="24"/>
                    <a:pt x="26" y="24"/>
                  </a:cubicBezTo>
                  <a:cubicBezTo>
                    <a:pt x="28" y="24"/>
                    <a:pt x="31" y="26"/>
                    <a:pt x="31" y="29"/>
                  </a:cubicBezTo>
                  <a:cubicBezTo>
                    <a:pt x="31" y="31"/>
                    <a:pt x="32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3" y="32"/>
                    <a:pt x="46" y="35"/>
                    <a:pt x="46" y="38"/>
                  </a:cubicBezTo>
                  <a:cubicBezTo>
                    <a:pt x="46" y="44"/>
                    <a:pt x="46" y="50"/>
                    <a:pt x="46" y="75"/>
                  </a:cubicBezTo>
                  <a:close/>
                  <a:moveTo>
                    <a:pt x="13" y="54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40" y="54"/>
                    <a:pt x="41" y="54"/>
                    <a:pt x="42" y="53"/>
                  </a:cubicBezTo>
                  <a:cubicBezTo>
                    <a:pt x="42" y="52"/>
                    <a:pt x="43" y="51"/>
                    <a:pt x="43" y="5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0"/>
                    <a:pt x="42" y="39"/>
                    <a:pt x="42" y="39"/>
                  </a:cubicBezTo>
                  <a:cubicBezTo>
                    <a:pt x="41" y="38"/>
                    <a:pt x="40" y="37"/>
                    <a:pt x="39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7"/>
                    <a:pt x="11" y="38"/>
                    <a:pt x="10" y="39"/>
                  </a:cubicBezTo>
                  <a:cubicBezTo>
                    <a:pt x="9" y="39"/>
                    <a:pt x="9" y="40"/>
                    <a:pt x="9" y="42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1"/>
                    <a:pt x="9" y="52"/>
                    <a:pt x="10" y="53"/>
                  </a:cubicBezTo>
                  <a:cubicBezTo>
                    <a:pt x="11" y="54"/>
                    <a:pt x="12" y="54"/>
                    <a:pt x="13" y="54"/>
                  </a:cubicBezTo>
                  <a:close/>
                  <a:moveTo>
                    <a:pt x="12" y="42"/>
                  </a:moveTo>
                  <a:cubicBezTo>
                    <a:pt x="12" y="41"/>
                    <a:pt x="12" y="41"/>
                    <a:pt x="12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0"/>
                    <a:pt x="12" y="50"/>
                    <a:pt x="12" y="50"/>
                  </a:cubicBezTo>
                  <a:lnTo>
                    <a:pt x="12" y="42"/>
                  </a:lnTo>
                  <a:close/>
                  <a:moveTo>
                    <a:pt x="12" y="61"/>
                  </a:moveTo>
                  <a:cubicBezTo>
                    <a:pt x="9" y="61"/>
                    <a:pt x="7" y="63"/>
                    <a:pt x="7" y="66"/>
                  </a:cubicBezTo>
                  <a:cubicBezTo>
                    <a:pt x="7" y="69"/>
                    <a:pt x="9" y="72"/>
                    <a:pt x="12" y="72"/>
                  </a:cubicBezTo>
                  <a:cubicBezTo>
                    <a:pt x="15" y="72"/>
                    <a:pt x="18" y="69"/>
                    <a:pt x="18" y="66"/>
                  </a:cubicBezTo>
                  <a:cubicBezTo>
                    <a:pt x="18" y="63"/>
                    <a:pt x="15" y="61"/>
                    <a:pt x="12" y="61"/>
                  </a:cubicBezTo>
                  <a:close/>
                  <a:moveTo>
                    <a:pt x="12" y="68"/>
                  </a:moveTo>
                  <a:cubicBezTo>
                    <a:pt x="11" y="68"/>
                    <a:pt x="10" y="67"/>
                    <a:pt x="10" y="66"/>
                  </a:cubicBezTo>
                  <a:cubicBezTo>
                    <a:pt x="10" y="65"/>
                    <a:pt x="11" y="64"/>
                    <a:pt x="12" y="64"/>
                  </a:cubicBezTo>
                  <a:cubicBezTo>
                    <a:pt x="13" y="64"/>
                    <a:pt x="14" y="65"/>
                    <a:pt x="14" y="66"/>
                  </a:cubicBezTo>
                  <a:cubicBezTo>
                    <a:pt x="14" y="67"/>
                    <a:pt x="13" y="68"/>
                    <a:pt x="12" y="68"/>
                  </a:cubicBezTo>
                  <a:close/>
                  <a:moveTo>
                    <a:pt x="14" y="5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lose/>
                  <a:moveTo>
                    <a:pt x="31" y="9"/>
                  </a:moveTo>
                  <a:cubicBezTo>
                    <a:pt x="30" y="8"/>
                    <a:pt x="30" y="8"/>
                    <a:pt x="30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lnTo>
                    <a:pt x="3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91" name="组合 390">
            <a:extLst>
              <a:ext uri="{FF2B5EF4-FFF2-40B4-BE49-F238E27FC236}">
                <a16:creationId xmlns="" xmlns:a16="http://schemas.microsoft.com/office/drawing/2014/main" id="{66E19B87-1F2F-4470-9501-684FF35DC964}"/>
              </a:ext>
            </a:extLst>
          </p:cNvPr>
          <p:cNvGrpSpPr/>
          <p:nvPr/>
        </p:nvGrpSpPr>
        <p:grpSpPr>
          <a:xfrm>
            <a:off x="2355238" y="4467749"/>
            <a:ext cx="388837" cy="390423"/>
            <a:chOff x="2355851" y="4468813"/>
            <a:chExt cx="388938" cy="390525"/>
          </a:xfrm>
        </p:grpSpPr>
        <p:sp>
          <p:nvSpPr>
            <p:cNvPr id="393" name="Oval 25">
              <a:extLst>
                <a:ext uri="{FF2B5EF4-FFF2-40B4-BE49-F238E27FC236}">
                  <a16:creationId xmlns="" xmlns:a16="http://schemas.microsoft.com/office/drawing/2014/main" id="{CC4CB680-ABA2-448D-8815-ED2FB5811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5851" y="4468813"/>
              <a:ext cx="388938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4" name="Freeform 35">
              <a:extLst>
                <a:ext uri="{FF2B5EF4-FFF2-40B4-BE49-F238E27FC236}">
                  <a16:creationId xmlns="" xmlns:a16="http://schemas.microsoft.com/office/drawing/2014/main" id="{18A2CCC2-7B3A-4FFA-AE56-F28FB8403A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5863" y="4524375"/>
              <a:ext cx="188913" cy="280988"/>
            </a:xfrm>
            <a:custGeom>
              <a:avLst/>
              <a:gdLst>
                <a:gd name="T0" fmla="*/ 19 w 119"/>
                <a:gd name="T1" fmla="*/ 44 h 177"/>
                <a:gd name="T2" fmla="*/ 21 w 119"/>
                <a:gd name="T3" fmla="*/ 36 h 177"/>
                <a:gd name="T4" fmla="*/ 26 w 119"/>
                <a:gd name="T5" fmla="*/ 23 h 177"/>
                <a:gd name="T6" fmla="*/ 36 w 119"/>
                <a:gd name="T7" fmla="*/ 13 h 177"/>
                <a:gd name="T8" fmla="*/ 49 w 119"/>
                <a:gd name="T9" fmla="*/ 9 h 177"/>
                <a:gd name="T10" fmla="*/ 51 w 119"/>
                <a:gd name="T11" fmla="*/ 2 h 177"/>
                <a:gd name="T12" fmla="*/ 45 w 119"/>
                <a:gd name="T13" fmla="*/ 0 h 177"/>
                <a:gd name="T14" fmla="*/ 28 w 119"/>
                <a:gd name="T15" fmla="*/ 7 h 177"/>
                <a:gd name="T16" fmla="*/ 17 w 119"/>
                <a:gd name="T17" fmla="*/ 21 h 177"/>
                <a:gd name="T18" fmla="*/ 11 w 119"/>
                <a:gd name="T19" fmla="*/ 38 h 177"/>
                <a:gd name="T20" fmla="*/ 45 w 119"/>
                <a:gd name="T21" fmla="*/ 15 h 177"/>
                <a:gd name="T22" fmla="*/ 36 w 119"/>
                <a:gd name="T23" fmla="*/ 19 h 177"/>
                <a:gd name="T24" fmla="*/ 30 w 119"/>
                <a:gd name="T25" fmla="*/ 25 h 177"/>
                <a:gd name="T26" fmla="*/ 28 w 119"/>
                <a:gd name="T27" fmla="*/ 34 h 177"/>
                <a:gd name="T28" fmla="*/ 28 w 119"/>
                <a:gd name="T29" fmla="*/ 40 h 177"/>
                <a:gd name="T30" fmla="*/ 34 w 119"/>
                <a:gd name="T31" fmla="*/ 38 h 177"/>
                <a:gd name="T32" fmla="*/ 38 w 119"/>
                <a:gd name="T33" fmla="*/ 28 h 177"/>
                <a:gd name="T34" fmla="*/ 45 w 119"/>
                <a:gd name="T35" fmla="*/ 25 h 177"/>
                <a:gd name="T36" fmla="*/ 47 w 119"/>
                <a:gd name="T37" fmla="*/ 17 h 177"/>
                <a:gd name="T38" fmla="*/ 79 w 119"/>
                <a:gd name="T39" fmla="*/ 9 h 177"/>
                <a:gd name="T40" fmla="*/ 93 w 119"/>
                <a:gd name="T41" fmla="*/ 13 h 177"/>
                <a:gd name="T42" fmla="*/ 102 w 119"/>
                <a:gd name="T43" fmla="*/ 23 h 177"/>
                <a:gd name="T44" fmla="*/ 106 w 119"/>
                <a:gd name="T45" fmla="*/ 36 h 177"/>
                <a:gd name="T46" fmla="*/ 108 w 119"/>
                <a:gd name="T47" fmla="*/ 44 h 177"/>
                <a:gd name="T48" fmla="*/ 116 w 119"/>
                <a:gd name="T49" fmla="*/ 42 h 177"/>
                <a:gd name="T50" fmla="*/ 114 w 119"/>
                <a:gd name="T51" fmla="*/ 26 h 177"/>
                <a:gd name="T52" fmla="*/ 106 w 119"/>
                <a:gd name="T53" fmla="*/ 13 h 177"/>
                <a:gd name="T54" fmla="*/ 91 w 119"/>
                <a:gd name="T55" fmla="*/ 2 h 177"/>
                <a:gd name="T56" fmla="*/ 78 w 119"/>
                <a:gd name="T57" fmla="*/ 2 h 177"/>
                <a:gd name="T58" fmla="*/ 78 w 119"/>
                <a:gd name="T59" fmla="*/ 9 h 177"/>
                <a:gd name="T60" fmla="*/ 81 w 119"/>
                <a:gd name="T61" fmla="*/ 25 h 177"/>
                <a:gd name="T62" fmla="*/ 89 w 119"/>
                <a:gd name="T63" fmla="*/ 30 h 177"/>
                <a:gd name="T64" fmla="*/ 91 w 119"/>
                <a:gd name="T65" fmla="*/ 38 h 177"/>
                <a:gd name="T66" fmla="*/ 100 w 119"/>
                <a:gd name="T67" fmla="*/ 38 h 177"/>
                <a:gd name="T68" fmla="*/ 100 w 119"/>
                <a:gd name="T69" fmla="*/ 32 h 177"/>
                <a:gd name="T70" fmla="*/ 95 w 119"/>
                <a:gd name="T71" fmla="*/ 23 h 177"/>
                <a:gd name="T72" fmla="*/ 87 w 119"/>
                <a:gd name="T73" fmla="*/ 17 h 177"/>
                <a:gd name="T74" fmla="*/ 79 w 119"/>
                <a:gd name="T75" fmla="*/ 15 h 177"/>
                <a:gd name="T76" fmla="*/ 78 w 119"/>
                <a:gd name="T77" fmla="*/ 25 h 177"/>
                <a:gd name="T78" fmla="*/ 72 w 119"/>
                <a:gd name="T79" fmla="*/ 63 h 177"/>
                <a:gd name="T80" fmla="*/ 78 w 119"/>
                <a:gd name="T81" fmla="*/ 55 h 177"/>
                <a:gd name="T82" fmla="*/ 79 w 119"/>
                <a:gd name="T83" fmla="*/ 46 h 177"/>
                <a:gd name="T84" fmla="*/ 76 w 119"/>
                <a:gd name="T85" fmla="*/ 38 h 177"/>
                <a:gd name="T86" fmla="*/ 68 w 119"/>
                <a:gd name="T87" fmla="*/ 32 h 177"/>
                <a:gd name="T88" fmla="*/ 60 w 119"/>
                <a:gd name="T89" fmla="*/ 32 h 177"/>
                <a:gd name="T90" fmla="*/ 53 w 119"/>
                <a:gd name="T91" fmla="*/ 34 h 177"/>
                <a:gd name="T92" fmla="*/ 47 w 119"/>
                <a:gd name="T93" fmla="*/ 40 h 177"/>
                <a:gd name="T94" fmla="*/ 45 w 119"/>
                <a:gd name="T95" fmla="*/ 49 h 177"/>
                <a:gd name="T96" fmla="*/ 47 w 119"/>
                <a:gd name="T97" fmla="*/ 57 h 177"/>
                <a:gd name="T98" fmla="*/ 15 w 119"/>
                <a:gd name="T99" fmla="*/ 158 h 177"/>
                <a:gd name="T100" fmla="*/ 119 w 119"/>
                <a:gd name="T101" fmla="*/ 177 h 177"/>
                <a:gd name="T102" fmla="*/ 72 w 119"/>
                <a:gd name="T103" fmla="*/ 107 h 177"/>
                <a:gd name="T104" fmla="*/ 55 w 119"/>
                <a:gd name="T105" fmla="*/ 91 h 177"/>
                <a:gd name="T106" fmla="*/ 72 w 119"/>
                <a:gd name="T107" fmla="*/ 135 h 177"/>
                <a:gd name="T108" fmla="*/ 83 w 119"/>
                <a:gd name="T109" fmla="*/ 14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" h="177">
                  <a:moveTo>
                    <a:pt x="13" y="44"/>
                  </a:moveTo>
                  <a:lnTo>
                    <a:pt x="13" y="44"/>
                  </a:lnTo>
                  <a:lnTo>
                    <a:pt x="13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3" y="32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4" y="25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28" y="19"/>
                  </a:lnTo>
                  <a:lnTo>
                    <a:pt x="30" y="17"/>
                  </a:lnTo>
                  <a:lnTo>
                    <a:pt x="32" y="15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40" y="11"/>
                  </a:lnTo>
                  <a:lnTo>
                    <a:pt x="43" y="11"/>
                  </a:lnTo>
                  <a:lnTo>
                    <a:pt x="45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2" y="2"/>
                  </a:lnTo>
                  <a:lnTo>
                    <a:pt x="38" y="2"/>
                  </a:lnTo>
                  <a:lnTo>
                    <a:pt x="34" y="4"/>
                  </a:lnTo>
                  <a:lnTo>
                    <a:pt x="30" y="5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19" y="17"/>
                  </a:lnTo>
                  <a:lnTo>
                    <a:pt x="17" y="21"/>
                  </a:lnTo>
                  <a:lnTo>
                    <a:pt x="15" y="23"/>
                  </a:lnTo>
                  <a:lnTo>
                    <a:pt x="15" y="26"/>
                  </a:lnTo>
                  <a:lnTo>
                    <a:pt x="13" y="30"/>
                  </a:lnTo>
                  <a:lnTo>
                    <a:pt x="13" y="34"/>
                  </a:lnTo>
                  <a:lnTo>
                    <a:pt x="11" y="38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3" y="44"/>
                  </a:lnTo>
                  <a:close/>
                  <a:moveTo>
                    <a:pt x="45" y="15"/>
                  </a:moveTo>
                  <a:lnTo>
                    <a:pt x="45" y="15"/>
                  </a:lnTo>
                  <a:lnTo>
                    <a:pt x="43" y="15"/>
                  </a:lnTo>
                  <a:lnTo>
                    <a:pt x="42" y="17"/>
                  </a:lnTo>
                  <a:lnTo>
                    <a:pt x="40" y="17"/>
                  </a:lnTo>
                  <a:lnTo>
                    <a:pt x="38" y="17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28" y="28"/>
                  </a:lnTo>
                  <a:lnTo>
                    <a:pt x="28" y="30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6" y="30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26"/>
                  </a:lnTo>
                  <a:lnTo>
                    <a:pt x="42" y="26"/>
                  </a:lnTo>
                  <a:lnTo>
                    <a:pt x="43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7" y="25"/>
                  </a:lnTo>
                  <a:lnTo>
                    <a:pt x="47" y="23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5" y="17"/>
                  </a:lnTo>
                  <a:lnTo>
                    <a:pt x="45" y="15"/>
                  </a:lnTo>
                  <a:close/>
                  <a:moveTo>
                    <a:pt x="78" y="9"/>
                  </a:moveTo>
                  <a:lnTo>
                    <a:pt x="79" y="9"/>
                  </a:lnTo>
                  <a:lnTo>
                    <a:pt x="81" y="9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91" y="13"/>
                  </a:lnTo>
                  <a:lnTo>
                    <a:pt x="93" y="13"/>
                  </a:lnTo>
                  <a:lnTo>
                    <a:pt x="95" y="15"/>
                  </a:lnTo>
                  <a:lnTo>
                    <a:pt x="97" y="17"/>
                  </a:lnTo>
                  <a:lnTo>
                    <a:pt x="98" y="19"/>
                  </a:lnTo>
                  <a:lnTo>
                    <a:pt x="100" y="21"/>
                  </a:lnTo>
                  <a:lnTo>
                    <a:pt x="102" y="23"/>
                  </a:lnTo>
                  <a:lnTo>
                    <a:pt x="104" y="25"/>
                  </a:lnTo>
                  <a:lnTo>
                    <a:pt x="104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6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4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6" y="38"/>
                  </a:lnTo>
                  <a:lnTo>
                    <a:pt x="116" y="34"/>
                  </a:lnTo>
                  <a:lnTo>
                    <a:pt x="116" y="30"/>
                  </a:lnTo>
                  <a:lnTo>
                    <a:pt x="114" y="26"/>
                  </a:lnTo>
                  <a:lnTo>
                    <a:pt x="112" y="23"/>
                  </a:lnTo>
                  <a:lnTo>
                    <a:pt x="112" y="21"/>
                  </a:lnTo>
                  <a:lnTo>
                    <a:pt x="110" y="17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2" y="9"/>
                  </a:lnTo>
                  <a:lnTo>
                    <a:pt x="100" y="7"/>
                  </a:lnTo>
                  <a:lnTo>
                    <a:pt x="97" y="5"/>
                  </a:lnTo>
                  <a:lnTo>
                    <a:pt x="93" y="4"/>
                  </a:lnTo>
                  <a:lnTo>
                    <a:pt x="91" y="2"/>
                  </a:lnTo>
                  <a:lnTo>
                    <a:pt x="87" y="2"/>
                  </a:lnTo>
                  <a:lnTo>
                    <a:pt x="8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close/>
                  <a:moveTo>
                    <a:pt x="78" y="25"/>
                  </a:moveTo>
                  <a:lnTo>
                    <a:pt x="79" y="25"/>
                  </a:lnTo>
                  <a:lnTo>
                    <a:pt x="79" y="25"/>
                  </a:lnTo>
                  <a:lnTo>
                    <a:pt x="81" y="25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7" y="28"/>
                  </a:lnTo>
                  <a:lnTo>
                    <a:pt x="89" y="28"/>
                  </a:lnTo>
                  <a:lnTo>
                    <a:pt x="89" y="30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0" y="36"/>
                  </a:lnTo>
                  <a:lnTo>
                    <a:pt x="100" y="34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28"/>
                  </a:lnTo>
                  <a:lnTo>
                    <a:pt x="98" y="26"/>
                  </a:lnTo>
                  <a:lnTo>
                    <a:pt x="97" y="25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3" y="21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7" y="17"/>
                  </a:lnTo>
                  <a:lnTo>
                    <a:pt x="85" y="17"/>
                  </a:lnTo>
                  <a:lnTo>
                    <a:pt x="83" y="17"/>
                  </a:lnTo>
                  <a:lnTo>
                    <a:pt x="81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23"/>
                  </a:lnTo>
                  <a:lnTo>
                    <a:pt x="78" y="25"/>
                  </a:lnTo>
                  <a:lnTo>
                    <a:pt x="78" y="25"/>
                  </a:lnTo>
                  <a:close/>
                  <a:moveTo>
                    <a:pt x="114" y="169"/>
                  </a:moveTo>
                  <a:lnTo>
                    <a:pt x="104" y="158"/>
                  </a:lnTo>
                  <a:lnTo>
                    <a:pt x="98" y="158"/>
                  </a:lnTo>
                  <a:lnTo>
                    <a:pt x="72" y="63"/>
                  </a:lnTo>
                  <a:lnTo>
                    <a:pt x="74" y="6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8" y="57"/>
                  </a:lnTo>
                  <a:lnTo>
                    <a:pt x="78" y="55"/>
                  </a:lnTo>
                  <a:lnTo>
                    <a:pt x="79" y="53"/>
                  </a:lnTo>
                  <a:lnTo>
                    <a:pt x="79" y="51"/>
                  </a:lnTo>
                  <a:lnTo>
                    <a:pt x="79" y="49"/>
                  </a:lnTo>
                  <a:lnTo>
                    <a:pt x="79" y="47"/>
                  </a:lnTo>
                  <a:lnTo>
                    <a:pt x="79" y="46"/>
                  </a:lnTo>
                  <a:lnTo>
                    <a:pt x="78" y="44"/>
                  </a:lnTo>
                  <a:lnTo>
                    <a:pt x="78" y="42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6" y="38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68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0" y="32"/>
                  </a:lnTo>
                  <a:lnTo>
                    <a:pt x="59" y="32"/>
                  </a:lnTo>
                  <a:lnTo>
                    <a:pt x="57" y="32"/>
                  </a:lnTo>
                  <a:lnTo>
                    <a:pt x="55" y="32"/>
                  </a:lnTo>
                  <a:lnTo>
                    <a:pt x="55" y="34"/>
                  </a:lnTo>
                  <a:lnTo>
                    <a:pt x="53" y="34"/>
                  </a:lnTo>
                  <a:lnTo>
                    <a:pt x="51" y="36"/>
                  </a:lnTo>
                  <a:lnTo>
                    <a:pt x="49" y="36"/>
                  </a:lnTo>
                  <a:lnTo>
                    <a:pt x="49" y="38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2"/>
                  </a:lnTo>
                  <a:lnTo>
                    <a:pt x="45" y="44"/>
                  </a:lnTo>
                  <a:lnTo>
                    <a:pt x="45" y="46"/>
                  </a:lnTo>
                  <a:lnTo>
                    <a:pt x="45" y="47"/>
                  </a:lnTo>
                  <a:lnTo>
                    <a:pt x="45" y="49"/>
                  </a:lnTo>
                  <a:lnTo>
                    <a:pt x="45" y="51"/>
                  </a:lnTo>
                  <a:lnTo>
                    <a:pt x="45" y="53"/>
                  </a:lnTo>
                  <a:lnTo>
                    <a:pt x="45" y="55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9" y="59"/>
                  </a:lnTo>
                  <a:lnTo>
                    <a:pt x="49" y="61"/>
                  </a:lnTo>
                  <a:lnTo>
                    <a:pt x="51" y="63"/>
                  </a:lnTo>
                  <a:lnTo>
                    <a:pt x="24" y="158"/>
                  </a:lnTo>
                  <a:lnTo>
                    <a:pt x="15" y="158"/>
                  </a:lnTo>
                  <a:lnTo>
                    <a:pt x="5" y="169"/>
                  </a:lnTo>
                  <a:lnTo>
                    <a:pt x="0" y="177"/>
                  </a:lnTo>
                  <a:lnTo>
                    <a:pt x="21" y="177"/>
                  </a:lnTo>
                  <a:lnTo>
                    <a:pt x="104" y="177"/>
                  </a:lnTo>
                  <a:lnTo>
                    <a:pt x="119" y="177"/>
                  </a:lnTo>
                  <a:lnTo>
                    <a:pt x="114" y="169"/>
                  </a:lnTo>
                  <a:close/>
                  <a:moveTo>
                    <a:pt x="72" y="107"/>
                  </a:moveTo>
                  <a:lnTo>
                    <a:pt x="78" y="126"/>
                  </a:lnTo>
                  <a:lnTo>
                    <a:pt x="57" y="116"/>
                  </a:lnTo>
                  <a:lnTo>
                    <a:pt x="72" y="107"/>
                  </a:lnTo>
                  <a:close/>
                  <a:moveTo>
                    <a:pt x="62" y="66"/>
                  </a:moveTo>
                  <a:lnTo>
                    <a:pt x="66" y="86"/>
                  </a:lnTo>
                  <a:lnTo>
                    <a:pt x="59" y="80"/>
                  </a:lnTo>
                  <a:lnTo>
                    <a:pt x="62" y="66"/>
                  </a:lnTo>
                  <a:close/>
                  <a:moveTo>
                    <a:pt x="55" y="91"/>
                  </a:moveTo>
                  <a:lnTo>
                    <a:pt x="66" y="97"/>
                  </a:lnTo>
                  <a:lnTo>
                    <a:pt x="51" y="105"/>
                  </a:lnTo>
                  <a:lnTo>
                    <a:pt x="55" y="91"/>
                  </a:lnTo>
                  <a:close/>
                  <a:moveTo>
                    <a:pt x="45" y="124"/>
                  </a:moveTo>
                  <a:lnTo>
                    <a:pt x="72" y="135"/>
                  </a:lnTo>
                  <a:lnTo>
                    <a:pt x="40" y="145"/>
                  </a:lnTo>
                  <a:lnTo>
                    <a:pt x="45" y="124"/>
                  </a:lnTo>
                  <a:close/>
                  <a:moveTo>
                    <a:pt x="72" y="158"/>
                  </a:moveTo>
                  <a:lnTo>
                    <a:pt x="51" y="152"/>
                  </a:lnTo>
                  <a:lnTo>
                    <a:pt x="83" y="143"/>
                  </a:lnTo>
                  <a:lnTo>
                    <a:pt x="87" y="158"/>
                  </a:lnTo>
                  <a:lnTo>
                    <a:pt x="72" y="1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97" name="组合 396">
            <a:extLst>
              <a:ext uri="{FF2B5EF4-FFF2-40B4-BE49-F238E27FC236}">
                <a16:creationId xmlns="" xmlns:a16="http://schemas.microsoft.com/office/drawing/2014/main" id="{7936DD8F-9808-418F-B747-B0E16DCBCF92}"/>
              </a:ext>
            </a:extLst>
          </p:cNvPr>
          <p:cNvGrpSpPr/>
          <p:nvPr/>
        </p:nvGrpSpPr>
        <p:grpSpPr>
          <a:xfrm>
            <a:off x="1664855" y="5845340"/>
            <a:ext cx="485649" cy="487236"/>
            <a:chOff x="1665288" y="5846763"/>
            <a:chExt cx="485775" cy="487363"/>
          </a:xfrm>
        </p:grpSpPr>
        <p:sp>
          <p:nvSpPr>
            <p:cNvPr id="399" name="Oval 5">
              <a:extLst>
                <a:ext uri="{FF2B5EF4-FFF2-40B4-BE49-F238E27FC236}">
                  <a16:creationId xmlns="" xmlns:a16="http://schemas.microsoft.com/office/drawing/2014/main" id="{79C804D3-4D62-46BB-9031-B217CF5E7C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5288" y="5846763"/>
              <a:ext cx="485775" cy="487363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0" name="Freeform 14">
              <a:extLst>
                <a:ext uri="{FF2B5EF4-FFF2-40B4-BE49-F238E27FC236}">
                  <a16:creationId xmlns="" xmlns:a16="http://schemas.microsoft.com/office/drawing/2014/main" id="{0A1DBAFF-2C5F-4027-89C0-2A5E005D57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1976" y="5934075"/>
              <a:ext cx="288925" cy="273050"/>
            </a:xfrm>
            <a:custGeom>
              <a:avLst/>
              <a:gdLst>
                <a:gd name="T0" fmla="*/ 30 w 182"/>
                <a:gd name="T1" fmla="*/ 67 h 172"/>
                <a:gd name="T2" fmla="*/ 44 w 182"/>
                <a:gd name="T3" fmla="*/ 56 h 172"/>
                <a:gd name="T4" fmla="*/ 53 w 182"/>
                <a:gd name="T5" fmla="*/ 54 h 172"/>
                <a:gd name="T6" fmla="*/ 127 w 182"/>
                <a:gd name="T7" fmla="*/ 118 h 172"/>
                <a:gd name="T8" fmla="*/ 118 w 182"/>
                <a:gd name="T9" fmla="*/ 124 h 172"/>
                <a:gd name="T10" fmla="*/ 114 w 182"/>
                <a:gd name="T11" fmla="*/ 130 h 172"/>
                <a:gd name="T12" fmla="*/ 116 w 182"/>
                <a:gd name="T13" fmla="*/ 141 h 172"/>
                <a:gd name="T14" fmla="*/ 123 w 182"/>
                <a:gd name="T15" fmla="*/ 141 h 172"/>
                <a:gd name="T16" fmla="*/ 127 w 182"/>
                <a:gd name="T17" fmla="*/ 130 h 172"/>
                <a:gd name="T18" fmla="*/ 127 w 182"/>
                <a:gd name="T19" fmla="*/ 118 h 172"/>
                <a:gd name="T20" fmla="*/ 142 w 182"/>
                <a:gd name="T21" fmla="*/ 107 h 172"/>
                <a:gd name="T22" fmla="*/ 135 w 182"/>
                <a:gd name="T23" fmla="*/ 113 h 172"/>
                <a:gd name="T24" fmla="*/ 137 w 182"/>
                <a:gd name="T25" fmla="*/ 122 h 172"/>
                <a:gd name="T26" fmla="*/ 131 w 182"/>
                <a:gd name="T27" fmla="*/ 141 h 172"/>
                <a:gd name="T28" fmla="*/ 119 w 182"/>
                <a:gd name="T29" fmla="*/ 151 h 172"/>
                <a:gd name="T30" fmla="*/ 110 w 182"/>
                <a:gd name="T31" fmla="*/ 145 h 172"/>
                <a:gd name="T32" fmla="*/ 108 w 182"/>
                <a:gd name="T33" fmla="*/ 139 h 172"/>
                <a:gd name="T34" fmla="*/ 108 w 182"/>
                <a:gd name="T35" fmla="*/ 136 h 172"/>
                <a:gd name="T36" fmla="*/ 102 w 182"/>
                <a:gd name="T37" fmla="*/ 147 h 172"/>
                <a:gd name="T38" fmla="*/ 108 w 182"/>
                <a:gd name="T39" fmla="*/ 162 h 172"/>
                <a:gd name="T40" fmla="*/ 121 w 182"/>
                <a:gd name="T41" fmla="*/ 170 h 172"/>
                <a:gd name="T42" fmla="*/ 137 w 182"/>
                <a:gd name="T43" fmla="*/ 164 h 172"/>
                <a:gd name="T44" fmla="*/ 150 w 182"/>
                <a:gd name="T45" fmla="*/ 145 h 172"/>
                <a:gd name="T46" fmla="*/ 154 w 182"/>
                <a:gd name="T47" fmla="*/ 126 h 172"/>
                <a:gd name="T48" fmla="*/ 152 w 182"/>
                <a:gd name="T49" fmla="*/ 111 h 172"/>
                <a:gd name="T50" fmla="*/ 150 w 182"/>
                <a:gd name="T51" fmla="*/ 103 h 172"/>
                <a:gd name="T52" fmla="*/ 159 w 182"/>
                <a:gd name="T53" fmla="*/ 107 h 172"/>
                <a:gd name="T54" fmla="*/ 161 w 182"/>
                <a:gd name="T55" fmla="*/ 124 h 172"/>
                <a:gd name="T56" fmla="*/ 157 w 182"/>
                <a:gd name="T57" fmla="*/ 139 h 172"/>
                <a:gd name="T58" fmla="*/ 161 w 182"/>
                <a:gd name="T59" fmla="*/ 141 h 172"/>
                <a:gd name="T60" fmla="*/ 176 w 182"/>
                <a:gd name="T61" fmla="*/ 128 h 172"/>
                <a:gd name="T62" fmla="*/ 182 w 182"/>
                <a:gd name="T63" fmla="*/ 111 h 172"/>
                <a:gd name="T64" fmla="*/ 173 w 182"/>
                <a:gd name="T65" fmla="*/ 99 h 172"/>
                <a:gd name="T66" fmla="*/ 159 w 182"/>
                <a:gd name="T67" fmla="*/ 99 h 172"/>
                <a:gd name="T68" fmla="*/ 28 w 182"/>
                <a:gd name="T69" fmla="*/ 138 h 172"/>
                <a:gd name="T70" fmla="*/ 32 w 182"/>
                <a:gd name="T71" fmla="*/ 147 h 172"/>
                <a:gd name="T72" fmla="*/ 40 w 182"/>
                <a:gd name="T73" fmla="*/ 153 h 172"/>
                <a:gd name="T74" fmla="*/ 53 w 182"/>
                <a:gd name="T75" fmla="*/ 155 h 172"/>
                <a:gd name="T76" fmla="*/ 49 w 182"/>
                <a:gd name="T77" fmla="*/ 145 h 172"/>
                <a:gd name="T78" fmla="*/ 93 w 182"/>
                <a:gd name="T79" fmla="*/ 143 h 172"/>
                <a:gd name="T80" fmla="*/ 81 w 182"/>
                <a:gd name="T81" fmla="*/ 147 h 172"/>
                <a:gd name="T82" fmla="*/ 63 w 182"/>
                <a:gd name="T83" fmla="*/ 145 h 172"/>
                <a:gd name="T84" fmla="*/ 59 w 182"/>
                <a:gd name="T85" fmla="*/ 151 h 172"/>
                <a:gd name="T86" fmla="*/ 63 w 182"/>
                <a:gd name="T87" fmla="*/ 159 h 172"/>
                <a:gd name="T88" fmla="*/ 72 w 182"/>
                <a:gd name="T89" fmla="*/ 162 h 172"/>
                <a:gd name="T90" fmla="*/ 108 w 182"/>
                <a:gd name="T91" fmla="*/ 172 h 172"/>
                <a:gd name="T92" fmla="*/ 99 w 182"/>
                <a:gd name="T93" fmla="*/ 159 h 172"/>
                <a:gd name="T94" fmla="*/ 95 w 182"/>
                <a:gd name="T95" fmla="*/ 149 h 172"/>
                <a:gd name="T96" fmla="*/ 19 w 182"/>
                <a:gd name="T97" fmla="*/ 126 h 172"/>
                <a:gd name="T98" fmla="*/ 21 w 182"/>
                <a:gd name="T99" fmla="*/ 101 h 172"/>
                <a:gd name="T100" fmla="*/ 36 w 182"/>
                <a:gd name="T101" fmla="*/ 73 h 172"/>
                <a:gd name="T102" fmla="*/ 49 w 182"/>
                <a:gd name="T103" fmla="*/ 63 h 172"/>
                <a:gd name="T104" fmla="*/ 63 w 182"/>
                <a:gd name="T105" fmla="*/ 61 h 172"/>
                <a:gd name="T106" fmla="*/ 78 w 182"/>
                <a:gd name="T107" fmla="*/ 63 h 172"/>
                <a:gd name="T108" fmla="*/ 169 w 182"/>
                <a:gd name="T109" fmla="*/ 90 h 172"/>
                <a:gd name="T110" fmla="*/ 150 w 182"/>
                <a:gd name="T111" fmla="*/ 96 h 172"/>
                <a:gd name="T112" fmla="*/ 119 w 182"/>
                <a:gd name="T113" fmla="*/ 115 h 172"/>
                <a:gd name="T114" fmla="*/ 93 w 182"/>
                <a:gd name="T115" fmla="*/ 134 h 172"/>
                <a:gd name="T116" fmla="*/ 74 w 182"/>
                <a:gd name="T117" fmla="*/ 139 h 172"/>
                <a:gd name="T118" fmla="*/ 63 w 182"/>
                <a:gd name="T119" fmla="*/ 138 h 172"/>
                <a:gd name="T120" fmla="*/ 26 w 182"/>
                <a:gd name="T121" fmla="*/ 12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" h="172">
                  <a:moveTo>
                    <a:pt x="57" y="33"/>
                  </a:moveTo>
                  <a:lnTo>
                    <a:pt x="23" y="33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3"/>
                  </a:lnTo>
                  <a:lnTo>
                    <a:pt x="34" y="63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7" y="33"/>
                  </a:lnTo>
                  <a:close/>
                  <a:moveTo>
                    <a:pt x="80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30" y="16"/>
                  </a:lnTo>
                  <a:lnTo>
                    <a:pt x="30" y="27"/>
                  </a:lnTo>
                  <a:lnTo>
                    <a:pt x="49" y="27"/>
                  </a:lnTo>
                  <a:lnTo>
                    <a:pt x="49" y="16"/>
                  </a:lnTo>
                  <a:lnTo>
                    <a:pt x="80" y="16"/>
                  </a:lnTo>
                  <a:lnTo>
                    <a:pt x="80" y="0"/>
                  </a:lnTo>
                  <a:close/>
                  <a:moveTo>
                    <a:pt x="127" y="118"/>
                  </a:move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20"/>
                  </a:lnTo>
                  <a:lnTo>
                    <a:pt x="123" y="120"/>
                  </a:lnTo>
                  <a:lnTo>
                    <a:pt x="123" y="120"/>
                  </a:lnTo>
                  <a:lnTo>
                    <a:pt x="121" y="122"/>
                  </a:lnTo>
                  <a:lnTo>
                    <a:pt x="121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4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18" y="126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4" y="136"/>
                  </a:lnTo>
                  <a:lnTo>
                    <a:pt x="114" y="136"/>
                  </a:lnTo>
                  <a:lnTo>
                    <a:pt x="114" y="13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1"/>
                  </a:lnTo>
                  <a:lnTo>
                    <a:pt x="116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21" y="143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23" y="141"/>
                  </a:lnTo>
                  <a:lnTo>
                    <a:pt x="123" y="141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5" y="139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6"/>
                  </a:lnTo>
                  <a:lnTo>
                    <a:pt x="127" y="136"/>
                  </a:lnTo>
                  <a:lnTo>
                    <a:pt x="127" y="136"/>
                  </a:lnTo>
                  <a:lnTo>
                    <a:pt x="127" y="134"/>
                  </a:lnTo>
                  <a:lnTo>
                    <a:pt x="127" y="134"/>
                  </a:lnTo>
                  <a:lnTo>
                    <a:pt x="127" y="134"/>
                  </a:lnTo>
                  <a:lnTo>
                    <a:pt x="127" y="132"/>
                  </a:lnTo>
                  <a:lnTo>
                    <a:pt x="127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30"/>
                  </a:lnTo>
                  <a:lnTo>
                    <a:pt x="129" y="130"/>
                  </a:lnTo>
                  <a:lnTo>
                    <a:pt x="129" y="128"/>
                  </a:lnTo>
                  <a:lnTo>
                    <a:pt x="129" y="128"/>
                  </a:lnTo>
                  <a:lnTo>
                    <a:pt x="129" y="128"/>
                  </a:lnTo>
                  <a:lnTo>
                    <a:pt x="129" y="126"/>
                  </a:lnTo>
                  <a:lnTo>
                    <a:pt x="129" y="126"/>
                  </a:lnTo>
                  <a:lnTo>
                    <a:pt x="129" y="124"/>
                  </a:lnTo>
                  <a:lnTo>
                    <a:pt x="129" y="124"/>
                  </a:lnTo>
                  <a:lnTo>
                    <a:pt x="129" y="122"/>
                  </a:lnTo>
                  <a:lnTo>
                    <a:pt x="129" y="122"/>
                  </a:lnTo>
                  <a:lnTo>
                    <a:pt x="127" y="122"/>
                  </a:lnTo>
                  <a:lnTo>
                    <a:pt x="127" y="120"/>
                  </a:lnTo>
                  <a:lnTo>
                    <a:pt x="127" y="120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lnTo>
                    <a:pt x="127" y="118"/>
                  </a:lnTo>
                  <a:close/>
                  <a:moveTo>
                    <a:pt x="150" y="103"/>
                  </a:moveTo>
                  <a:lnTo>
                    <a:pt x="150" y="103"/>
                  </a:lnTo>
                  <a:lnTo>
                    <a:pt x="150" y="103"/>
                  </a:lnTo>
                  <a:lnTo>
                    <a:pt x="150" y="103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6" y="107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0" y="109"/>
                  </a:lnTo>
                  <a:lnTo>
                    <a:pt x="140" y="109"/>
                  </a:lnTo>
                  <a:lnTo>
                    <a:pt x="138" y="109"/>
                  </a:lnTo>
                  <a:lnTo>
                    <a:pt x="138" y="109"/>
                  </a:lnTo>
                  <a:lnTo>
                    <a:pt x="138" y="109"/>
                  </a:lnTo>
                  <a:lnTo>
                    <a:pt x="138" y="109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35" y="120"/>
                  </a:lnTo>
                  <a:lnTo>
                    <a:pt x="137" y="120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30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4"/>
                  </a:lnTo>
                  <a:lnTo>
                    <a:pt x="135" y="136"/>
                  </a:lnTo>
                  <a:lnTo>
                    <a:pt x="135" y="136"/>
                  </a:lnTo>
                  <a:lnTo>
                    <a:pt x="133" y="138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1" y="141"/>
                  </a:lnTo>
                  <a:lnTo>
                    <a:pt x="131" y="141"/>
                  </a:lnTo>
                  <a:lnTo>
                    <a:pt x="131" y="143"/>
                  </a:lnTo>
                  <a:lnTo>
                    <a:pt x="129" y="145"/>
                  </a:lnTo>
                  <a:lnTo>
                    <a:pt x="129" y="145"/>
                  </a:lnTo>
                  <a:lnTo>
                    <a:pt x="129" y="145"/>
                  </a:lnTo>
                  <a:lnTo>
                    <a:pt x="127" y="147"/>
                  </a:lnTo>
                  <a:lnTo>
                    <a:pt x="127" y="147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23" y="149"/>
                  </a:lnTo>
                  <a:lnTo>
                    <a:pt x="123" y="149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2" y="149"/>
                  </a:lnTo>
                  <a:lnTo>
                    <a:pt x="112" y="147"/>
                  </a:lnTo>
                  <a:lnTo>
                    <a:pt x="112" y="147"/>
                  </a:lnTo>
                  <a:lnTo>
                    <a:pt x="112" y="147"/>
                  </a:lnTo>
                  <a:lnTo>
                    <a:pt x="110" y="145"/>
                  </a:lnTo>
                  <a:lnTo>
                    <a:pt x="110" y="145"/>
                  </a:lnTo>
                  <a:lnTo>
                    <a:pt x="110" y="143"/>
                  </a:lnTo>
                  <a:lnTo>
                    <a:pt x="110" y="143"/>
                  </a:lnTo>
                  <a:lnTo>
                    <a:pt x="110" y="143"/>
                  </a:lnTo>
                  <a:lnTo>
                    <a:pt x="110" y="143"/>
                  </a:lnTo>
                  <a:lnTo>
                    <a:pt x="108" y="143"/>
                  </a:lnTo>
                  <a:lnTo>
                    <a:pt x="108" y="143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102" y="139"/>
                  </a:lnTo>
                  <a:lnTo>
                    <a:pt x="102" y="139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5"/>
                  </a:lnTo>
                  <a:lnTo>
                    <a:pt x="102" y="145"/>
                  </a:lnTo>
                  <a:lnTo>
                    <a:pt x="102" y="147"/>
                  </a:lnTo>
                  <a:lnTo>
                    <a:pt x="102" y="147"/>
                  </a:lnTo>
                  <a:lnTo>
                    <a:pt x="102" y="147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3"/>
                  </a:lnTo>
                  <a:lnTo>
                    <a:pt x="104" y="153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7"/>
                  </a:lnTo>
                  <a:lnTo>
                    <a:pt x="104" y="157"/>
                  </a:lnTo>
                  <a:lnTo>
                    <a:pt x="104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8" y="160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68"/>
                  </a:lnTo>
                  <a:lnTo>
                    <a:pt x="118" y="170"/>
                  </a:lnTo>
                  <a:lnTo>
                    <a:pt x="118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7" y="170"/>
                  </a:lnTo>
                  <a:lnTo>
                    <a:pt x="127" y="170"/>
                  </a:lnTo>
                  <a:lnTo>
                    <a:pt x="129" y="170"/>
                  </a:lnTo>
                  <a:lnTo>
                    <a:pt x="129" y="170"/>
                  </a:lnTo>
                  <a:lnTo>
                    <a:pt x="131" y="170"/>
                  </a:lnTo>
                  <a:lnTo>
                    <a:pt x="131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5" y="166"/>
                  </a:lnTo>
                  <a:lnTo>
                    <a:pt x="135" y="166"/>
                  </a:lnTo>
                  <a:lnTo>
                    <a:pt x="135" y="166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2" y="159"/>
                  </a:lnTo>
                  <a:lnTo>
                    <a:pt x="142" y="157"/>
                  </a:lnTo>
                  <a:lnTo>
                    <a:pt x="144" y="157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1"/>
                  </a:lnTo>
                  <a:lnTo>
                    <a:pt x="148" y="149"/>
                  </a:lnTo>
                  <a:lnTo>
                    <a:pt x="148" y="149"/>
                  </a:lnTo>
                  <a:lnTo>
                    <a:pt x="148" y="147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1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8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30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6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2" y="111"/>
                  </a:lnTo>
                  <a:lnTo>
                    <a:pt x="152" y="111"/>
                  </a:lnTo>
                  <a:lnTo>
                    <a:pt x="152" y="111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3"/>
                  </a:lnTo>
                  <a:lnTo>
                    <a:pt x="150" y="103"/>
                  </a:lnTo>
                  <a:lnTo>
                    <a:pt x="150" y="103"/>
                  </a:lnTo>
                  <a:close/>
                  <a:moveTo>
                    <a:pt x="156" y="101"/>
                  </a:moveTo>
                  <a:lnTo>
                    <a:pt x="156" y="101"/>
                  </a:lnTo>
                  <a:lnTo>
                    <a:pt x="156" y="101"/>
                  </a:lnTo>
                  <a:lnTo>
                    <a:pt x="156" y="101"/>
                  </a:lnTo>
                  <a:lnTo>
                    <a:pt x="156" y="101"/>
                  </a:lnTo>
                  <a:lnTo>
                    <a:pt x="156" y="101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7" y="107"/>
                  </a:lnTo>
                  <a:lnTo>
                    <a:pt x="159" y="107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9" y="109"/>
                  </a:lnTo>
                  <a:lnTo>
                    <a:pt x="159" y="109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3"/>
                  </a:lnTo>
                  <a:lnTo>
                    <a:pt x="159" y="113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61" y="117"/>
                  </a:lnTo>
                  <a:lnTo>
                    <a:pt x="161" y="117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61" y="120"/>
                  </a:lnTo>
                  <a:lnTo>
                    <a:pt x="161" y="120"/>
                  </a:lnTo>
                  <a:lnTo>
                    <a:pt x="161" y="122"/>
                  </a:lnTo>
                  <a:lnTo>
                    <a:pt x="161" y="124"/>
                  </a:lnTo>
                  <a:lnTo>
                    <a:pt x="161" y="124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8"/>
                  </a:lnTo>
                  <a:lnTo>
                    <a:pt x="159" y="130"/>
                  </a:lnTo>
                  <a:lnTo>
                    <a:pt x="159" y="130"/>
                  </a:lnTo>
                  <a:lnTo>
                    <a:pt x="159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7" y="136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7" y="141"/>
                  </a:lnTo>
                  <a:lnTo>
                    <a:pt x="157" y="141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3"/>
                  </a:lnTo>
                  <a:lnTo>
                    <a:pt x="159" y="141"/>
                  </a:lnTo>
                  <a:lnTo>
                    <a:pt x="161" y="141"/>
                  </a:lnTo>
                  <a:lnTo>
                    <a:pt x="161" y="141"/>
                  </a:lnTo>
                  <a:lnTo>
                    <a:pt x="161" y="141"/>
                  </a:lnTo>
                  <a:lnTo>
                    <a:pt x="163" y="141"/>
                  </a:lnTo>
                  <a:lnTo>
                    <a:pt x="163" y="139"/>
                  </a:lnTo>
                  <a:lnTo>
                    <a:pt x="165" y="139"/>
                  </a:lnTo>
                  <a:lnTo>
                    <a:pt x="165" y="139"/>
                  </a:lnTo>
                  <a:lnTo>
                    <a:pt x="167" y="138"/>
                  </a:lnTo>
                  <a:lnTo>
                    <a:pt x="167" y="138"/>
                  </a:lnTo>
                  <a:lnTo>
                    <a:pt x="169" y="138"/>
                  </a:lnTo>
                  <a:lnTo>
                    <a:pt x="169" y="136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3" y="134"/>
                  </a:lnTo>
                  <a:lnTo>
                    <a:pt x="173" y="134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6" y="130"/>
                  </a:lnTo>
                  <a:lnTo>
                    <a:pt x="176" y="128"/>
                  </a:lnTo>
                  <a:lnTo>
                    <a:pt x="176" y="128"/>
                  </a:lnTo>
                  <a:lnTo>
                    <a:pt x="178" y="126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0" y="118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5"/>
                  </a:lnTo>
                  <a:lnTo>
                    <a:pt x="182" y="115"/>
                  </a:lnTo>
                  <a:lnTo>
                    <a:pt x="182" y="113"/>
                  </a:lnTo>
                  <a:lnTo>
                    <a:pt x="182" y="113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2" y="107"/>
                  </a:lnTo>
                  <a:lnTo>
                    <a:pt x="182" y="107"/>
                  </a:lnTo>
                  <a:lnTo>
                    <a:pt x="182" y="105"/>
                  </a:lnTo>
                  <a:lnTo>
                    <a:pt x="182" y="105"/>
                  </a:lnTo>
                  <a:lnTo>
                    <a:pt x="180" y="105"/>
                  </a:lnTo>
                  <a:lnTo>
                    <a:pt x="180" y="103"/>
                  </a:lnTo>
                  <a:lnTo>
                    <a:pt x="180" y="103"/>
                  </a:lnTo>
                  <a:lnTo>
                    <a:pt x="180" y="103"/>
                  </a:lnTo>
                  <a:lnTo>
                    <a:pt x="178" y="101"/>
                  </a:lnTo>
                  <a:lnTo>
                    <a:pt x="178" y="101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4" y="101"/>
                  </a:lnTo>
                  <a:lnTo>
                    <a:pt x="174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69" y="99"/>
                  </a:lnTo>
                  <a:lnTo>
                    <a:pt x="169" y="99"/>
                  </a:lnTo>
                  <a:lnTo>
                    <a:pt x="167" y="99"/>
                  </a:lnTo>
                  <a:lnTo>
                    <a:pt x="167" y="99"/>
                  </a:lnTo>
                  <a:lnTo>
                    <a:pt x="165" y="99"/>
                  </a:lnTo>
                  <a:lnTo>
                    <a:pt x="165" y="99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101"/>
                  </a:lnTo>
                  <a:lnTo>
                    <a:pt x="156" y="101"/>
                  </a:lnTo>
                  <a:lnTo>
                    <a:pt x="156" y="101"/>
                  </a:lnTo>
                  <a:lnTo>
                    <a:pt x="156" y="101"/>
                  </a:lnTo>
                  <a:lnTo>
                    <a:pt x="156" y="101"/>
                  </a:lnTo>
                  <a:close/>
                  <a:moveTo>
                    <a:pt x="47" y="141"/>
                  </a:move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41"/>
                  </a:lnTo>
                  <a:lnTo>
                    <a:pt x="30" y="141"/>
                  </a:lnTo>
                  <a:lnTo>
                    <a:pt x="30" y="141"/>
                  </a:lnTo>
                  <a:lnTo>
                    <a:pt x="30" y="141"/>
                  </a:lnTo>
                  <a:lnTo>
                    <a:pt x="30" y="143"/>
                  </a:lnTo>
                  <a:lnTo>
                    <a:pt x="30" y="143"/>
                  </a:lnTo>
                  <a:lnTo>
                    <a:pt x="30" y="143"/>
                  </a:lnTo>
                  <a:lnTo>
                    <a:pt x="30" y="145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4" y="147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42" y="153"/>
                  </a:lnTo>
                  <a:lnTo>
                    <a:pt x="42" y="153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53" y="157"/>
                  </a:lnTo>
                  <a:lnTo>
                    <a:pt x="53" y="157"/>
                  </a:lnTo>
                  <a:lnTo>
                    <a:pt x="53" y="157"/>
                  </a:lnTo>
                  <a:lnTo>
                    <a:pt x="53" y="157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7" y="141"/>
                  </a:lnTo>
                  <a:close/>
                  <a:moveTo>
                    <a:pt x="97" y="141"/>
                  </a:moveTo>
                  <a:lnTo>
                    <a:pt x="97" y="141"/>
                  </a:lnTo>
                  <a:lnTo>
                    <a:pt x="97" y="141"/>
                  </a:lnTo>
                  <a:lnTo>
                    <a:pt x="95" y="141"/>
                  </a:lnTo>
                  <a:lnTo>
                    <a:pt x="95" y="143"/>
                  </a:lnTo>
                  <a:lnTo>
                    <a:pt x="95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87" y="145"/>
                  </a:lnTo>
                  <a:lnTo>
                    <a:pt x="87" y="147"/>
                  </a:lnTo>
                  <a:lnTo>
                    <a:pt x="87" y="147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1" y="147"/>
                  </a:lnTo>
                  <a:lnTo>
                    <a:pt x="81" y="147"/>
                  </a:lnTo>
                  <a:lnTo>
                    <a:pt x="81" y="147"/>
                  </a:lnTo>
                  <a:lnTo>
                    <a:pt x="80" y="147"/>
                  </a:lnTo>
                  <a:lnTo>
                    <a:pt x="80" y="149"/>
                  </a:lnTo>
                  <a:lnTo>
                    <a:pt x="78" y="149"/>
                  </a:lnTo>
                  <a:lnTo>
                    <a:pt x="78" y="147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4" y="147"/>
                  </a:lnTo>
                  <a:lnTo>
                    <a:pt x="74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0" y="147"/>
                  </a:lnTo>
                  <a:lnTo>
                    <a:pt x="68" y="147"/>
                  </a:lnTo>
                  <a:lnTo>
                    <a:pt x="66" y="147"/>
                  </a:lnTo>
                  <a:lnTo>
                    <a:pt x="66" y="147"/>
                  </a:lnTo>
                  <a:lnTo>
                    <a:pt x="64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9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7" y="147"/>
                  </a:lnTo>
                  <a:lnTo>
                    <a:pt x="57" y="147"/>
                  </a:lnTo>
                  <a:lnTo>
                    <a:pt x="59" y="149"/>
                  </a:lnTo>
                  <a:lnTo>
                    <a:pt x="59" y="149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60"/>
                  </a:lnTo>
                  <a:lnTo>
                    <a:pt x="64" y="160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68" y="162"/>
                  </a:lnTo>
                  <a:lnTo>
                    <a:pt x="70" y="162"/>
                  </a:lnTo>
                  <a:lnTo>
                    <a:pt x="70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4" y="162"/>
                  </a:lnTo>
                  <a:lnTo>
                    <a:pt x="76" y="164"/>
                  </a:lnTo>
                  <a:lnTo>
                    <a:pt x="80" y="164"/>
                  </a:lnTo>
                  <a:lnTo>
                    <a:pt x="81" y="166"/>
                  </a:lnTo>
                  <a:lnTo>
                    <a:pt x="85" y="166"/>
                  </a:lnTo>
                  <a:lnTo>
                    <a:pt x="87" y="166"/>
                  </a:lnTo>
                  <a:lnTo>
                    <a:pt x="91" y="168"/>
                  </a:lnTo>
                  <a:lnTo>
                    <a:pt x="95" y="168"/>
                  </a:lnTo>
                  <a:lnTo>
                    <a:pt x="97" y="170"/>
                  </a:lnTo>
                  <a:lnTo>
                    <a:pt x="100" y="170"/>
                  </a:lnTo>
                  <a:lnTo>
                    <a:pt x="102" y="172"/>
                  </a:lnTo>
                  <a:lnTo>
                    <a:pt x="104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6" y="170"/>
                  </a:lnTo>
                  <a:lnTo>
                    <a:pt x="106" y="170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0" y="164"/>
                  </a:lnTo>
                  <a:lnTo>
                    <a:pt x="100" y="162"/>
                  </a:lnTo>
                  <a:lnTo>
                    <a:pt x="100" y="162"/>
                  </a:lnTo>
                  <a:lnTo>
                    <a:pt x="100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97" y="157"/>
                  </a:lnTo>
                  <a:lnTo>
                    <a:pt x="97" y="157"/>
                  </a:lnTo>
                  <a:lnTo>
                    <a:pt x="97" y="157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5" y="151"/>
                  </a:lnTo>
                  <a:lnTo>
                    <a:pt x="95" y="149"/>
                  </a:lnTo>
                  <a:lnTo>
                    <a:pt x="95" y="149"/>
                  </a:lnTo>
                  <a:lnTo>
                    <a:pt x="95" y="149"/>
                  </a:lnTo>
                  <a:lnTo>
                    <a:pt x="95" y="147"/>
                  </a:lnTo>
                  <a:lnTo>
                    <a:pt x="95" y="147"/>
                  </a:lnTo>
                  <a:lnTo>
                    <a:pt x="95" y="147"/>
                  </a:lnTo>
                  <a:lnTo>
                    <a:pt x="95" y="147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7" y="145"/>
                  </a:lnTo>
                  <a:lnTo>
                    <a:pt x="97" y="143"/>
                  </a:lnTo>
                  <a:lnTo>
                    <a:pt x="97" y="143"/>
                  </a:lnTo>
                  <a:lnTo>
                    <a:pt x="97" y="143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97" y="141"/>
                  </a:lnTo>
                  <a:close/>
                  <a:moveTo>
                    <a:pt x="19" y="126"/>
                  </a:moveTo>
                  <a:lnTo>
                    <a:pt x="19" y="126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9" y="122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18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99"/>
                  </a:lnTo>
                  <a:lnTo>
                    <a:pt x="21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6" y="86"/>
                  </a:lnTo>
                  <a:lnTo>
                    <a:pt x="26" y="84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4" y="75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5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9" y="63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6" y="61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8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4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8" y="63"/>
                  </a:lnTo>
                  <a:lnTo>
                    <a:pt x="80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5" y="67"/>
                  </a:lnTo>
                  <a:lnTo>
                    <a:pt x="89" y="67"/>
                  </a:lnTo>
                  <a:lnTo>
                    <a:pt x="93" y="69"/>
                  </a:lnTo>
                  <a:lnTo>
                    <a:pt x="99" y="71"/>
                  </a:lnTo>
                  <a:lnTo>
                    <a:pt x="108" y="73"/>
                  </a:lnTo>
                  <a:lnTo>
                    <a:pt x="116" y="75"/>
                  </a:lnTo>
                  <a:lnTo>
                    <a:pt x="125" y="77"/>
                  </a:lnTo>
                  <a:lnTo>
                    <a:pt x="133" y="80"/>
                  </a:lnTo>
                  <a:lnTo>
                    <a:pt x="140" y="82"/>
                  </a:lnTo>
                  <a:lnTo>
                    <a:pt x="148" y="84"/>
                  </a:lnTo>
                  <a:lnTo>
                    <a:pt x="156" y="86"/>
                  </a:lnTo>
                  <a:lnTo>
                    <a:pt x="161" y="88"/>
                  </a:lnTo>
                  <a:lnTo>
                    <a:pt x="165" y="90"/>
                  </a:lnTo>
                  <a:lnTo>
                    <a:pt x="169" y="90"/>
                  </a:lnTo>
                  <a:lnTo>
                    <a:pt x="169" y="90"/>
                  </a:lnTo>
                  <a:lnTo>
                    <a:pt x="169" y="90"/>
                  </a:lnTo>
                  <a:lnTo>
                    <a:pt x="169" y="92"/>
                  </a:lnTo>
                  <a:lnTo>
                    <a:pt x="167" y="92"/>
                  </a:lnTo>
                  <a:lnTo>
                    <a:pt x="167" y="92"/>
                  </a:lnTo>
                  <a:lnTo>
                    <a:pt x="167" y="92"/>
                  </a:lnTo>
                  <a:lnTo>
                    <a:pt x="165" y="92"/>
                  </a:lnTo>
                  <a:lnTo>
                    <a:pt x="163" y="92"/>
                  </a:lnTo>
                  <a:lnTo>
                    <a:pt x="163" y="92"/>
                  </a:lnTo>
                  <a:lnTo>
                    <a:pt x="161" y="92"/>
                  </a:lnTo>
                  <a:lnTo>
                    <a:pt x="159" y="92"/>
                  </a:lnTo>
                  <a:lnTo>
                    <a:pt x="159" y="94"/>
                  </a:lnTo>
                  <a:lnTo>
                    <a:pt x="157" y="94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2" y="96"/>
                  </a:lnTo>
                  <a:lnTo>
                    <a:pt x="150" y="96"/>
                  </a:lnTo>
                  <a:lnTo>
                    <a:pt x="148" y="96"/>
                  </a:lnTo>
                  <a:lnTo>
                    <a:pt x="146" y="98"/>
                  </a:lnTo>
                  <a:lnTo>
                    <a:pt x="144" y="98"/>
                  </a:lnTo>
                  <a:lnTo>
                    <a:pt x="142" y="99"/>
                  </a:lnTo>
                  <a:lnTo>
                    <a:pt x="140" y="99"/>
                  </a:lnTo>
                  <a:lnTo>
                    <a:pt x="138" y="101"/>
                  </a:lnTo>
                  <a:lnTo>
                    <a:pt x="137" y="101"/>
                  </a:lnTo>
                  <a:lnTo>
                    <a:pt x="135" y="103"/>
                  </a:lnTo>
                  <a:lnTo>
                    <a:pt x="133" y="103"/>
                  </a:lnTo>
                  <a:lnTo>
                    <a:pt x="131" y="105"/>
                  </a:lnTo>
                  <a:lnTo>
                    <a:pt x="129" y="107"/>
                  </a:lnTo>
                  <a:lnTo>
                    <a:pt x="127" y="107"/>
                  </a:lnTo>
                  <a:lnTo>
                    <a:pt x="125" y="109"/>
                  </a:lnTo>
                  <a:lnTo>
                    <a:pt x="125" y="111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19" y="115"/>
                  </a:lnTo>
                  <a:lnTo>
                    <a:pt x="118" y="117"/>
                  </a:lnTo>
                  <a:lnTo>
                    <a:pt x="116" y="118"/>
                  </a:lnTo>
                  <a:lnTo>
                    <a:pt x="114" y="118"/>
                  </a:lnTo>
                  <a:lnTo>
                    <a:pt x="112" y="120"/>
                  </a:lnTo>
                  <a:lnTo>
                    <a:pt x="112" y="122"/>
                  </a:lnTo>
                  <a:lnTo>
                    <a:pt x="110" y="122"/>
                  </a:lnTo>
                  <a:lnTo>
                    <a:pt x="108" y="124"/>
                  </a:lnTo>
                  <a:lnTo>
                    <a:pt x="106" y="126"/>
                  </a:lnTo>
                  <a:lnTo>
                    <a:pt x="104" y="126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0" y="130"/>
                  </a:lnTo>
                  <a:lnTo>
                    <a:pt x="99" y="130"/>
                  </a:lnTo>
                  <a:lnTo>
                    <a:pt x="99" y="132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89" y="136"/>
                  </a:lnTo>
                  <a:lnTo>
                    <a:pt x="89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5" y="138"/>
                  </a:lnTo>
                  <a:lnTo>
                    <a:pt x="85" y="139"/>
                  </a:lnTo>
                  <a:lnTo>
                    <a:pt x="83" y="139"/>
                  </a:lnTo>
                  <a:lnTo>
                    <a:pt x="83" y="139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0" y="139"/>
                  </a:lnTo>
                  <a:lnTo>
                    <a:pt x="78" y="139"/>
                  </a:lnTo>
                  <a:lnTo>
                    <a:pt x="76" y="139"/>
                  </a:lnTo>
                  <a:lnTo>
                    <a:pt x="76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6" y="139"/>
                  </a:lnTo>
                  <a:lnTo>
                    <a:pt x="66" y="139"/>
                  </a:lnTo>
                  <a:lnTo>
                    <a:pt x="66" y="139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57" y="138"/>
                  </a:lnTo>
                  <a:lnTo>
                    <a:pt x="53" y="136"/>
                  </a:lnTo>
                  <a:lnTo>
                    <a:pt x="51" y="136"/>
                  </a:lnTo>
                  <a:lnTo>
                    <a:pt x="49" y="134"/>
                  </a:lnTo>
                  <a:lnTo>
                    <a:pt x="45" y="134"/>
                  </a:lnTo>
                  <a:lnTo>
                    <a:pt x="42" y="132"/>
                  </a:lnTo>
                  <a:lnTo>
                    <a:pt x="40" y="132"/>
                  </a:lnTo>
                  <a:lnTo>
                    <a:pt x="36" y="130"/>
                  </a:lnTo>
                  <a:lnTo>
                    <a:pt x="32" y="130"/>
                  </a:lnTo>
                  <a:lnTo>
                    <a:pt x="30" y="130"/>
                  </a:lnTo>
                  <a:lnTo>
                    <a:pt x="26" y="128"/>
                  </a:lnTo>
                  <a:lnTo>
                    <a:pt x="25" y="128"/>
                  </a:lnTo>
                  <a:lnTo>
                    <a:pt x="23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19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1" name="Freeform 15">
              <a:extLst>
                <a:ext uri="{FF2B5EF4-FFF2-40B4-BE49-F238E27FC236}">
                  <a16:creationId xmlns="" xmlns:a16="http://schemas.microsoft.com/office/drawing/2014/main" id="{08D99D25-DC28-4241-B499-177365C8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026" y="5980113"/>
              <a:ext cx="68263" cy="190500"/>
            </a:xfrm>
            <a:custGeom>
              <a:avLst/>
              <a:gdLst>
                <a:gd name="T0" fmla="*/ 43 w 43"/>
                <a:gd name="T1" fmla="*/ 13 h 120"/>
                <a:gd name="T2" fmla="*/ 43 w 43"/>
                <a:gd name="T3" fmla="*/ 13 h 120"/>
                <a:gd name="T4" fmla="*/ 43 w 43"/>
                <a:gd name="T5" fmla="*/ 11 h 120"/>
                <a:gd name="T6" fmla="*/ 41 w 43"/>
                <a:gd name="T7" fmla="*/ 9 h 120"/>
                <a:gd name="T8" fmla="*/ 36 w 43"/>
                <a:gd name="T9" fmla="*/ 2 h 120"/>
                <a:gd name="T10" fmla="*/ 34 w 43"/>
                <a:gd name="T11" fmla="*/ 0 h 120"/>
                <a:gd name="T12" fmla="*/ 32 w 43"/>
                <a:gd name="T13" fmla="*/ 0 h 120"/>
                <a:gd name="T14" fmla="*/ 30 w 43"/>
                <a:gd name="T15" fmla="*/ 0 h 120"/>
                <a:gd name="T16" fmla="*/ 28 w 43"/>
                <a:gd name="T17" fmla="*/ 0 h 120"/>
                <a:gd name="T18" fmla="*/ 22 w 43"/>
                <a:gd name="T19" fmla="*/ 6 h 120"/>
                <a:gd name="T20" fmla="*/ 17 w 43"/>
                <a:gd name="T21" fmla="*/ 11 h 120"/>
                <a:gd name="T22" fmla="*/ 13 w 43"/>
                <a:gd name="T23" fmla="*/ 19 h 120"/>
                <a:gd name="T24" fmla="*/ 9 w 43"/>
                <a:gd name="T25" fmla="*/ 25 h 120"/>
                <a:gd name="T26" fmla="*/ 5 w 43"/>
                <a:gd name="T27" fmla="*/ 32 h 120"/>
                <a:gd name="T28" fmla="*/ 3 w 43"/>
                <a:gd name="T29" fmla="*/ 40 h 120"/>
                <a:gd name="T30" fmla="*/ 1 w 43"/>
                <a:gd name="T31" fmla="*/ 48 h 120"/>
                <a:gd name="T32" fmla="*/ 0 w 43"/>
                <a:gd name="T33" fmla="*/ 57 h 120"/>
                <a:gd name="T34" fmla="*/ 0 w 43"/>
                <a:gd name="T35" fmla="*/ 61 h 120"/>
                <a:gd name="T36" fmla="*/ 0 w 43"/>
                <a:gd name="T37" fmla="*/ 69 h 120"/>
                <a:gd name="T38" fmla="*/ 0 w 43"/>
                <a:gd name="T39" fmla="*/ 76 h 120"/>
                <a:gd name="T40" fmla="*/ 1 w 43"/>
                <a:gd name="T41" fmla="*/ 84 h 120"/>
                <a:gd name="T42" fmla="*/ 3 w 43"/>
                <a:gd name="T43" fmla="*/ 91 h 120"/>
                <a:gd name="T44" fmla="*/ 5 w 43"/>
                <a:gd name="T45" fmla="*/ 97 h 120"/>
                <a:gd name="T46" fmla="*/ 9 w 43"/>
                <a:gd name="T47" fmla="*/ 105 h 120"/>
                <a:gd name="T48" fmla="*/ 13 w 43"/>
                <a:gd name="T49" fmla="*/ 112 h 120"/>
                <a:gd name="T50" fmla="*/ 19 w 43"/>
                <a:gd name="T51" fmla="*/ 118 h 120"/>
                <a:gd name="T52" fmla="*/ 20 w 43"/>
                <a:gd name="T53" fmla="*/ 118 h 120"/>
                <a:gd name="T54" fmla="*/ 22 w 43"/>
                <a:gd name="T55" fmla="*/ 120 h 120"/>
                <a:gd name="T56" fmla="*/ 22 w 43"/>
                <a:gd name="T57" fmla="*/ 120 h 120"/>
                <a:gd name="T58" fmla="*/ 24 w 43"/>
                <a:gd name="T59" fmla="*/ 118 h 120"/>
                <a:gd name="T60" fmla="*/ 34 w 43"/>
                <a:gd name="T61" fmla="*/ 110 h 120"/>
                <a:gd name="T62" fmla="*/ 34 w 43"/>
                <a:gd name="T63" fmla="*/ 110 h 120"/>
                <a:gd name="T64" fmla="*/ 34 w 43"/>
                <a:gd name="T65" fmla="*/ 109 h 120"/>
                <a:gd name="T66" fmla="*/ 34 w 43"/>
                <a:gd name="T67" fmla="*/ 107 h 120"/>
                <a:gd name="T68" fmla="*/ 34 w 43"/>
                <a:gd name="T69" fmla="*/ 105 h 120"/>
                <a:gd name="T70" fmla="*/ 30 w 43"/>
                <a:gd name="T71" fmla="*/ 101 h 120"/>
                <a:gd name="T72" fmla="*/ 26 w 43"/>
                <a:gd name="T73" fmla="*/ 95 h 120"/>
                <a:gd name="T74" fmla="*/ 24 w 43"/>
                <a:gd name="T75" fmla="*/ 89 h 120"/>
                <a:gd name="T76" fmla="*/ 22 w 43"/>
                <a:gd name="T77" fmla="*/ 86 h 120"/>
                <a:gd name="T78" fmla="*/ 20 w 43"/>
                <a:gd name="T79" fmla="*/ 80 h 120"/>
                <a:gd name="T80" fmla="*/ 19 w 43"/>
                <a:gd name="T81" fmla="*/ 74 h 120"/>
                <a:gd name="T82" fmla="*/ 19 w 43"/>
                <a:gd name="T83" fmla="*/ 69 h 120"/>
                <a:gd name="T84" fmla="*/ 19 w 43"/>
                <a:gd name="T85" fmla="*/ 63 h 120"/>
                <a:gd name="T86" fmla="*/ 19 w 43"/>
                <a:gd name="T87" fmla="*/ 59 h 120"/>
                <a:gd name="T88" fmla="*/ 19 w 43"/>
                <a:gd name="T89" fmla="*/ 51 h 120"/>
                <a:gd name="T90" fmla="*/ 22 w 43"/>
                <a:gd name="T91" fmla="*/ 46 h 120"/>
                <a:gd name="T92" fmla="*/ 22 w 43"/>
                <a:gd name="T93" fmla="*/ 40 h 120"/>
                <a:gd name="T94" fmla="*/ 26 w 43"/>
                <a:gd name="T95" fmla="*/ 34 h 120"/>
                <a:gd name="T96" fmla="*/ 30 w 43"/>
                <a:gd name="T97" fmla="*/ 28 h 120"/>
                <a:gd name="T98" fmla="*/ 34 w 43"/>
                <a:gd name="T99" fmla="*/ 25 h 120"/>
                <a:gd name="T100" fmla="*/ 38 w 43"/>
                <a:gd name="T101" fmla="*/ 19 h 120"/>
                <a:gd name="T102" fmla="*/ 41 w 43"/>
                <a:gd name="T103" fmla="*/ 15 h 120"/>
                <a:gd name="T104" fmla="*/ 43 w 43"/>
                <a:gd name="T105" fmla="*/ 15 h 120"/>
                <a:gd name="T106" fmla="*/ 43 w 43"/>
                <a:gd name="T107" fmla="*/ 1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" h="120">
                  <a:moveTo>
                    <a:pt x="43" y="13"/>
                  </a:moveTo>
                  <a:lnTo>
                    <a:pt x="43" y="13"/>
                  </a:lnTo>
                  <a:lnTo>
                    <a:pt x="43" y="11"/>
                  </a:lnTo>
                  <a:lnTo>
                    <a:pt x="41" y="9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2" y="6"/>
                  </a:lnTo>
                  <a:lnTo>
                    <a:pt x="17" y="11"/>
                  </a:lnTo>
                  <a:lnTo>
                    <a:pt x="13" y="19"/>
                  </a:lnTo>
                  <a:lnTo>
                    <a:pt x="9" y="25"/>
                  </a:lnTo>
                  <a:lnTo>
                    <a:pt x="5" y="32"/>
                  </a:lnTo>
                  <a:lnTo>
                    <a:pt x="3" y="40"/>
                  </a:lnTo>
                  <a:lnTo>
                    <a:pt x="1" y="48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1" y="84"/>
                  </a:lnTo>
                  <a:lnTo>
                    <a:pt x="3" y="91"/>
                  </a:lnTo>
                  <a:lnTo>
                    <a:pt x="5" y="97"/>
                  </a:lnTo>
                  <a:lnTo>
                    <a:pt x="9" y="105"/>
                  </a:lnTo>
                  <a:lnTo>
                    <a:pt x="13" y="112"/>
                  </a:lnTo>
                  <a:lnTo>
                    <a:pt x="19" y="118"/>
                  </a:lnTo>
                  <a:lnTo>
                    <a:pt x="20" y="118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4" y="118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09"/>
                  </a:lnTo>
                  <a:lnTo>
                    <a:pt x="34" y="107"/>
                  </a:lnTo>
                  <a:lnTo>
                    <a:pt x="34" y="105"/>
                  </a:lnTo>
                  <a:lnTo>
                    <a:pt x="30" y="101"/>
                  </a:lnTo>
                  <a:lnTo>
                    <a:pt x="26" y="95"/>
                  </a:lnTo>
                  <a:lnTo>
                    <a:pt x="24" y="89"/>
                  </a:lnTo>
                  <a:lnTo>
                    <a:pt x="22" y="86"/>
                  </a:lnTo>
                  <a:lnTo>
                    <a:pt x="20" y="80"/>
                  </a:lnTo>
                  <a:lnTo>
                    <a:pt x="19" y="74"/>
                  </a:lnTo>
                  <a:lnTo>
                    <a:pt x="19" y="69"/>
                  </a:lnTo>
                  <a:lnTo>
                    <a:pt x="19" y="63"/>
                  </a:lnTo>
                  <a:lnTo>
                    <a:pt x="19" y="59"/>
                  </a:lnTo>
                  <a:lnTo>
                    <a:pt x="19" y="51"/>
                  </a:lnTo>
                  <a:lnTo>
                    <a:pt x="22" y="46"/>
                  </a:lnTo>
                  <a:lnTo>
                    <a:pt x="22" y="40"/>
                  </a:lnTo>
                  <a:lnTo>
                    <a:pt x="26" y="34"/>
                  </a:lnTo>
                  <a:lnTo>
                    <a:pt x="30" y="28"/>
                  </a:lnTo>
                  <a:lnTo>
                    <a:pt x="34" y="25"/>
                  </a:lnTo>
                  <a:lnTo>
                    <a:pt x="38" y="19"/>
                  </a:lnTo>
                  <a:lnTo>
                    <a:pt x="41" y="15"/>
                  </a:lnTo>
                  <a:lnTo>
                    <a:pt x="43" y="15"/>
                  </a:lnTo>
                  <a:lnTo>
                    <a:pt x="4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2" name="Freeform 16">
              <a:extLst>
                <a:ext uri="{FF2B5EF4-FFF2-40B4-BE49-F238E27FC236}">
                  <a16:creationId xmlns="" xmlns:a16="http://schemas.microsoft.com/office/drawing/2014/main" id="{A30E7766-C196-4E9E-8A12-7645A78D4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826" y="6022975"/>
              <a:ext cx="47625" cy="107950"/>
            </a:xfrm>
            <a:custGeom>
              <a:avLst/>
              <a:gdLst>
                <a:gd name="T0" fmla="*/ 0 w 30"/>
                <a:gd name="T1" fmla="*/ 36 h 68"/>
                <a:gd name="T2" fmla="*/ 0 w 30"/>
                <a:gd name="T3" fmla="*/ 36 h 68"/>
                <a:gd name="T4" fmla="*/ 0 w 30"/>
                <a:gd name="T5" fmla="*/ 40 h 68"/>
                <a:gd name="T6" fmla="*/ 0 w 30"/>
                <a:gd name="T7" fmla="*/ 43 h 68"/>
                <a:gd name="T8" fmla="*/ 2 w 30"/>
                <a:gd name="T9" fmla="*/ 47 h 68"/>
                <a:gd name="T10" fmla="*/ 2 w 30"/>
                <a:gd name="T11" fmla="*/ 53 h 68"/>
                <a:gd name="T12" fmla="*/ 4 w 30"/>
                <a:gd name="T13" fmla="*/ 57 h 68"/>
                <a:gd name="T14" fmla="*/ 6 w 30"/>
                <a:gd name="T15" fmla="*/ 61 h 68"/>
                <a:gd name="T16" fmla="*/ 7 w 30"/>
                <a:gd name="T17" fmla="*/ 64 h 68"/>
                <a:gd name="T18" fmla="*/ 9 w 30"/>
                <a:gd name="T19" fmla="*/ 66 h 68"/>
                <a:gd name="T20" fmla="*/ 11 w 30"/>
                <a:gd name="T21" fmla="*/ 68 h 68"/>
                <a:gd name="T22" fmla="*/ 13 w 30"/>
                <a:gd name="T23" fmla="*/ 68 h 68"/>
                <a:gd name="T24" fmla="*/ 15 w 30"/>
                <a:gd name="T25" fmla="*/ 68 h 68"/>
                <a:gd name="T26" fmla="*/ 17 w 30"/>
                <a:gd name="T27" fmla="*/ 68 h 68"/>
                <a:gd name="T28" fmla="*/ 24 w 30"/>
                <a:gd name="T29" fmla="*/ 61 h 68"/>
                <a:gd name="T30" fmla="*/ 26 w 30"/>
                <a:gd name="T31" fmla="*/ 59 h 68"/>
                <a:gd name="T32" fmla="*/ 26 w 30"/>
                <a:gd name="T33" fmla="*/ 57 h 68"/>
                <a:gd name="T34" fmla="*/ 26 w 30"/>
                <a:gd name="T35" fmla="*/ 55 h 68"/>
                <a:gd name="T36" fmla="*/ 24 w 30"/>
                <a:gd name="T37" fmla="*/ 55 h 68"/>
                <a:gd name="T38" fmla="*/ 23 w 30"/>
                <a:gd name="T39" fmla="*/ 49 h 68"/>
                <a:gd name="T40" fmla="*/ 21 w 30"/>
                <a:gd name="T41" fmla="*/ 45 h 68"/>
                <a:gd name="T42" fmla="*/ 19 w 30"/>
                <a:gd name="T43" fmla="*/ 42 h 68"/>
                <a:gd name="T44" fmla="*/ 19 w 30"/>
                <a:gd name="T45" fmla="*/ 36 h 68"/>
                <a:gd name="T46" fmla="*/ 19 w 30"/>
                <a:gd name="T47" fmla="*/ 36 h 68"/>
                <a:gd name="T48" fmla="*/ 21 w 30"/>
                <a:gd name="T49" fmla="*/ 30 h 68"/>
                <a:gd name="T50" fmla="*/ 23 w 30"/>
                <a:gd name="T51" fmla="*/ 24 h 68"/>
                <a:gd name="T52" fmla="*/ 24 w 30"/>
                <a:gd name="T53" fmla="*/ 21 h 68"/>
                <a:gd name="T54" fmla="*/ 28 w 30"/>
                <a:gd name="T55" fmla="*/ 17 h 68"/>
                <a:gd name="T56" fmla="*/ 28 w 30"/>
                <a:gd name="T57" fmla="*/ 15 h 68"/>
                <a:gd name="T58" fmla="*/ 30 w 30"/>
                <a:gd name="T59" fmla="*/ 15 h 68"/>
                <a:gd name="T60" fmla="*/ 30 w 30"/>
                <a:gd name="T61" fmla="*/ 13 h 68"/>
                <a:gd name="T62" fmla="*/ 28 w 30"/>
                <a:gd name="T63" fmla="*/ 11 h 68"/>
                <a:gd name="T64" fmla="*/ 21 w 30"/>
                <a:gd name="T65" fmla="*/ 1 h 68"/>
                <a:gd name="T66" fmla="*/ 21 w 30"/>
                <a:gd name="T67" fmla="*/ 1 h 68"/>
                <a:gd name="T68" fmla="*/ 19 w 30"/>
                <a:gd name="T69" fmla="*/ 0 h 68"/>
                <a:gd name="T70" fmla="*/ 17 w 30"/>
                <a:gd name="T71" fmla="*/ 1 h 68"/>
                <a:gd name="T72" fmla="*/ 15 w 30"/>
                <a:gd name="T73" fmla="*/ 1 h 68"/>
                <a:gd name="T74" fmla="*/ 13 w 30"/>
                <a:gd name="T75" fmla="*/ 5 h 68"/>
                <a:gd name="T76" fmla="*/ 9 w 30"/>
                <a:gd name="T77" fmla="*/ 7 h 68"/>
                <a:gd name="T78" fmla="*/ 7 w 30"/>
                <a:gd name="T79" fmla="*/ 11 h 68"/>
                <a:gd name="T80" fmla="*/ 6 w 30"/>
                <a:gd name="T81" fmla="*/ 15 h 68"/>
                <a:gd name="T82" fmla="*/ 2 w 30"/>
                <a:gd name="T83" fmla="*/ 19 h 68"/>
                <a:gd name="T84" fmla="*/ 2 w 30"/>
                <a:gd name="T85" fmla="*/ 24 h 68"/>
                <a:gd name="T86" fmla="*/ 0 w 30"/>
                <a:gd name="T87" fmla="*/ 28 h 68"/>
                <a:gd name="T88" fmla="*/ 0 w 30"/>
                <a:gd name="T89" fmla="*/ 32 h 68"/>
                <a:gd name="T90" fmla="*/ 0 w 30"/>
                <a:gd name="T91" fmla="*/ 3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" h="68">
                  <a:moveTo>
                    <a:pt x="0" y="36"/>
                  </a:moveTo>
                  <a:lnTo>
                    <a:pt x="0" y="36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2" y="47"/>
                  </a:lnTo>
                  <a:lnTo>
                    <a:pt x="2" y="53"/>
                  </a:lnTo>
                  <a:lnTo>
                    <a:pt x="4" y="57"/>
                  </a:lnTo>
                  <a:lnTo>
                    <a:pt x="6" y="61"/>
                  </a:lnTo>
                  <a:lnTo>
                    <a:pt x="7" y="64"/>
                  </a:lnTo>
                  <a:lnTo>
                    <a:pt x="9" y="66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24" y="61"/>
                  </a:lnTo>
                  <a:lnTo>
                    <a:pt x="26" y="59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4" y="55"/>
                  </a:lnTo>
                  <a:lnTo>
                    <a:pt x="23" y="49"/>
                  </a:lnTo>
                  <a:lnTo>
                    <a:pt x="21" y="45"/>
                  </a:lnTo>
                  <a:lnTo>
                    <a:pt x="19" y="42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0"/>
                  </a:lnTo>
                  <a:lnTo>
                    <a:pt x="23" y="24"/>
                  </a:lnTo>
                  <a:lnTo>
                    <a:pt x="24" y="21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8" y="1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19" y="0"/>
                  </a:lnTo>
                  <a:lnTo>
                    <a:pt x="17" y="1"/>
                  </a:lnTo>
                  <a:lnTo>
                    <a:pt x="15" y="1"/>
                  </a:lnTo>
                  <a:lnTo>
                    <a:pt x="13" y="5"/>
                  </a:lnTo>
                  <a:lnTo>
                    <a:pt x="9" y="7"/>
                  </a:lnTo>
                  <a:lnTo>
                    <a:pt x="7" y="11"/>
                  </a:lnTo>
                  <a:lnTo>
                    <a:pt x="6" y="15"/>
                  </a:lnTo>
                  <a:lnTo>
                    <a:pt x="2" y="19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05" name="组合 404">
            <a:extLst>
              <a:ext uri="{FF2B5EF4-FFF2-40B4-BE49-F238E27FC236}">
                <a16:creationId xmlns="" xmlns:a16="http://schemas.microsoft.com/office/drawing/2014/main" id="{FECAEBD3-6BE1-4CE1-AF2C-556BFB563B2A}"/>
              </a:ext>
            </a:extLst>
          </p:cNvPr>
          <p:cNvGrpSpPr/>
          <p:nvPr/>
        </p:nvGrpSpPr>
        <p:grpSpPr>
          <a:xfrm>
            <a:off x="788783" y="6205609"/>
            <a:ext cx="385663" cy="390423"/>
            <a:chOff x="788988" y="6207125"/>
            <a:chExt cx="385763" cy="390525"/>
          </a:xfrm>
        </p:grpSpPr>
        <p:sp>
          <p:nvSpPr>
            <p:cNvPr id="407" name="Oval 26">
              <a:extLst>
                <a:ext uri="{FF2B5EF4-FFF2-40B4-BE49-F238E27FC236}">
                  <a16:creationId xmlns="" xmlns:a16="http://schemas.microsoft.com/office/drawing/2014/main" id="{FA1E4609-7615-4704-871B-071054856B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88" y="6207125"/>
              <a:ext cx="385763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8" name="Freeform 36">
              <a:extLst>
                <a:ext uri="{FF2B5EF4-FFF2-40B4-BE49-F238E27FC236}">
                  <a16:creationId xmlns="" xmlns:a16="http://schemas.microsoft.com/office/drawing/2014/main" id="{9E0A0D16-D9FC-439E-8460-CE4DE19DF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476" y="6294438"/>
              <a:ext cx="207963" cy="217488"/>
            </a:xfrm>
            <a:custGeom>
              <a:avLst/>
              <a:gdLst>
                <a:gd name="T0" fmla="*/ 123 w 131"/>
                <a:gd name="T1" fmla="*/ 10 h 137"/>
                <a:gd name="T2" fmla="*/ 105 w 131"/>
                <a:gd name="T3" fmla="*/ 0 h 137"/>
                <a:gd name="T4" fmla="*/ 105 w 131"/>
                <a:gd name="T5" fmla="*/ 8 h 137"/>
                <a:gd name="T6" fmla="*/ 118 w 131"/>
                <a:gd name="T7" fmla="*/ 14 h 137"/>
                <a:gd name="T8" fmla="*/ 123 w 131"/>
                <a:gd name="T9" fmla="*/ 29 h 137"/>
                <a:gd name="T10" fmla="*/ 129 w 131"/>
                <a:gd name="T11" fmla="*/ 34 h 137"/>
                <a:gd name="T12" fmla="*/ 114 w 131"/>
                <a:gd name="T13" fmla="*/ 31 h 137"/>
                <a:gd name="T14" fmla="*/ 118 w 131"/>
                <a:gd name="T15" fmla="*/ 25 h 137"/>
                <a:gd name="T16" fmla="*/ 112 w 131"/>
                <a:gd name="T17" fmla="*/ 14 h 137"/>
                <a:gd name="T18" fmla="*/ 105 w 131"/>
                <a:gd name="T19" fmla="*/ 12 h 137"/>
                <a:gd name="T20" fmla="*/ 106 w 131"/>
                <a:gd name="T21" fmla="*/ 19 h 137"/>
                <a:gd name="T22" fmla="*/ 112 w 131"/>
                <a:gd name="T23" fmla="*/ 29 h 137"/>
                <a:gd name="T24" fmla="*/ 105 w 131"/>
                <a:gd name="T25" fmla="*/ 29 h 137"/>
                <a:gd name="T26" fmla="*/ 99 w 131"/>
                <a:gd name="T27" fmla="*/ 23 h 137"/>
                <a:gd name="T28" fmla="*/ 125 w 131"/>
                <a:gd name="T29" fmla="*/ 111 h 137"/>
                <a:gd name="T30" fmla="*/ 122 w 131"/>
                <a:gd name="T31" fmla="*/ 107 h 137"/>
                <a:gd name="T32" fmla="*/ 118 w 131"/>
                <a:gd name="T33" fmla="*/ 71 h 137"/>
                <a:gd name="T34" fmla="*/ 76 w 131"/>
                <a:gd name="T35" fmla="*/ 63 h 137"/>
                <a:gd name="T36" fmla="*/ 89 w 131"/>
                <a:gd name="T37" fmla="*/ 63 h 137"/>
                <a:gd name="T38" fmla="*/ 105 w 131"/>
                <a:gd name="T39" fmla="*/ 61 h 137"/>
                <a:gd name="T40" fmla="*/ 74 w 131"/>
                <a:gd name="T41" fmla="*/ 15 h 137"/>
                <a:gd name="T42" fmla="*/ 67 w 131"/>
                <a:gd name="T43" fmla="*/ 23 h 137"/>
                <a:gd name="T44" fmla="*/ 65 w 131"/>
                <a:gd name="T45" fmla="*/ 40 h 137"/>
                <a:gd name="T46" fmla="*/ 59 w 131"/>
                <a:gd name="T47" fmla="*/ 69 h 137"/>
                <a:gd name="T48" fmla="*/ 6 w 131"/>
                <a:gd name="T49" fmla="*/ 99 h 137"/>
                <a:gd name="T50" fmla="*/ 0 w 131"/>
                <a:gd name="T51" fmla="*/ 111 h 137"/>
                <a:gd name="T52" fmla="*/ 4 w 131"/>
                <a:gd name="T53" fmla="*/ 122 h 137"/>
                <a:gd name="T54" fmla="*/ 21 w 131"/>
                <a:gd name="T55" fmla="*/ 128 h 137"/>
                <a:gd name="T56" fmla="*/ 29 w 131"/>
                <a:gd name="T57" fmla="*/ 136 h 137"/>
                <a:gd name="T58" fmla="*/ 40 w 131"/>
                <a:gd name="T59" fmla="*/ 136 h 137"/>
                <a:gd name="T60" fmla="*/ 48 w 131"/>
                <a:gd name="T61" fmla="*/ 126 h 137"/>
                <a:gd name="T62" fmla="*/ 84 w 131"/>
                <a:gd name="T63" fmla="*/ 128 h 137"/>
                <a:gd name="T64" fmla="*/ 91 w 131"/>
                <a:gd name="T65" fmla="*/ 136 h 137"/>
                <a:gd name="T66" fmla="*/ 103 w 131"/>
                <a:gd name="T67" fmla="*/ 136 h 137"/>
                <a:gd name="T68" fmla="*/ 110 w 131"/>
                <a:gd name="T69" fmla="*/ 128 h 137"/>
                <a:gd name="T70" fmla="*/ 118 w 131"/>
                <a:gd name="T71" fmla="*/ 120 h 137"/>
                <a:gd name="T72" fmla="*/ 127 w 131"/>
                <a:gd name="T73" fmla="*/ 118 h 137"/>
                <a:gd name="T74" fmla="*/ 42 w 131"/>
                <a:gd name="T75" fmla="*/ 124 h 137"/>
                <a:gd name="T76" fmla="*/ 30 w 131"/>
                <a:gd name="T77" fmla="*/ 130 h 137"/>
                <a:gd name="T78" fmla="*/ 27 w 131"/>
                <a:gd name="T79" fmla="*/ 118 h 137"/>
                <a:gd name="T80" fmla="*/ 36 w 131"/>
                <a:gd name="T81" fmla="*/ 115 h 137"/>
                <a:gd name="T82" fmla="*/ 55 w 131"/>
                <a:gd name="T83" fmla="*/ 76 h 137"/>
                <a:gd name="T84" fmla="*/ 34 w 131"/>
                <a:gd name="T85" fmla="*/ 90 h 137"/>
                <a:gd name="T86" fmla="*/ 25 w 131"/>
                <a:gd name="T87" fmla="*/ 92 h 137"/>
                <a:gd name="T88" fmla="*/ 53 w 131"/>
                <a:gd name="T89" fmla="*/ 75 h 137"/>
                <a:gd name="T90" fmla="*/ 103 w 131"/>
                <a:gd name="T91" fmla="*/ 128 h 137"/>
                <a:gd name="T92" fmla="*/ 91 w 131"/>
                <a:gd name="T93" fmla="*/ 128 h 137"/>
                <a:gd name="T94" fmla="*/ 91 w 131"/>
                <a:gd name="T95" fmla="*/ 116 h 137"/>
                <a:gd name="T96" fmla="*/ 103 w 131"/>
                <a:gd name="T97" fmla="*/ 116 h 137"/>
                <a:gd name="T98" fmla="*/ 99 w 131"/>
                <a:gd name="T99" fmla="*/ 122 h 137"/>
                <a:gd name="T100" fmla="*/ 93 w 131"/>
                <a:gd name="T101" fmla="*/ 122 h 137"/>
                <a:gd name="T102" fmla="*/ 93 w 131"/>
                <a:gd name="T103" fmla="*/ 124 h 137"/>
                <a:gd name="T104" fmla="*/ 99 w 131"/>
                <a:gd name="T105" fmla="*/ 124 h 137"/>
                <a:gd name="T106" fmla="*/ 36 w 131"/>
                <a:gd name="T107" fmla="*/ 122 h 137"/>
                <a:gd name="T108" fmla="*/ 32 w 131"/>
                <a:gd name="T109" fmla="*/ 122 h 137"/>
                <a:gd name="T110" fmla="*/ 32 w 131"/>
                <a:gd name="T111" fmla="*/ 124 h 137"/>
                <a:gd name="T112" fmla="*/ 36 w 131"/>
                <a:gd name="T113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1" h="137">
                  <a:moveTo>
                    <a:pt x="131" y="27"/>
                  </a:moveTo>
                  <a:lnTo>
                    <a:pt x="129" y="23"/>
                  </a:lnTo>
                  <a:lnTo>
                    <a:pt x="129" y="21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5" y="14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2" y="6"/>
                  </a:lnTo>
                  <a:lnTo>
                    <a:pt x="120" y="6"/>
                  </a:lnTo>
                  <a:lnTo>
                    <a:pt x="118" y="4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0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2" y="19"/>
                  </a:lnTo>
                  <a:lnTo>
                    <a:pt x="122" y="21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31" y="34"/>
                  </a:lnTo>
                  <a:lnTo>
                    <a:pt x="131" y="33"/>
                  </a:lnTo>
                  <a:lnTo>
                    <a:pt x="131" y="31"/>
                  </a:lnTo>
                  <a:lnTo>
                    <a:pt x="131" y="27"/>
                  </a:lnTo>
                  <a:close/>
                  <a:moveTo>
                    <a:pt x="114" y="31"/>
                  </a:moveTo>
                  <a:lnTo>
                    <a:pt x="114" y="31"/>
                  </a:lnTo>
                  <a:lnTo>
                    <a:pt x="114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20" y="31"/>
                  </a:lnTo>
                  <a:lnTo>
                    <a:pt x="120" y="29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8" y="25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6" y="17"/>
                  </a:lnTo>
                  <a:lnTo>
                    <a:pt x="116" y="17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0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4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4" y="31"/>
                  </a:lnTo>
                  <a:close/>
                  <a:moveTo>
                    <a:pt x="103" y="34"/>
                  </a:moveTo>
                  <a:lnTo>
                    <a:pt x="103" y="33"/>
                  </a:lnTo>
                  <a:lnTo>
                    <a:pt x="103" y="33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29"/>
                  </a:lnTo>
                  <a:lnTo>
                    <a:pt x="103" y="29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1" y="25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5" y="25"/>
                  </a:lnTo>
                  <a:lnTo>
                    <a:pt x="91" y="29"/>
                  </a:lnTo>
                  <a:lnTo>
                    <a:pt x="99" y="38"/>
                  </a:lnTo>
                  <a:lnTo>
                    <a:pt x="103" y="34"/>
                  </a:lnTo>
                  <a:close/>
                  <a:moveTo>
                    <a:pt x="125" y="111"/>
                  </a:moveTo>
                  <a:lnTo>
                    <a:pt x="125" y="111"/>
                  </a:lnTo>
                  <a:lnTo>
                    <a:pt x="125" y="111"/>
                  </a:lnTo>
                  <a:lnTo>
                    <a:pt x="125" y="109"/>
                  </a:lnTo>
                  <a:lnTo>
                    <a:pt x="123" y="109"/>
                  </a:lnTo>
                  <a:lnTo>
                    <a:pt x="123" y="109"/>
                  </a:lnTo>
                  <a:lnTo>
                    <a:pt x="122" y="109"/>
                  </a:lnTo>
                  <a:lnTo>
                    <a:pt x="122" y="107"/>
                  </a:lnTo>
                  <a:lnTo>
                    <a:pt x="122" y="107"/>
                  </a:lnTo>
                  <a:lnTo>
                    <a:pt x="122" y="105"/>
                  </a:lnTo>
                  <a:lnTo>
                    <a:pt x="122" y="101"/>
                  </a:lnTo>
                  <a:lnTo>
                    <a:pt x="122" y="97"/>
                  </a:lnTo>
                  <a:lnTo>
                    <a:pt x="120" y="88"/>
                  </a:lnTo>
                  <a:lnTo>
                    <a:pt x="120" y="80"/>
                  </a:lnTo>
                  <a:lnTo>
                    <a:pt x="118" y="73"/>
                  </a:lnTo>
                  <a:lnTo>
                    <a:pt x="118" y="73"/>
                  </a:lnTo>
                  <a:lnTo>
                    <a:pt x="118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76" y="69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8" y="59"/>
                  </a:lnTo>
                  <a:lnTo>
                    <a:pt x="80" y="61"/>
                  </a:lnTo>
                  <a:lnTo>
                    <a:pt x="82" y="61"/>
                  </a:lnTo>
                  <a:lnTo>
                    <a:pt x="84" y="63"/>
                  </a:lnTo>
                  <a:lnTo>
                    <a:pt x="87" y="63"/>
                  </a:lnTo>
                  <a:lnTo>
                    <a:pt x="89" y="63"/>
                  </a:lnTo>
                  <a:lnTo>
                    <a:pt x="91" y="63"/>
                  </a:lnTo>
                  <a:lnTo>
                    <a:pt x="93" y="63"/>
                  </a:lnTo>
                  <a:lnTo>
                    <a:pt x="95" y="63"/>
                  </a:lnTo>
                  <a:lnTo>
                    <a:pt x="97" y="63"/>
                  </a:lnTo>
                  <a:lnTo>
                    <a:pt x="99" y="63"/>
                  </a:lnTo>
                  <a:lnTo>
                    <a:pt x="101" y="63"/>
                  </a:lnTo>
                  <a:lnTo>
                    <a:pt x="103" y="61"/>
                  </a:lnTo>
                  <a:lnTo>
                    <a:pt x="105" y="61"/>
                  </a:lnTo>
                  <a:lnTo>
                    <a:pt x="106" y="59"/>
                  </a:lnTo>
                  <a:lnTo>
                    <a:pt x="108" y="59"/>
                  </a:lnTo>
                  <a:lnTo>
                    <a:pt x="110" y="57"/>
                  </a:lnTo>
                  <a:lnTo>
                    <a:pt x="112" y="57"/>
                  </a:lnTo>
                  <a:lnTo>
                    <a:pt x="112" y="55"/>
                  </a:lnTo>
                  <a:lnTo>
                    <a:pt x="112" y="55"/>
                  </a:lnTo>
                  <a:lnTo>
                    <a:pt x="110" y="5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0" y="17"/>
                  </a:lnTo>
                  <a:lnTo>
                    <a:pt x="68" y="19"/>
                  </a:lnTo>
                  <a:lnTo>
                    <a:pt x="68" y="21"/>
                  </a:lnTo>
                  <a:lnTo>
                    <a:pt x="67" y="23"/>
                  </a:lnTo>
                  <a:lnTo>
                    <a:pt x="67" y="25"/>
                  </a:lnTo>
                  <a:lnTo>
                    <a:pt x="65" y="27"/>
                  </a:lnTo>
                  <a:lnTo>
                    <a:pt x="65" y="31"/>
                  </a:lnTo>
                  <a:lnTo>
                    <a:pt x="65" y="33"/>
                  </a:lnTo>
                  <a:lnTo>
                    <a:pt x="65" y="34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5" y="40"/>
                  </a:lnTo>
                  <a:lnTo>
                    <a:pt x="65" y="44"/>
                  </a:lnTo>
                  <a:lnTo>
                    <a:pt x="67" y="46"/>
                  </a:lnTo>
                  <a:lnTo>
                    <a:pt x="67" y="48"/>
                  </a:lnTo>
                  <a:lnTo>
                    <a:pt x="68" y="50"/>
                  </a:lnTo>
                  <a:lnTo>
                    <a:pt x="59" y="5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9"/>
                  </a:lnTo>
                  <a:lnTo>
                    <a:pt x="34" y="69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73"/>
                  </a:lnTo>
                  <a:lnTo>
                    <a:pt x="15" y="96"/>
                  </a:lnTo>
                  <a:lnTo>
                    <a:pt x="8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11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8" y="122"/>
                  </a:lnTo>
                  <a:lnTo>
                    <a:pt x="17" y="122"/>
                  </a:lnTo>
                  <a:lnTo>
                    <a:pt x="19" y="122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9" y="126"/>
                  </a:lnTo>
                  <a:lnTo>
                    <a:pt x="19" y="128"/>
                  </a:lnTo>
                  <a:lnTo>
                    <a:pt x="21" y="128"/>
                  </a:lnTo>
                  <a:lnTo>
                    <a:pt x="21" y="130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7" y="136"/>
                  </a:lnTo>
                  <a:lnTo>
                    <a:pt x="29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32" y="137"/>
                  </a:lnTo>
                  <a:lnTo>
                    <a:pt x="34" y="137"/>
                  </a:lnTo>
                  <a:lnTo>
                    <a:pt x="36" y="137"/>
                  </a:lnTo>
                  <a:lnTo>
                    <a:pt x="36" y="136"/>
                  </a:lnTo>
                  <a:lnTo>
                    <a:pt x="38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2" y="134"/>
                  </a:lnTo>
                  <a:lnTo>
                    <a:pt x="44" y="134"/>
                  </a:lnTo>
                  <a:lnTo>
                    <a:pt x="44" y="132"/>
                  </a:lnTo>
                  <a:lnTo>
                    <a:pt x="46" y="132"/>
                  </a:lnTo>
                  <a:lnTo>
                    <a:pt x="46" y="130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6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2"/>
                  </a:lnTo>
                  <a:lnTo>
                    <a:pt x="82" y="122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26"/>
                  </a:lnTo>
                  <a:lnTo>
                    <a:pt x="84" y="128"/>
                  </a:lnTo>
                  <a:lnTo>
                    <a:pt x="84" y="128"/>
                  </a:lnTo>
                  <a:lnTo>
                    <a:pt x="84" y="130"/>
                  </a:lnTo>
                  <a:lnTo>
                    <a:pt x="86" y="132"/>
                  </a:lnTo>
                  <a:lnTo>
                    <a:pt x="86" y="132"/>
                  </a:lnTo>
                  <a:lnTo>
                    <a:pt x="87" y="134"/>
                  </a:lnTo>
                  <a:lnTo>
                    <a:pt x="87" y="134"/>
                  </a:lnTo>
                  <a:lnTo>
                    <a:pt x="89" y="136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3" y="136"/>
                  </a:lnTo>
                  <a:lnTo>
                    <a:pt x="95" y="137"/>
                  </a:lnTo>
                  <a:lnTo>
                    <a:pt x="97" y="137"/>
                  </a:lnTo>
                  <a:lnTo>
                    <a:pt x="99" y="137"/>
                  </a:lnTo>
                  <a:lnTo>
                    <a:pt x="99" y="136"/>
                  </a:lnTo>
                  <a:lnTo>
                    <a:pt x="101" y="136"/>
                  </a:lnTo>
                  <a:lnTo>
                    <a:pt x="103" y="136"/>
                  </a:lnTo>
                  <a:lnTo>
                    <a:pt x="105" y="136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2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6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2"/>
                  </a:lnTo>
                  <a:lnTo>
                    <a:pt x="114" y="122"/>
                  </a:lnTo>
                  <a:lnTo>
                    <a:pt x="116" y="122"/>
                  </a:lnTo>
                  <a:lnTo>
                    <a:pt x="116" y="120"/>
                  </a:lnTo>
                  <a:lnTo>
                    <a:pt x="118" y="120"/>
                  </a:lnTo>
                  <a:lnTo>
                    <a:pt x="118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7" y="118"/>
                  </a:lnTo>
                  <a:lnTo>
                    <a:pt x="127" y="116"/>
                  </a:lnTo>
                  <a:lnTo>
                    <a:pt x="127" y="116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1"/>
                  </a:lnTo>
                  <a:lnTo>
                    <a:pt x="125" y="111"/>
                  </a:lnTo>
                  <a:close/>
                  <a:moveTo>
                    <a:pt x="42" y="124"/>
                  </a:moveTo>
                  <a:lnTo>
                    <a:pt x="42" y="124"/>
                  </a:lnTo>
                  <a:lnTo>
                    <a:pt x="40" y="126"/>
                  </a:lnTo>
                  <a:lnTo>
                    <a:pt x="40" y="128"/>
                  </a:lnTo>
                  <a:lnTo>
                    <a:pt x="38" y="128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4" y="130"/>
                  </a:lnTo>
                  <a:lnTo>
                    <a:pt x="32" y="130"/>
                  </a:lnTo>
                  <a:lnTo>
                    <a:pt x="30" y="130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7" y="126"/>
                  </a:lnTo>
                  <a:lnTo>
                    <a:pt x="27" y="124"/>
                  </a:lnTo>
                  <a:lnTo>
                    <a:pt x="25" y="124"/>
                  </a:lnTo>
                  <a:lnTo>
                    <a:pt x="25" y="122"/>
                  </a:lnTo>
                  <a:lnTo>
                    <a:pt x="25" y="120"/>
                  </a:lnTo>
                  <a:lnTo>
                    <a:pt x="27" y="118"/>
                  </a:lnTo>
                  <a:lnTo>
                    <a:pt x="27" y="116"/>
                  </a:lnTo>
                  <a:lnTo>
                    <a:pt x="29" y="116"/>
                  </a:lnTo>
                  <a:lnTo>
                    <a:pt x="29" y="115"/>
                  </a:lnTo>
                  <a:lnTo>
                    <a:pt x="30" y="115"/>
                  </a:lnTo>
                  <a:lnTo>
                    <a:pt x="32" y="113"/>
                  </a:lnTo>
                  <a:lnTo>
                    <a:pt x="34" y="113"/>
                  </a:lnTo>
                  <a:lnTo>
                    <a:pt x="36" y="113"/>
                  </a:lnTo>
                  <a:lnTo>
                    <a:pt x="36" y="115"/>
                  </a:lnTo>
                  <a:lnTo>
                    <a:pt x="38" y="115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2" y="122"/>
                  </a:lnTo>
                  <a:lnTo>
                    <a:pt x="42" y="124"/>
                  </a:lnTo>
                  <a:close/>
                  <a:moveTo>
                    <a:pt x="55" y="76"/>
                  </a:moveTo>
                  <a:lnTo>
                    <a:pt x="49" y="88"/>
                  </a:lnTo>
                  <a:lnTo>
                    <a:pt x="49" y="88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6" y="75"/>
                  </a:lnTo>
                  <a:lnTo>
                    <a:pt x="53" y="75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6"/>
                  </a:lnTo>
                  <a:close/>
                  <a:moveTo>
                    <a:pt x="105" y="124"/>
                  </a:moveTo>
                  <a:lnTo>
                    <a:pt x="105" y="124"/>
                  </a:lnTo>
                  <a:lnTo>
                    <a:pt x="103" y="126"/>
                  </a:lnTo>
                  <a:lnTo>
                    <a:pt x="103" y="128"/>
                  </a:lnTo>
                  <a:lnTo>
                    <a:pt x="101" y="128"/>
                  </a:lnTo>
                  <a:lnTo>
                    <a:pt x="101" y="130"/>
                  </a:lnTo>
                  <a:lnTo>
                    <a:pt x="99" y="130"/>
                  </a:lnTo>
                  <a:lnTo>
                    <a:pt x="97" y="130"/>
                  </a:lnTo>
                  <a:lnTo>
                    <a:pt x="95" y="130"/>
                  </a:lnTo>
                  <a:lnTo>
                    <a:pt x="93" y="130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9" y="126"/>
                  </a:lnTo>
                  <a:lnTo>
                    <a:pt x="89" y="124"/>
                  </a:lnTo>
                  <a:lnTo>
                    <a:pt x="87" y="124"/>
                  </a:lnTo>
                  <a:lnTo>
                    <a:pt x="87" y="122"/>
                  </a:lnTo>
                  <a:lnTo>
                    <a:pt x="87" y="120"/>
                  </a:lnTo>
                  <a:lnTo>
                    <a:pt x="89" y="118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1" y="115"/>
                  </a:lnTo>
                  <a:lnTo>
                    <a:pt x="93" y="115"/>
                  </a:lnTo>
                  <a:lnTo>
                    <a:pt x="95" y="113"/>
                  </a:lnTo>
                  <a:lnTo>
                    <a:pt x="97" y="113"/>
                  </a:lnTo>
                  <a:lnTo>
                    <a:pt x="99" y="113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05" y="118"/>
                  </a:lnTo>
                  <a:lnTo>
                    <a:pt x="105" y="120"/>
                  </a:lnTo>
                  <a:lnTo>
                    <a:pt x="105" y="122"/>
                  </a:lnTo>
                  <a:lnTo>
                    <a:pt x="105" y="124"/>
                  </a:lnTo>
                  <a:close/>
                  <a:moveTo>
                    <a:pt x="99" y="122"/>
                  </a:move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5" y="120"/>
                  </a:lnTo>
                  <a:lnTo>
                    <a:pt x="95" y="120"/>
                  </a:lnTo>
                  <a:lnTo>
                    <a:pt x="95" y="120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4"/>
                  </a:lnTo>
                  <a:lnTo>
                    <a:pt x="91" y="124"/>
                  </a:lnTo>
                  <a:lnTo>
                    <a:pt x="93" y="124"/>
                  </a:lnTo>
                  <a:lnTo>
                    <a:pt x="93" y="124"/>
                  </a:lnTo>
                  <a:lnTo>
                    <a:pt x="93" y="124"/>
                  </a:lnTo>
                  <a:lnTo>
                    <a:pt x="95" y="124"/>
                  </a:lnTo>
                  <a:lnTo>
                    <a:pt x="95" y="124"/>
                  </a:lnTo>
                  <a:lnTo>
                    <a:pt x="95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99" y="124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close/>
                  <a:moveTo>
                    <a:pt x="38" y="122"/>
                  </a:moveTo>
                  <a:lnTo>
                    <a:pt x="36" y="122"/>
                  </a:lnTo>
                  <a:lnTo>
                    <a:pt x="36" y="122"/>
                  </a:lnTo>
                  <a:lnTo>
                    <a:pt x="36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11" name="组合 410">
            <a:extLst>
              <a:ext uri="{FF2B5EF4-FFF2-40B4-BE49-F238E27FC236}">
                <a16:creationId xmlns="" xmlns:a16="http://schemas.microsoft.com/office/drawing/2014/main" id="{13B8EC13-60A9-4B4B-BCBE-E64F565DB6B0}"/>
              </a:ext>
            </a:extLst>
          </p:cNvPr>
          <p:cNvGrpSpPr/>
          <p:nvPr/>
        </p:nvGrpSpPr>
        <p:grpSpPr>
          <a:xfrm>
            <a:off x="957015" y="5215266"/>
            <a:ext cx="385663" cy="387249"/>
            <a:chOff x="957263" y="5216525"/>
            <a:chExt cx="385763" cy="387350"/>
          </a:xfrm>
        </p:grpSpPr>
        <p:sp>
          <p:nvSpPr>
            <p:cNvPr id="413" name="Oval 10">
              <a:extLst>
                <a:ext uri="{FF2B5EF4-FFF2-40B4-BE49-F238E27FC236}">
                  <a16:creationId xmlns="" xmlns:a16="http://schemas.microsoft.com/office/drawing/2014/main" id="{3CD41A9A-16C2-46BD-98AB-68488FFF2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263" y="5216525"/>
              <a:ext cx="385763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4" name="Freeform 40">
              <a:extLst>
                <a:ext uri="{FF2B5EF4-FFF2-40B4-BE49-F238E27FC236}">
                  <a16:creationId xmlns="" xmlns:a16="http://schemas.microsoft.com/office/drawing/2014/main" id="{AC5235C8-0FA1-44E0-AB5F-646F355F26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751" y="5262563"/>
              <a:ext cx="204788" cy="273050"/>
            </a:xfrm>
            <a:custGeom>
              <a:avLst/>
              <a:gdLst>
                <a:gd name="T0" fmla="*/ 8 w 68"/>
                <a:gd name="T1" fmla="*/ 79 h 90"/>
                <a:gd name="T2" fmla="*/ 6 w 68"/>
                <a:gd name="T3" fmla="*/ 83 h 90"/>
                <a:gd name="T4" fmla="*/ 62 w 68"/>
                <a:gd name="T5" fmla="*/ 79 h 90"/>
                <a:gd name="T6" fmla="*/ 65 w 68"/>
                <a:gd name="T7" fmla="*/ 50 h 90"/>
                <a:gd name="T8" fmla="*/ 66 w 68"/>
                <a:gd name="T9" fmla="*/ 44 h 90"/>
                <a:gd name="T10" fmla="*/ 33 w 68"/>
                <a:gd name="T11" fmla="*/ 29 h 90"/>
                <a:gd name="T12" fmla="*/ 3 w 68"/>
                <a:gd name="T13" fmla="*/ 50 h 90"/>
                <a:gd name="T14" fmla="*/ 29 w 68"/>
                <a:gd name="T15" fmla="*/ 50 h 90"/>
                <a:gd name="T16" fmla="*/ 54 w 68"/>
                <a:gd name="T17" fmla="*/ 79 h 90"/>
                <a:gd name="T18" fmla="*/ 54 w 68"/>
                <a:gd name="T19" fmla="*/ 50 h 90"/>
                <a:gd name="T20" fmla="*/ 53 w 68"/>
                <a:gd name="T21" fmla="*/ 44 h 90"/>
                <a:gd name="T22" fmla="*/ 14 w 68"/>
                <a:gd name="T23" fmla="*/ 50 h 90"/>
                <a:gd name="T24" fmla="*/ 14 w 68"/>
                <a:gd name="T25" fmla="*/ 79 h 90"/>
                <a:gd name="T26" fmla="*/ 3 w 68"/>
                <a:gd name="T27" fmla="*/ 84 h 90"/>
                <a:gd name="T28" fmla="*/ 65 w 68"/>
                <a:gd name="T29" fmla="*/ 90 h 90"/>
                <a:gd name="T30" fmla="*/ 44 w 68"/>
                <a:gd name="T31" fmla="*/ 17 h 90"/>
                <a:gd name="T32" fmla="*/ 40 w 68"/>
                <a:gd name="T33" fmla="*/ 14 h 90"/>
                <a:gd name="T34" fmla="*/ 35 w 68"/>
                <a:gd name="T35" fmla="*/ 12 h 90"/>
                <a:gd name="T36" fmla="*/ 31 w 68"/>
                <a:gd name="T37" fmla="*/ 12 h 90"/>
                <a:gd name="T38" fmla="*/ 27 w 68"/>
                <a:gd name="T39" fmla="*/ 13 h 90"/>
                <a:gd name="T40" fmla="*/ 23 w 68"/>
                <a:gd name="T41" fmla="*/ 15 h 90"/>
                <a:gd name="T42" fmla="*/ 21 w 68"/>
                <a:gd name="T43" fmla="*/ 17 h 90"/>
                <a:gd name="T44" fmla="*/ 24 w 68"/>
                <a:gd name="T45" fmla="*/ 21 h 90"/>
                <a:gd name="T46" fmla="*/ 25 w 68"/>
                <a:gd name="T47" fmla="*/ 22 h 90"/>
                <a:gd name="T48" fmla="*/ 29 w 68"/>
                <a:gd name="T49" fmla="*/ 20 h 90"/>
                <a:gd name="T50" fmla="*/ 33 w 68"/>
                <a:gd name="T51" fmla="*/ 19 h 90"/>
                <a:gd name="T52" fmla="*/ 38 w 68"/>
                <a:gd name="T53" fmla="*/ 21 h 90"/>
                <a:gd name="T54" fmla="*/ 40 w 68"/>
                <a:gd name="T55" fmla="*/ 23 h 90"/>
                <a:gd name="T56" fmla="*/ 45 w 68"/>
                <a:gd name="T57" fmla="*/ 20 h 90"/>
                <a:gd name="T58" fmla="*/ 45 w 68"/>
                <a:gd name="T59" fmla="*/ 19 h 90"/>
                <a:gd name="T60" fmla="*/ 12 w 68"/>
                <a:gd name="T61" fmla="*/ 10 h 90"/>
                <a:gd name="T62" fmla="*/ 16 w 68"/>
                <a:gd name="T63" fmla="*/ 13 h 90"/>
                <a:gd name="T64" fmla="*/ 19 w 68"/>
                <a:gd name="T65" fmla="*/ 12 h 90"/>
                <a:gd name="T66" fmla="*/ 25 w 68"/>
                <a:gd name="T67" fmla="*/ 9 h 90"/>
                <a:gd name="T68" fmla="*/ 31 w 68"/>
                <a:gd name="T69" fmla="*/ 8 h 90"/>
                <a:gd name="T70" fmla="*/ 37 w 68"/>
                <a:gd name="T71" fmla="*/ 8 h 90"/>
                <a:gd name="T72" fmla="*/ 43 w 68"/>
                <a:gd name="T73" fmla="*/ 10 h 90"/>
                <a:gd name="T74" fmla="*/ 48 w 68"/>
                <a:gd name="T75" fmla="*/ 14 h 90"/>
                <a:gd name="T76" fmla="*/ 51 w 68"/>
                <a:gd name="T77" fmla="*/ 16 h 90"/>
                <a:gd name="T78" fmla="*/ 55 w 68"/>
                <a:gd name="T79" fmla="*/ 13 h 90"/>
                <a:gd name="T80" fmla="*/ 56 w 68"/>
                <a:gd name="T81" fmla="*/ 12 h 90"/>
                <a:gd name="T82" fmla="*/ 51 w 68"/>
                <a:gd name="T83" fmla="*/ 7 h 90"/>
                <a:gd name="T84" fmla="*/ 43 w 68"/>
                <a:gd name="T85" fmla="*/ 3 h 90"/>
                <a:gd name="T86" fmla="*/ 35 w 68"/>
                <a:gd name="T87" fmla="*/ 1 h 90"/>
                <a:gd name="T88" fmla="*/ 28 w 68"/>
                <a:gd name="T89" fmla="*/ 1 h 90"/>
                <a:gd name="T90" fmla="*/ 20 w 68"/>
                <a:gd name="T91" fmla="*/ 3 h 90"/>
                <a:gd name="T92" fmla="*/ 13 w 68"/>
                <a:gd name="T93" fmla="*/ 7 h 90"/>
                <a:gd name="T94" fmla="*/ 12 w 68"/>
                <a:gd name="T95" fmla="*/ 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90">
                  <a:moveTo>
                    <a:pt x="3" y="50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9"/>
                    <a:pt x="4" y="80"/>
                    <a:pt x="4" y="81"/>
                  </a:cubicBezTo>
                  <a:cubicBezTo>
                    <a:pt x="4" y="82"/>
                    <a:pt x="5" y="83"/>
                    <a:pt x="6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3" y="83"/>
                    <a:pt x="64" y="82"/>
                    <a:pt x="64" y="81"/>
                  </a:cubicBezTo>
                  <a:cubicBezTo>
                    <a:pt x="64" y="80"/>
                    <a:pt x="63" y="79"/>
                    <a:pt x="62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6" y="50"/>
                    <a:pt x="67" y="49"/>
                    <a:pt x="67" y="48"/>
                  </a:cubicBezTo>
                  <a:cubicBezTo>
                    <a:pt x="68" y="47"/>
                    <a:pt x="67" y="45"/>
                    <a:pt x="66" y="44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4" y="29"/>
                    <a:pt x="33" y="29"/>
                    <a:pt x="33" y="2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0" y="48"/>
                    <a:pt x="1" y="50"/>
                    <a:pt x="3" y="50"/>
                  </a:cubicBezTo>
                  <a:close/>
                  <a:moveTo>
                    <a:pt x="39" y="79"/>
                  </a:moveTo>
                  <a:cubicBezTo>
                    <a:pt x="29" y="79"/>
                    <a:pt x="29" y="79"/>
                    <a:pt x="29" y="7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9" y="50"/>
                    <a:pt x="39" y="50"/>
                    <a:pt x="39" y="50"/>
                  </a:cubicBezTo>
                  <a:lnTo>
                    <a:pt x="39" y="79"/>
                  </a:lnTo>
                  <a:close/>
                  <a:moveTo>
                    <a:pt x="54" y="79"/>
                  </a:moveTo>
                  <a:cubicBezTo>
                    <a:pt x="44" y="79"/>
                    <a:pt x="44" y="79"/>
                    <a:pt x="44" y="7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54" y="50"/>
                    <a:pt x="54" y="50"/>
                    <a:pt x="54" y="50"/>
                  </a:cubicBezTo>
                  <a:lnTo>
                    <a:pt x="54" y="79"/>
                  </a:lnTo>
                  <a:close/>
                  <a:moveTo>
                    <a:pt x="34" y="34"/>
                  </a:moveTo>
                  <a:cubicBezTo>
                    <a:pt x="53" y="44"/>
                    <a:pt x="53" y="44"/>
                    <a:pt x="53" y="44"/>
                  </a:cubicBezTo>
                  <a:cubicBezTo>
                    <a:pt x="14" y="44"/>
                    <a:pt x="14" y="44"/>
                    <a:pt x="14" y="44"/>
                  </a:cubicBezTo>
                  <a:lnTo>
                    <a:pt x="34" y="34"/>
                  </a:lnTo>
                  <a:close/>
                  <a:moveTo>
                    <a:pt x="14" y="50"/>
                  </a:moveTo>
                  <a:cubicBezTo>
                    <a:pt x="23" y="50"/>
                    <a:pt x="23" y="50"/>
                    <a:pt x="23" y="50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4" y="79"/>
                    <a:pt x="14" y="79"/>
                    <a:pt x="14" y="79"/>
                  </a:cubicBezTo>
                  <a:lnTo>
                    <a:pt x="14" y="50"/>
                  </a:lnTo>
                  <a:close/>
                  <a:moveTo>
                    <a:pt x="65" y="84"/>
                  </a:moveTo>
                  <a:cubicBezTo>
                    <a:pt x="3" y="84"/>
                    <a:pt x="3" y="84"/>
                    <a:pt x="3" y="84"/>
                  </a:cubicBezTo>
                  <a:cubicBezTo>
                    <a:pt x="1" y="84"/>
                    <a:pt x="0" y="85"/>
                    <a:pt x="0" y="87"/>
                  </a:cubicBezTo>
                  <a:cubicBezTo>
                    <a:pt x="0" y="88"/>
                    <a:pt x="1" y="90"/>
                    <a:pt x="3" y="90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66" y="90"/>
                    <a:pt x="68" y="88"/>
                    <a:pt x="68" y="87"/>
                  </a:cubicBezTo>
                  <a:cubicBezTo>
                    <a:pt x="68" y="85"/>
                    <a:pt x="66" y="84"/>
                    <a:pt x="65" y="84"/>
                  </a:cubicBezTo>
                  <a:close/>
                  <a:moveTo>
                    <a:pt x="44" y="17"/>
                  </a:moveTo>
                  <a:cubicBezTo>
                    <a:pt x="43" y="16"/>
                    <a:pt x="43" y="16"/>
                    <a:pt x="43" y="16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lnTo>
                    <a:pt x="44" y="17"/>
                  </a:lnTo>
                  <a:close/>
                  <a:moveTo>
                    <a:pt x="12" y="10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12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17" name="组合 416">
            <a:extLst>
              <a:ext uri="{FF2B5EF4-FFF2-40B4-BE49-F238E27FC236}">
                <a16:creationId xmlns="" xmlns:a16="http://schemas.microsoft.com/office/drawing/2014/main" id="{C978AF36-01B0-4685-A936-59D21F217027}"/>
              </a:ext>
            </a:extLst>
          </p:cNvPr>
          <p:cNvGrpSpPr/>
          <p:nvPr/>
        </p:nvGrpSpPr>
        <p:grpSpPr>
          <a:xfrm>
            <a:off x="4542243" y="4396330"/>
            <a:ext cx="388837" cy="390423"/>
            <a:chOff x="4543426" y="4397375"/>
            <a:chExt cx="388938" cy="390525"/>
          </a:xfrm>
        </p:grpSpPr>
        <p:sp>
          <p:nvSpPr>
            <p:cNvPr id="419" name="Oval 28">
              <a:extLst>
                <a:ext uri="{FF2B5EF4-FFF2-40B4-BE49-F238E27FC236}">
                  <a16:creationId xmlns="" xmlns:a16="http://schemas.microsoft.com/office/drawing/2014/main" id="{5D465A68-5773-4038-9CFC-83261BF31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3426" y="4397375"/>
              <a:ext cx="388938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0" name="Freeform 33">
              <a:extLst>
                <a:ext uri="{FF2B5EF4-FFF2-40B4-BE49-F238E27FC236}">
                  <a16:creationId xmlns="" xmlns:a16="http://schemas.microsoft.com/office/drawing/2014/main" id="{26615CAE-4661-4556-B5E0-D5D850BDA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0101" y="4467225"/>
              <a:ext cx="255588" cy="250825"/>
            </a:xfrm>
            <a:custGeom>
              <a:avLst/>
              <a:gdLst>
                <a:gd name="T0" fmla="*/ 157 w 161"/>
                <a:gd name="T1" fmla="*/ 102 h 158"/>
                <a:gd name="T2" fmla="*/ 146 w 161"/>
                <a:gd name="T3" fmla="*/ 91 h 158"/>
                <a:gd name="T4" fmla="*/ 133 w 161"/>
                <a:gd name="T5" fmla="*/ 85 h 158"/>
                <a:gd name="T6" fmla="*/ 129 w 161"/>
                <a:gd name="T7" fmla="*/ 87 h 158"/>
                <a:gd name="T8" fmla="*/ 129 w 161"/>
                <a:gd name="T9" fmla="*/ 95 h 158"/>
                <a:gd name="T10" fmla="*/ 140 w 161"/>
                <a:gd name="T11" fmla="*/ 97 h 158"/>
                <a:gd name="T12" fmla="*/ 148 w 161"/>
                <a:gd name="T13" fmla="*/ 104 h 158"/>
                <a:gd name="T14" fmla="*/ 153 w 161"/>
                <a:gd name="T15" fmla="*/ 120 h 158"/>
                <a:gd name="T16" fmla="*/ 159 w 161"/>
                <a:gd name="T17" fmla="*/ 125 h 158"/>
                <a:gd name="T18" fmla="*/ 161 w 161"/>
                <a:gd name="T19" fmla="*/ 120 h 158"/>
                <a:gd name="T20" fmla="*/ 144 w 161"/>
                <a:gd name="T21" fmla="*/ 110 h 158"/>
                <a:gd name="T22" fmla="*/ 138 w 161"/>
                <a:gd name="T23" fmla="*/ 104 h 158"/>
                <a:gd name="T24" fmla="*/ 131 w 161"/>
                <a:gd name="T25" fmla="*/ 101 h 158"/>
                <a:gd name="T26" fmla="*/ 129 w 161"/>
                <a:gd name="T27" fmla="*/ 102 h 158"/>
                <a:gd name="T28" fmla="*/ 129 w 161"/>
                <a:gd name="T29" fmla="*/ 110 h 158"/>
                <a:gd name="T30" fmla="*/ 136 w 161"/>
                <a:gd name="T31" fmla="*/ 114 h 158"/>
                <a:gd name="T32" fmla="*/ 138 w 161"/>
                <a:gd name="T33" fmla="*/ 123 h 158"/>
                <a:gd name="T34" fmla="*/ 146 w 161"/>
                <a:gd name="T35" fmla="*/ 125 h 158"/>
                <a:gd name="T36" fmla="*/ 146 w 161"/>
                <a:gd name="T37" fmla="*/ 118 h 158"/>
                <a:gd name="T38" fmla="*/ 21 w 161"/>
                <a:gd name="T39" fmla="*/ 51 h 158"/>
                <a:gd name="T40" fmla="*/ 32 w 161"/>
                <a:gd name="T41" fmla="*/ 45 h 158"/>
                <a:gd name="T42" fmla="*/ 38 w 161"/>
                <a:gd name="T43" fmla="*/ 43 h 158"/>
                <a:gd name="T44" fmla="*/ 36 w 161"/>
                <a:gd name="T45" fmla="*/ 38 h 158"/>
                <a:gd name="T46" fmla="*/ 19 w 161"/>
                <a:gd name="T47" fmla="*/ 41 h 158"/>
                <a:gd name="T48" fmla="*/ 7 w 161"/>
                <a:gd name="T49" fmla="*/ 51 h 158"/>
                <a:gd name="T50" fmla="*/ 0 w 161"/>
                <a:gd name="T51" fmla="*/ 68 h 158"/>
                <a:gd name="T52" fmla="*/ 2 w 161"/>
                <a:gd name="T53" fmla="*/ 76 h 158"/>
                <a:gd name="T54" fmla="*/ 7 w 161"/>
                <a:gd name="T55" fmla="*/ 74 h 158"/>
                <a:gd name="T56" fmla="*/ 9 w 161"/>
                <a:gd name="T57" fmla="*/ 64 h 158"/>
                <a:gd name="T58" fmla="*/ 30 w 161"/>
                <a:gd name="T59" fmla="*/ 59 h 158"/>
                <a:gd name="T60" fmla="*/ 32 w 161"/>
                <a:gd name="T61" fmla="*/ 53 h 158"/>
                <a:gd name="T62" fmla="*/ 28 w 161"/>
                <a:gd name="T63" fmla="*/ 53 h 158"/>
                <a:gd name="T64" fmla="*/ 21 w 161"/>
                <a:gd name="T65" fmla="*/ 55 h 158"/>
                <a:gd name="T66" fmla="*/ 17 w 161"/>
                <a:gd name="T67" fmla="*/ 61 h 158"/>
                <a:gd name="T68" fmla="*/ 13 w 161"/>
                <a:gd name="T69" fmla="*/ 68 h 158"/>
                <a:gd name="T70" fmla="*/ 15 w 161"/>
                <a:gd name="T71" fmla="*/ 72 h 158"/>
                <a:gd name="T72" fmla="*/ 21 w 161"/>
                <a:gd name="T73" fmla="*/ 70 h 158"/>
                <a:gd name="T74" fmla="*/ 24 w 161"/>
                <a:gd name="T75" fmla="*/ 62 h 158"/>
                <a:gd name="T76" fmla="*/ 125 w 161"/>
                <a:gd name="T77" fmla="*/ 143 h 158"/>
                <a:gd name="T78" fmla="*/ 108 w 161"/>
                <a:gd name="T79" fmla="*/ 15 h 158"/>
                <a:gd name="T80" fmla="*/ 70 w 161"/>
                <a:gd name="T81" fmla="*/ 5 h 158"/>
                <a:gd name="T82" fmla="*/ 47 w 161"/>
                <a:gd name="T83" fmla="*/ 15 h 158"/>
                <a:gd name="T84" fmla="*/ 34 w 161"/>
                <a:gd name="T85" fmla="*/ 144 h 158"/>
                <a:gd name="T86" fmla="*/ 133 w 161"/>
                <a:gd name="T87" fmla="*/ 158 h 158"/>
                <a:gd name="T88" fmla="*/ 59 w 161"/>
                <a:gd name="T89" fmla="*/ 51 h 158"/>
                <a:gd name="T90" fmla="*/ 60 w 161"/>
                <a:gd name="T91" fmla="*/ 36 h 158"/>
                <a:gd name="T92" fmla="*/ 74 w 161"/>
                <a:gd name="T93" fmla="*/ 38 h 158"/>
                <a:gd name="T94" fmla="*/ 59 w 161"/>
                <a:gd name="T95" fmla="*/ 51 h 158"/>
                <a:gd name="T96" fmla="*/ 62 w 161"/>
                <a:gd name="T97" fmla="*/ 110 h 158"/>
                <a:gd name="T98" fmla="*/ 62 w 161"/>
                <a:gd name="T99" fmla="*/ 95 h 158"/>
                <a:gd name="T100" fmla="*/ 76 w 161"/>
                <a:gd name="T101" fmla="*/ 95 h 158"/>
                <a:gd name="T102" fmla="*/ 104 w 161"/>
                <a:gd name="T103" fmla="*/ 133 h 158"/>
                <a:gd name="T104" fmla="*/ 91 w 161"/>
                <a:gd name="T105" fmla="*/ 133 h 158"/>
                <a:gd name="T106" fmla="*/ 104 w 161"/>
                <a:gd name="T107" fmla="*/ 120 h 158"/>
                <a:gd name="T108" fmla="*/ 104 w 161"/>
                <a:gd name="T109" fmla="*/ 74 h 158"/>
                <a:gd name="T110" fmla="*/ 91 w 161"/>
                <a:gd name="T111" fmla="*/ 74 h 158"/>
                <a:gd name="T112" fmla="*/ 91 w 161"/>
                <a:gd name="T113" fmla="*/ 61 h 158"/>
                <a:gd name="T114" fmla="*/ 104 w 161"/>
                <a:gd name="T115" fmla="*/ 6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158">
                  <a:moveTo>
                    <a:pt x="161" y="116"/>
                  </a:moveTo>
                  <a:lnTo>
                    <a:pt x="159" y="112"/>
                  </a:lnTo>
                  <a:lnTo>
                    <a:pt x="159" y="110"/>
                  </a:lnTo>
                  <a:lnTo>
                    <a:pt x="157" y="106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53" y="97"/>
                  </a:lnTo>
                  <a:lnTo>
                    <a:pt x="152" y="97"/>
                  </a:lnTo>
                  <a:lnTo>
                    <a:pt x="150" y="93"/>
                  </a:lnTo>
                  <a:lnTo>
                    <a:pt x="146" y="91"/>
                  </a:lnTo>
                  <a:lnTo>
                    <a:pt x="144" y="91"/>
                  </a:lnTo>
                  <a:lnTo>
                    <a:pt x="142" y="89"/>
                  </a:lnTo>
                  <a:lnTo>
                    <a:pt x="138" y="87"/>
                  </a:lnTo>
                  <a:lnTo>
                    <a:pt x="136" y="87"/>
                  </a:lnTo>
                  <a:lnTo>
                    <a:pt x="133" y="85"/>
                  </a:lnTo>
                  <a:lnTo>
                    <a:pt x="129" y="85"/>
                  </a:lnTo>
                  <a:lnTo>
                    <a:pt x="129" y="85"/>
                  </a:lnTo>
                  <a:lnTo>
                    <a:pt x="129" y="87"/>
                  </a:lnTo>
                  <a:lnTo>
                    <a:pt x="129" y="87"/>
                  </a:lnTo>
                  <a:lnTo>
                    <a:pt x="129" y="87"/>
                  </a:lnTo>
                  <a:lnTo>
                    <a:pt x="127" y="93"/>
                  </a:lnTo>
                  <a:lnTo>
                    <a:pt x="127" y="93"/>
                  </a:lnTo>
                  <a:lnTo>
                    <a:pt x="129" y="93"/>
                  </a:lnTo>
                  <a:lnTo>
                    <a:pt x="129" y="95"/>
                  </a:lnTo>
                  <a:lnTo>
                    <a:pt x="129" y="95"/>
                  </a:lnTo>
                  <a:lnTo>
                    <a:pt x="131" y="95"/>
                  </a:lnTo>
                  <a:lnTo>
                    <a:pt x="134" y="95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97"/>
                  </a:lnTo>
                  <a:lnTo>
                    <a:pt x="142" y="99"/>
                  </a:lnTo>
                  <a:lnTo>
                    <a:pt x="144" y="101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8" y="104"/>
                  </a:lnTo>
                  <a:lnTo>
                    <a:pt x="150" y="108"/>
                  </a:lnTo>
                  <a:lnTo>
                    <a:pt x="152" y="110"/>
                  </a:lnTo>
                  <a:lnTo>
                    <a:pt x="152" y="112"/>
                  </a:lnTo>
                  <a:lnTo>
                    <a:pt x="153" y="118"/>
                  </a:lnTo>
                  <a:lnTo>
                    <a:pt x="153" y="120"/>
                  </a:lnTo>
                  <a:lnTo>
                    <a:pt x="153" y="123"/>
                  </a:lnTo>
                  <a:lnTo>
                    <a:pt x="153" y="123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0"/>
                  </a:lnTo>
                  <a:lnTo>
                    <a:pt x="161" y="116"/>
                  </a:lnTo>
                  <a:close/>
                  <a:moveTo>
                    <a:pt x="146" y="116"/>
                  </a:moveTo>
                  <a:lnTo>
                    <a:pt x="146" y="114"/>
                  </a:lnTo>
                  <a:lnTo>
                    <a:pt x="146" y="112"/>
                  </a:lnTo>
                  <a:lnTo>
                    <a:pt x="144" y="110"/>
                  </a:lnTo>
                  <a:lnTo>
                    <a:pt x="144" y="108"/>
                  </a:lnTo>
                  <a:lnTo>
                    <a:pt x="142" y="108"/>
                  </a:lnTo>
                  <a:lnTo>
                    <a:pt x="142" y="106"/>
                  </a:lnTo>
                  <a:lnTo>
                    <a:pt x="140" y="104"/>
                  </a:lnTo>
                  <a:lnTo>
                    <a:pt x="138" y="104"/>
                  </a:lnTo>
                  <a:lnTo>
                    <a:pt x="138" y="102"/>
                  </a:lnTo>
                  <a:lnTo>
                    <a:pt x="136" y="102"/>
                  </a:lnTo>
                  <a:lnTo>
                    <a:pt x="134" y="101"/>
                  </a:lnTo>
                  <a:lnTo>
                    <a:pt x="133" y="101"/>
                  </a:lnTo>
                  <a:lnTo>
                    <a:pt x="131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9" y="102"/>
                  </a:lnTo>
                  <a:lnTo>
                    <a:pt x="127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31" y="110"/>
                  </a:lnTo>
                  <a:lnTo>
                    <a:pt x="133" y="110"/>
                  </a:lnTo>
                  <a:lnTo>
                    <a:pt x="134" y="112"/>
                  </a:lnTo>
                  <a:lnTo>
                    <a:pt x="136" y="114"/>
                  </a:lnTo>
                  <a:lnTo>
                    <a:pt x="136" y="114"/>
                  </a:lnTo>
                  <a:lnTo>
                    <a:pt x="138" y="116"/>
                  </a:lnTo>
                  <a:lnTo>
                    <a:pt x="138" y="118"/>
                  </a:lnTo>
                  <a:lnTo>
                    <a:pt x="138" y="120"/>
                  </a:lnTo>
                  <a:lnTo>
                    <a:pt x="138" y="122"/>
                  </a:lnTo>
                  <a:lnTo>
                    <a:pt x="138" y="123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4" y="125"/>
                  </a:lnTo>
                  <a:lnTo>
                    <a:pt x="146" y="125"/>
                  </a:lnTo>
                  <a:lnTo>
                    <a:pt x="146" y="123"/>
                  </a:lnTo>
                  <a:lnTo>
                    <a:pt x="146" y="123"/>
                  </a:lnTo>
                  <a:lnTo>
                    <a:pt x="146" y="123"/>
                  </a:lnTo>
                  <a:lnTo>
                    <a:pt x="146" y="122"/>
                  </a:lnTo>
                  <a:lnTo>
                    <a:pt x="146" y="118"/>
                  </a:lnTo>
                  <a:lnTo>
                    <a:pt x="146" y="116"/>
                  </a:lnTo>
                  <a:close/>
                  <a:moveTo>
                    <a:pt x="15" y="55"/>
                  </a:moveTo>
                  <a:lnTo>
                    <a:pt x="17" y="53"/>
                  </a:lnTo>
                  <a:lnTo>
                    <a:pt x="19" y="51"/>
                  </a:lnTo>
                  <a:lnTo>
                    <a:pt x="21" y="51"/>
                  </a:lnTo>
                  <a:lnTo>
                    <a:pt x="22" y="49"/>
                  </a:lnTo>
                  <a:lnTo>
                    <a:pt x="24" y="47"/>
                  </a:lnTo>
                  <a:lnTo>
                    <a:pt x="28" y="47"/>
                  </a:lnTo>
                  <a:lnTo>
                    <a:pt x="30" y="47"/>
                  </a:lnTo>
                  <a:lnTo>
                    <a:pt x="32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5"/>
                  </a:lnTo>
                  <a:lnTo>
                    <a:pt x="38" y="43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2" y="38"/>
                  </a:lnTo>
                  <a:lnTo>
                    <a:pt x="28" y="38"/>
                  </a:lnTo>
                  <a:lnTo>
                    <a:pt x="24" y="40"/>
                  </a:lnTo>
                  <a:lnTo>
                    <a:pt x="21" y="40"/>
                  </a:lnTo>
                  <a:lnTo>
                    <a:pt x="19" y="41"/>
                  </a:lnTo>
                  <a:lnTo>
                    <a:pt x="15" y="43"/>
                  </a:lnTo>
                  <a:lnTo>
                    <a:pt x="13" y="45"/>
                  </a:lnTo>
                  <a:lnTo>
                    <a:pt x="11" y="47"/>
                  </a:lnTo>
                  <a:lnTo>
                    <a:pt x="9" y="49"/>
                  </a:lnTo>
                  <a:lnTo>
                    <a:pt x="7" y="51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2" y="61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68"/>
                  </a:lnTo>
                  <a:lnTo>
                    <a:pt x="9" y="66"/>
                  </a:lnTo>
                  <a:lnTo>
                    <a:pt x="9" y="64"/>
                  </a:lnTo>
                  <a:lnTo>
                    <a:pt x="11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5" y="55"/>
                  </a:lnTo>
                  <a:close/>
                  <a:moveTo>
                    <a:pt x="30" y="59"/>
                  </a:move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7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1"/>
                  </a:lnTo>
                  <a:lnTo>
                    <a:pt x="30" y="51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6" y="53"/>
                  </a:lnTo>
                  <a:lnTo>
                    <a:pt x="24" y="53"/>
                  </a:lnTo>
                  <a:lnTo>
                    <a:pt x="22" y="55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7" y="59"/>
                  </a:lnTo>
                  <a:lnTo>
                    <a:pt x="17" y="61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3" y="66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5" y="70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68"/>
                  </a:lnTo>
                  <a:lnTo>
                    <a:pt x="22" y="66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6" y="61"/>
                  </a:lnTo>
                  <a:lnTo>
                    <a:pt x="28" y="61"/>
                  </a:lnTo>
                  <a:lnTo>
                    <a:pt x="28" y="59"/>
                  </a:lnTo>
                  <a:lnTo>
                    <a:pt x="30" y="59"/>
                  </a:lnTo>
                  <a:close/>
                  <a:moveTo>
                    <a:pt x="125" y="143"/>
                  </a:moveTo>
                  <a:lnTo>
                    <a:pt x="125" y="143"/>
                  </a:lnTo>
                  <a:lnTo>
                    <a:pt x="125" y="143"/>
                  </a:lnTo>
                  <a:lnTo>
                    <a:pt x="115" y="143"/>
                  </a:lnTo>
                  <a:lnTo>
                    <a:pt x="115" y="15"/>
                  </a:lnTo>
                  <a:lnTo>
                    <a:pt x="108" y="15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15"/>
                  </a:lnTo>
                  <a:lnTo>
                    <a:pt x="47" y="15"/>
                  </a:lnTo>
                  <a:lnTo>
                    <a:pt x="47" y="143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4" y="143"/>
                  </a:lnTo>
                  <a:lnTo>
                    <a:pt x="34" y="144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25" y="144"/>
                  </a:lnTo>
                  <a:lnTo>
                    <a:pt x="125" y="143"/>
                  </a:lnTo>
                  <a:close/>
                  <a:moveTo>
                    <a:pt x="59" y="51"/>
                  </a:moveTo>
                  <a:lnTo>
                    <a:pt x="59" y="51"/>
                  </a:lnTo>
                  <a:lnTo>
                    <a:pt x="59" y="4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72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8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60" y="51"/>
                  </a:lnTo>
                  <a:lnTo>
                    <a:pt x="59" y="51"/>
                  </a:lnTo>
                  <a:close/>
                  <a:moveTo>
                    <a:pt x="76" y="108"/>
                  </a:moveTo>
                  <a:lnTo>
                    <a:pt x="76" y="108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62" y="110"/>
                  </a:lnTo>
                  <a:lnTo>
                    <a:pt x="62" y="108"/>
                  </a:lnTo>
                  <a:lnTo>
                    <a:pt x="62" y="108"/>
                  </a:lnTo>
                  <a:lnTo>
                    <a:pt x="62" y="108"/>
                  </a:lnTo>
                  <a:lnTo>
                    <a:pt x="62" y="97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7"/>
                  </a:lnTo>
                  <a:lnTo>
                    <a:pt x="76" y="108"/>
                  </a:lnTo>
                  <a:close/>
                  <a:moveTo>
                    <a:pt x="104" y="133"/>
                  </a:moveTo>
                  <a:lnTo>
                    <a:pt x="104" y="133"/>
                  </a:lnTo>
                  <a:lnTo>
                    <a:pt x="104" y="133"/>
                  </a:lnTo>
                  <a:lnTo>
                    <a:pt x="104" y="135"/>
                  </a:lnTo>
                  <a:lnTo>
                    <a:pt x="91" y="135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33"/>
                  </a:lnTo>
                  <a:close/>
                  <a:moveTo>
                    <a:pt x="104" y="74"/>
                  </a:move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23" name="组合 422">
            <a:extLst>
              <a:ext uri="{FF2B5EF4-FFF2-40B4-BE49-F238E27FC236}">
                <a16:creationId xmlns="" xmlns:a16="http://schemas.microsoft.com/office/drawing/2014/main" id="{997B6CA8-4450-45C7-AABB-C88FF342F67B}"/>
              </a:ext>
            </a:extLst>
          </p:cNvPr>
          <p:cNvGrpSpPr/>
          <p:nvPr/>
        </p:nvGrpSpPr>
        <p:grpSpPr>
          <a:xfrm>
            <a:off x="3945499" y="5215266"/>
            <a:ext cx="385663" cy="387249"/>
            <a:chOff x="3946526" y="5216525"/>
            <a:chExt cx="385763" cy="387350"/>
          </a:xfrm>
        </p:grpSpPr>
        <p:sp>
          <p:nvSpPr>
            <p:cNvPr id="425" name="Oval 9">
              <a:extLst>
                <a:ext uri="{FF2B5EF4-FFF2-40B4-BE49-F238E27FC236}">
                  <a16:creationId xmlns="" xmlns:a16="http://schemas.microsoft.com/office/drawing/2014/main" id="{CB6F9277-FBE6-458F-9741-F7BE934C09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6526" y="5216525"/>
              <a:ext cx="385763" cy="387350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6" name="Freeform 39">
              <a:extLst>
                <a:ext uri="{FF2B5EF4-FFF2-40B4-BE49-F238E27FC236}">
                  <a16:creationId xmlns="" xmlns:a16="http://schemas.microsoft.com/office/drawing/2014/main" id="{1D878806-58ED-4AE1-805A-EAB997449F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0663" y="5299075"/>
              <a:ext cx="217488" cy="227013"/>
            </a:xfrm>
            <a:custGeom>
              <a:avLst/>
              <a:gdLst>
                <a:gd name="T0" fmla="*/ 34 w 72"/>
                <a:gd name="T1" fmla="*/ 20 h 75"/>
                <a:gd name="T2" fmla="*/ 4 w 72"/>
                <a:gd name="T3" fmla="*/ 44 h 75"/>
                <a:gd name="T4" fmla="*/ 71 w 72"/>
                <a:gd name="T5" fmla="*/ 43 h 75"/>
                <a:gd name="T6" fmla="*/ 58 w 72"/>
                <a:gd name="T7" fmla="*/ 45 h 75"/>
                <a:gd name="T8" fmla="*/ 53 w 72"/>
                <a:gd name="T9" fmla="*/ 65 h 75"/>
                <a:gd name="T10" fmla="*/ 53 w 72"/>
                <a:gd name="T11" fmla="*/ 57 h 75"/>
                <a:gd name="T12" fmla="*/ 53 w 72"/>
                <a:gd name="T13" fmla="*/ 50 h 75"/>
                <a:gd name="T14" fmla="*/ 53 w 72"/>
                <a:gd name="T15" fmla="*/ 44 h 75"/>
                <a:gd name="T16" fmla="*/ 20 w 72"/>
                <a:gd name="T17" fmla="*/ 42 h 75"/>
                <a:gd name="T18" fmla="*/ 18 w 72"/>
                <a:gd name="T19" fmla="*/ 50 h 75"/>
                <a:gd name="T20" fmla="*/ 18 w 72"/>
                <a:gd name="T21" fmla="*/ 57 h 75"/>
                <a:gd name="T22" fmla="*/ 18 w 72"/>
                <a:gd name="T23" fmla="*/ 65 h 75"/>
                <a:gd name="T24" fmla="*/ 18 w 72"/>
                <a:gd name="T25" fmla="*/ 69 h 75"/>
                <a:gd name="T26" fmla="*/ 11 w 72"/>
                <a:gd name="T27" fmla="*/ 42 h 75"/>
                <a:gd name="T28" fmla="*/ 8 w 72"/>
                <a:gd name="T29" fmla="*/ 72 h 75"/>
                <a:gd name="T30" fmla="*/ 60 w 72"/>
                <a:gd name="T31" fmla="*/ 75 h 75"/>
                <a:gd name="T32" fmla="*/ 60 w 72"/>
                <a:gd name="T33" fmla="*/ 42 h 75"/>
                <a:gd name="T34" fmla="*/ 21 w 72"/>
                <a:gd name="T35" fmla="*/ 66 h 75"/>
                <a:gd name="T36" fmla="*/ 50 w 72"/>
                <a:gd name="T37" fmla="*/ 63 h 75"/>
                <a:gd name="T38" fmla="*/ 50 w 72"/>
                <a:gd name="T39" fmla="*/ 59 h 75"/>
                <a:gd name="T40" fmla="*/ 21 w 72"/>
                <a:gd name="T41" fmla="*/ 56 h 75"/>
                <a:gd name="T42" fmla="*/ 50 w 72"/>
                <a:gd name="T43" fmla="*/ 56 h 75"/>
                <a:gd name="T44" fmla="*/ 21 w 72"/>
                <a:gd name="T45" fmla="*/ 46 h 75"/>
                <a:gd name="T46" fmla="*/ 24 w 72"/>
                <a:gd name="T47" fmla="*/ 5 h 75"/>
                <a:gd name="T48" fmla="*/ 26 w 72"/>
                <a:gd name="T49" fmla="*/ 7 h 75"/>
                <a:gd name="T50" fmla="*/ 28 w 72"/>
                <a:gd name="T51" fmla="*/ 6 h 75"/>
                <a:gd name="T52" fmla="*/ 31 w 72"/>
                <a:gd name="T53" fmla="*/ 5 h 75"/>
                <a:gd name="T54" fmla="*/ 34 w 72"/>
                <a:gd name="T55" fmla="*/ 4 h 75"/>
                <a:gd name="T56" fmla="*/ 37 w 72"/>
                <a:gd name="T57" fmla="*/ 4 h 75"/>
                <a:gd name="T58" fmla="*/ 41 w 72"/>
                <a:gd name="T59" fmla="*/ 5 h 75"/>
                <a:gd name="T60" fmla="*/ 44 w 72"/>
                <a:gd name="T61" fmla="*/ 7 h 75"/>
                <a:gd name="T62" fmla="*/ 45 w 72"/>
                <a:gd name="T63" fmla="*/ 8 h 75"/>
                <a:gd name="T64" fmla="*/ 48 w 72"/>
                <a:gd name="T65" fmla="*/ 6 h 75"/>
                <a:gd name="T66" fmla="*/ 48 w 72"/>
                <a:gd name="T67" fmla="*/ 6 h 75"/>
                <a:gd name="T68" fmla="*/ 45 w 72"/>
                <a:gd name="T69" fmla="*/ 3 h 75"/>
                <a:gd name="T70" fmla="*/ 41 w 72"/>
                <a:gd name="T71" fmla="*/ 1 h 75"/>
                <a:gd name="T72" fmla="*/ 36 w 72"/>
                <a:gd name="T73" fmla="*/ 0 h 75"/>
                <a:gd name="T74" fmla="*/ 32 w 72"/>
                <a:gd name="T75" fmla="*/ 0 h 75"/>
                <a:gd name="T76" fmla="*/ 28 w 72"/>
                <a:gd name="T77" fmla="*/ 1 h 75"/>
                <a:gd name="T78" fmla="*/ 24 w 72"/>
                <a:gd name="T79" fmla="*/ 4 h 75"/>
                <a:gd name="T80" fmla="*/ 24 w 72"/>
                <a:gd name="T81" fmla="*/ 5 h 75"/>
                <a:gd name="T82" fmla="*/ 40 w 72"/>
                <a:gd name="T83" fmla="*/ 7 h 75"/>
                <a:gd name="T84" fmla="*/ 37 w 72"/>
                <a:gd name="T85" fmla="*/ 6 h 75"/>
                <a:gd name="T86" fmla="*/ 34 w 72"/>
                <a:gd name="T87" fmla="*/ 6 h 75"/>
                <a:gd name="T88" fmla="*/ 32 w 72"/>
                <a:gd name="T89" fmla="*/ 6 h 75"/>
                <a:gd name="T90" fmla="*/ 29 w 72"/>
                <a:gd name="T91" fmla="*/ 7 h 75"/>
                <a:gd name="T92" fmla="*/ 28 w 72"/>
                <a:gd name="T93" fmla="*/ 9 h 75"/>
                <a:gd name="T94" fmla="*/ 28 w 72"/>
                <a:gd name="T95" fmla="*/ 10 h 75"/>
                <a:gd name="T96" fmla="*/ 30 w 72"/>
                <a:gd name="T97" fmla="*/ 12 h 75"/>
                <a:gd name="T98" fmla="*/ 32 w 72"/>
                <a:gd name="T99" fmla="*/ 11 h 75"/>
                <a:gd name="T100" fmla="*/ 34 w 72"/>
                <a:gd name="T101" fmla="*/ 10 h 75"/>
                <a:gd name="T102" fmla="*/ 37 w 72"/>
                <a:gd name="T103" fmla="*/ 11 h 75"/>
                <a:gd name="T104" fmla="*/ 39 w 72"/>
                <a:gd name="T105" fmla="*/ 12 h 75"/>
                <a:gd name="T106" fmla="*/ 40 w 72"/>
                <a:gd name="T107" fmla="*/ 12 h 75"/>
                <a:gd name="T108" fmla="*/ 42 w 72"/>
                <a:gd name="T109" fmla="*/ 10 h 75"/>
                <a:gd name="T110" fmla="*/ 41 w 72"/>
                <a:gd name="T111" fmla="*/ 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5">
                  <a:moveTo>
                    <a:pt x="70" y="4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6" y="19"/>
                    <a:pt x="35" y="19"/>
                    <a:pt x="34" y="2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42"/>
                    <a:pt x="0" y="43"/>
                  </a:cubicBezTo>
                  <a:cubicBezTo>
                    <a:pt x="1" y="45"/>
                    <a:pt x="3" y="45"/>
                    <a:pt x="4" y="4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9" y="45"/>
                    <a:pt x="70" y="45"/>
                    <a:pt x="71" y="43"/>
                  </a:cubicBezTo>
                  <a:cubicBezTo>
                    <a:pt x="72" y="42"/>
                    <a:pt x="72" y="40"/>
                    <a:pt x="70" y="40"/>
                  </a:cubicBezTo>
                  <a:close/>
                  <a:moveTo>
                    <a:pt x="60" y="42"/>
                  </a:moveTo>
                  <a:cubicBezTo>
                    <a:pt x="59" y="42"/>
                    <a:pt x="58" y="44"/>
                    <a:pt x="58" y="45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3"/>
                    <a:pt x="53" y="42"/>
                    <a:pt x="52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8" y="43"/>
                    <a:pt x="18" y="44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4"/>
                    <a:pt x="13" y="42"/>
                    <a:pt x="11" y="42"/>
                  </a:cubicBezTo>
                  <a:cubicBezTo>
                    <a:pt x="10" y="42"/>
                    <a:pt x="8" y="44"/>
                    <a:pt x="8" y="45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3"/>
                    <a:pt x="10" y="75"/>
                    <a:pt x="1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2" y="75"/>
                    <a:pt x="63" y="73"/>
                    <a:pt x="63" y="72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4"/>
                    <a:pt x="62" y="42"/>
                    <a:pt x="60" y="42"/>
                  </a:cubicBezTo>
                  <a:close/>
                  <a:moveTo>
                    <a:pt x="50" y="69"/>
                  </a:moveTo>
                  <a:cubicBezTo>
                    <a:pt x="21" y="69"/>
                    <a:pt x="21" y="69"/>
                    <a:pt x="21" y="69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50" y="66"/>
                    <a:pt x="50" y="66"/>
                    <a:pt x="50" y="66"/>
                  </a:cubicBezTo>
                  <a:lnTo>
                    <a:pt x="50" y="69"/>
                  </a:lnTo>
                  <a:close/>
                  <a:moveTo>
                    <a:pt x="50" y="63"/>
                  </a:moveTo>
                  <a:cubicBezTo>
                    <a:pt x="21" y="63"/>
                    <a:pt x="21" y="63"/>
                    <a:pt x="21" y="63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50" y="59"/>
                    <a:pt x="50" y="59"/>
                    <a:pt x="50" y="59"/>
                  </a:cubicBezTo>
                  <a:lnTo>
                    <a:pt x="50" y="63"/>
                  </a:lnTo>
                  <a:close/>
                  <a:moveTo>
                    <a:pt x="50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50" y="52"/>
                    <a:pt x="50" y="52"/>
                    <a:pt x="50" y="52"/>
                  </a:cubicBezTo>
                  <a:lnTo>
                    <a:pt x="50" y="56"/>
                  </a:lnTo>
                  <a:close/>
                  <a:moveTo>
                    <a:pt x="50" y="48"/>
                  </a:moveTo>
                  <a:cubicBezTo>
                    <a:pt x="21" y="48"/>
                    <a:pt x="21" y="48"/>
                    <a:pt x="21" y="48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50" y="46"/>
                    <a:pt x="50" y="46"/>
                    <a:pt x="50" y="46"/>
                  </a:cubicBezTo>
                  <a:lnTo>
                    <a:pt x="50" y="48"/>
                  </a:lnTo>
                  <a:close/>
                  <a:moveTo>
                    <a:pt x="24" y="5"/>
                  </a:moveTo>
                  <a:cubicBezTo>
                    <a:pt x="25" y="7"/>
                    <a:pt x="25" y="7"/>
                    <a:pt x="25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lose/>
                  <a:moveTo>
                    <a:pt x="41" y="8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9"/>
                    <a:pt x="42" y="9"/>
                    <a:pt x="42" y="9"/>
                  </a:cubicBezTo>
                  <a:lnTo>
                    <a:pt x="4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29" name="组合 428">
            <a:extLst>
              <a:ext uri="{FF2B5EF4-FFF2-40B4-BE49-F238E27FC236}">
                <a16:creationId xmlns="" xmlns:a16="http://schemas.microsoft.com/office/drawing/2014/main" id="{65EE402E-AE28-4F12-825B-0B1A051B3244}"/>
              </a:ext>
            </a:extLst>
          </p:cNvPr>
          <p:cNvGrpSpPr/>
          <p:nvPr/>
        </p:nvGrpSpPr>
        <p:grpSpPr>
          <a:xfrm>
            <a:off x="3816945" y="6292899"/>
            <a:ext cx="387249" cy="390423"/>
            <a:chOff x="3817938" y="6294438"/>
            <a:chExt cx="387350" cy="390525"/>
          </a:xfrm>
        </p:grpSpPr>
        <p:sp>
          <p:nvSpPr>
            <p:cNvPr id="431" name="Oval 6">
              <a:extLst>
                <a:ext uri="{FF2B5EF4-FFF2-40B4-BE49-F238E27FC236}">
                  <a16:creationId xmlns="" xmlns:a16="http://schemas.microsoft.com/office/drawing/2014/main" id="{C072C070-1397-40E7-AA19-02B71E3FF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7938" y="6294438"/>
              <a:ext cx="387350" cy="390525"/>
            </a:xfrm>
            <a:prstGeom prst="ellipse">
              <a:avLst/>
            </a:prstGeom>
            <a:solidFill>
              <a:srgbClr val="1597FC">
                <a:alpha val="65000"/>
              </a:srgbClr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2" name="Freeform 17">
              <a:extLst>
                <a:ext uri="{FF2B5EF4-FFF2-40B4-BE49-F238E27FC236}">
                  <a16:creationId xmlns="" xmlns:a16="http://schemas.microsoft.com/office/drawing/2014/main" id="{080CA70D-DDFB-43ED-8A9D-2D6E4CD508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6838" y="6527800"/>
              <a:ext cx="203200" cy="69850"/>
            </a:xfrm>
            <a:custGeom>
              <a:avLst/>
              <a:gdLst>
                <a:gd name="T0" fmla="*/ 0 w 128"/>
                <a:gd name="T1" fmla="*/ 34 h 44"/>
                <a:gd name="T2" fmla="*/ 2 w 128"/>
                <a:gd name="T3" fmla="*/ 40 h 44"/>
                <a:gd name="T4" fmla="*/ 10 w 128"/>
                <a:gd name="T5" fmla="*/ 44 h 44"/>
                <a:gd name="T6" fmla="*/ 122 w 128"/>
                <a:gd name="T7" fmla="*/ 42 h 44"/>
                <a:gd name="T8" fmla="*/ 126 w 128"/>
                <a:gd name="T9" fmla="*/ 38 h 44"/>
                <a:gd name="T10" fmla="*/ 128 w 128"/>
                <a:gd name="T11" fmla="*/ 8 h 44"/>
                <a:gd name="T12" fmla="*/ 124 w 128"/>
                <a:gd name="T13" fmla="*/ 2 h 44"/>
                <a:gd name="T14" fmla="*/ 118 w 128"/>
                <a:gd name="T15" fmla="*/ 0 h 44"/>
                <a:gd name="T16" fmla="*/ 6 w 128"/>
                <a:gd name="T17" fmla="*/ 0 h 44"/>
                <a:gd name="T18" fmla="*/ 0 w 128"/>
                <a:gd name="T19" fmla="*/ 4 h 44"/>
                <a:gd name="T20" fmla="*/ 0 w 128"/>
                <a:gd name="T21" fmla="*/ 34 h 44"/>
                <a:gd name="T22" fmla="*/ 37 w 128"/>
                <a:gd name="T23" fmla="*/ 8 h 44"/>
                <a:gd name="T24" fmla="*/ 38 w 128"/>
                <a:gd name="T25" fmla="*/ 6 h 44"/>
                <a:gd name="T26" fmla="*/ 42 w 128"/>
                <a:gd name="T27" fmla="*/ 4 h 44"/>
                <a:gd name="T28" fmla="*/ 48 w 128"/>
                <a:gd name="T29" fmla="*/ 6 h 44"/>
                <a:gd name="T30" fmla="*/ 48 w 128"/>
                <a:gd name="T31" fmla="*/ 8 h 44"/>
                <a:gd name="T32" fmla="*/ 48 w 128"/>
                <a:gd name="T33" fmla="*/ 36 h 44"/>
                <a:gd name="T34" fmla="*/ 44 w 128"/>
                <a:gd name="T35" fmla="*/ 38 h 44"/>
                <a:gd name="T36" fmla="*/ 40 w 128"/>
                <a:gd name="T37" fmla="*/ 38 h 44"/>
                <a:gd name="T38" fmla="*/ 37 w 128"/>
                <a:gd name="T39" fmla="*/ 36 h 44"/>
                <a:gd name="T40" fmla="*/ 67 w 128"/>
                <a:gd name="T41" fmla="*/ 29 h 44"/>
                <a:gd name="T42" fmla="*/ 63 w 128"/>
                <a:gd name="T43" fmla="*/ 29 h 44"/>
                <a:gd name="T44" fmla="*/ 59 w 128"/>
                <a:gd name="T45" fmla="*/ 25 h 44"/>
                <a:gd name="T46" fmla="*/ 59 w 128"/>
                <a:gd name="T47" fmla="*/ 17 h 44"/>
                <a:gd name="T48" fmla="*/ 63 w 128"/>
                <a:gd name="T49" fmla="*/ 13 h 44"/>
                <a:gd name="T50" fmla="*/ 69 w 128"/>
                <a:gd name="T51" fmla="*/ 13 h 44"/>
                <a:gd name="T52" fmla="*/ 73 w 128"/>
                <a:gd name="T53" fmla="*/ 17 h 44"/>
                <a:gd name="T54" fmla="*/ 73 w 128"/>
                <a:gd name="T55" fmla="*/ 25 h 44"/>
                <a:gd name="T56" fmla="*/ 69 w 128"/>
                <a:gd name="T57" fmla="*/ 29 h 44"/>
                <a:gd name="T58" fmla="*/ 84 w 128"/>
                <a:gd name="T59" fmla="*/ 21 h 44"/>
                <a:gd name="T60" fmla="*/ 86 w 128"/>
                <a:gd name="T61" fmla="*/ 17 h 44"/>
                <a:gd name="T62" fmla="*/ 90 w 128"/>
                <a:gd name="T63" fmla="*/ 13 h 44"/>
                <a:gd name="T64" fmla="*/ 95 w 128"/>
                <a:gd name="T65" fmla="*/ 13 h 44"/>
                <a:gd name="T66" fmla="*/ 99 w 128"/>
                <a:gd name="T67" fmla="*/ 17 h 44"/>
                <a:gd name="T68" fmla="*/ 99 w 128"/>
                <a:gd name="T69" fmla="*/ 25 h 44"/>
                <a:gd name="T70" fmla="*/ 95 w 128"/>
                <a:gd name="T71" fmla="*/ 29 h 44"/>
                <a:gd name="T72" fmla="*/ 90 w 128"/>
                <a:gd name="T73" fmla="*/ 29 h 44"/>
                <a:gd name="T74" fmla="*/ 86 w 128"/>
                <a:gd name="T75" fmla="*/ 25 h 44"/>
                <a:gd name="T76" fmla="*/ 107 w 128"/>
                <a:gd name="T77" fmla="*/ 21 h 44"/>
                <a:gd name="T78" fmla="*/ 109 w 128"/>
                <a:gd name="T79" fmla="*/ 17 h 44"/>
                <a:gd name="T80" fmla="*/ 112 w 128"/>
                <a:gd name="T81" fmla="*/ 13 h 44"/>
                <a:gd name="T82" fmla="*/ 118 w 128"/>
                <a:gd name="T83" fmla="*/ 13 h 44"/>
                <a:gd name="T84" fmla="*/ 122 w 128"/>
                <a:gd name="T85" fmla="*/ 17 h 44"/>
                <a:gd name="T86" fmla="*/ 122 w 128"/>
                <a:gd name="T87" fmla="*/ 25 h 44"/>
                <a:gd name="T88" fmla="*/ 118 w 128"/>
                <a:gd name="T89" fmla="*/ 29 h 44"/>
                <a:gd name="T90" fmla="*/ 112 w 128"/>
                <a:gd name="T91" fmla="*/ 29 h 44"/>
                <a:gd name="T92" fmla="*/ 109 w 128"/>
                <a:gd name="T93" fmla="*/ 25 h 44"/>
                <a:gd name="T94" fmla="*/ 27 w 128"/>
                <a:gd name="T95" fmla="*/ 21 h 44"/>
                <a:gd name="T96" fmla="*/ 25 w 128"/>
                <a:gd name="T97" fmla="*/ 25 h 44"/>
                <a:gd name="T98" fmla="*/ 21 w 128"/>
                <a:gd name="T99" fmla="*/ 29 h 44"/>
                <a:gd name="T100" fmla="*/ 16 w 128"/>
                <a:gd name="T101" fmla="*/ 29 h 44"/>
                <a:gd name="T102" fmla="*/ 12 w 128"/>
                <a:gd name="T103" fmla="*/ 25 h 44"/>
                <a:gd name="T104" fmla="*/ 12 w 128"/>
                <a:gd name="T105" fmla="*/ 17 h 44"/>
                <a:gd name="T106" fmla="*/ 16 w 128"/>
                <a:gd name="T107" fmla="*/ 13 h 44"/>
                <a:gd name="T108" fmla="*/ 21 w 128"/>
                <a:gd name="T109" fmla="*/ 13 h 44"/>
                <a:gd name="T110" fmla="*/ 25 w 128"/>
                <a:gd name="T111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44">
                  <a:moveTo>
                    <a:pt x="0" y="34"/>
                  </a:moveTo>
                  <a:lnTo>
                    <a:pt x="0" y="34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4"/>
                  </a:lnTo>
                  <a:lnTo>
                    <a:pt x="118" y="44"/>
                  </a:lnTo>
                  <a:lnTo>
                    <a:pt x="122" y="42"/>
                  </a:lnTo>
                  <a:lnTo>
                    <a:pt x="124" y="40"/>
                  </a:lnTo>
                  <a:lnTo>
                    <a:pt x="126" y="38"/>
                  </a:lnTo>
                  <a:lnTo>
                    <a:pt x="128" y="34"/>
                  </a:lnTo>
                  <a:lnTo>
                    <a:pt x="128" y="8"/>
                  </a:lnTo>
                  <a:lnTo>
                    <a:pt x="126" y="4"/>
                  </a:lnTo>
                  <a:lnTo>
                    <a:pt x="124" y="2"/>
                  </a:lnTo>
                  <a:lnTo>
                    <a:pt x="122" y="0"/>
                  </a:lnTo>
                  <a:lnTo>
                    <a:pt x="118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34"/>
                  </a:lnTo>
                  <a:close/>
                  <a:moveTo>
                    <a:pt x="37" y="34"/>
                  </a:moveTo>
                  <a:lnTo>
                    <a:pt x="37" y="8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7" y="36"/>
                  </a:lnTo>
                  <a:lnTo>
                    <a:pt x="37" y="34"/>
                  </a:lnTo>
                  <a:close/>
                  <a:moveTo>
                    <a:pt x="67" y="29"/>
                  </a:moveTo>
                  <a:lnTo>
                    <a:pt x="67" y="29"/>
                  </a:lnTo>
                  <a:lnTo>
                    <a:pt x="63" y="29"/>
                  </a:lnTo>
                  <a:lnTo>
                    <a:pt x="61" y="27"/>
                  </a:lnTo>
                  <a:lnTo>
                    <a:pt x="59" y="25"/>
                  </a:lnTo>
                  <a:lnTo>
                    <a:pt x="59" y="21"/>
                  </a:lnTo>
                  <a:lnTo>
                    <a:pt x="59" y="17"/>
                  </a:lnTo>
                  <a:lnTo>
                    <a:pt x="61" y="15"/>
                  </a:lnTo>
                  <a:lnTo>
                    <a:pt x="63" y="13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5" y="21"/>
                  </a:lnTo>
                  <a:lnTo>
                    <a:pt x="73" y="25"/>
                  </a:lnTo>
                  <a:lnTo>
                    <a:pt x="73" y="27"/>
                  </a:lnTo>
                  <a:lnTo>
                    <a:pt x="69" y="29"/>
                  </a:lnTo>
                  <a:lnTo>
                    <a:pt x="67" y="29"/>
                  </a:lnTo>
                  <a:close/>
                  <a:moveTo>
                    <a:pt x="84" y="21"/>
                  </a:moveTo>
                  <a:lnTo>
                    <a:pt x="84" y="21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90" y="13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9" y="15"/>
                  </a:lnTo>
                  <a:lnTo>
                    <a:pt x="99" y="17"/>
                  </a:lnTo>
                  <a:lnTo>
                    <a:pt x="101" y="21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95" y="29"/>
                  </a:lnTo>
                  <a:lnTo>
                    <a:pt x="93" y="29"/>
                  </a:lnTo>
                  <a:lnTo>
                    <a:pt x="90" y="29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4" y="21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8" y="13"/>
                  </a:lnTo>
                  <a:lnTo>
                    <a:pt x="120" y="15"/>
                  </a:lnTo>
                  <a:lnTo>
                    <a:pt x="122" y="17"/>
                  </a:lnTo>
                  <a:lnTo>
                    <a:pt x="122" y="21"/>
                  </a:lnTo>
                  <a:lnTo>
                    <a:pt x="122" y="25"/>
                  </a:lnTo>
                  <a:lnTo>
                    <a:pt x="120" y="27"/>
                  </a:lnTo>
                  <a:lnTo>
                    <a:pt x="118" y="29"/>
                  </a:lnTo>
                  <a:lnTo>
                    <a:pt x="114" y="29"/>
                  </a:lnTo>
                  <a:lnTo>
                    <a:pt x="112" y="29"/>
                  </a:lnTo>
                  <a:lnTo>
                    <a:pt x="111" y="27"/>
                  </a:lnTo>
                  <a:lnTo>
                    <a:pt x="109" y="25"/>
                  </a:lnTo>
                  <a:lnTo>
                    <a:pt x="107" y="21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5" y="25"/>
                  </a:lnTo>
                  <a:lnTo>
                    <a:pt x="23" y="27"/>
                  </a:lnTo>
                  <a:lnTo>
                    <a:pt x="21" y="29"/>
                  </a:lnTo>
                  <a:lnTo>
                    <a:pt x="19" y="29"/>
                  </a:lnTo>
                  <a:lnTo>
                    <a:pt x="16" y="29"/>
                  </a:lnTo>
                  <a:lnTo>
                    <a:pt x="14" y="27"/>
                  </a:lnTo>
                  <a:lnTo>
                    <a:pt x="12" y="25"/>
                  </a:lnTo>
                  <a:lnTo>
                    <a:pt x="12" y="21"/>
                  </a:lnTo>
                  <a:lnTo>
                    <a:pt x="12" y="17"/>
                  </a:lnTo>
                  <a:lnTo>
                    <a:pt x="14" y="15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21" y="13"/>
                  </a:lnTo>
                  <a:lnTo>
                    <a:pt x="23" y="15"/>
                  </a:lnTo>
                  <a:lnTo>
                    <a:pt x="25" y="17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3" name="Freeform 18">
              <a:extLst>
                <a:ext uri="{FF2B5EF4-FFF2-40B4-BE49-F238E27FC236}">
                  <a16:creationId xmlns="" xmlns:a16="http://schemas.microsoft.com/office/drawing/2014/main" id="{03498050-DB95-4BB2-87D4-2DB2E4D34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326" y="6384925"/>
              <a:ext cx="117475" cy="30163"/>
            </a:xfrm>
            <a:custGeom>
              <a:avLst/>
              <a:gdLst>
                <a:gd name="T0" fmla="*/ 4 w 74"/>
                <a:gd name="T1" fmla="*/ 19 h 19"/>
                <a:gd name="T2" fmla="*/ 4 w 74"/>
                <a:gd name="T3" fmla="*/ 19 h 19"/>
                <a:gd name="T4" fmla="*/ 12 w 74"/>
                <a:gd name="T5" fmla="*/ 14 h 19"/>
                <a:gd name="T6" fmla="*/ 21 w 74"/>
                <a:gd name="T7" fmla="*/ 8 h 19"/>
                <a:gd name="T8" fmla="*/ 29 w 74"/>
                <a:gd name="T9" fmla="*/ 6 h 19"/>
                <a:gd name="T10" fmla="*/ 38 w 74"/>
                <a:gd name="T11" fmla="*/ 6 h 19"/>
                <a:gd name="T12" fmla="*/ 48 w 74"/>
                <a:gd name="T13" fmla="*/ 6 h 19"/>
                <a:gd name="T14" fmla="*/ 55 w 74"/>
                <a:gd name="T15" fmla="*/ 8 h 19"/>
                <a:gd name="T16" fmla="*/ 63 w 74"/>
                <a:gd name="T17" fmla="*/ 14 h 19"/>
                <a:gd name="T18" fmla="*/ 71 w 74"/>
                <a:gd name="T19" fmla="*/ 18 h 19"/>
                <a:gd name="T20" fmla="*/ 74 w 74"/>
                <a:gd name="T21" fmla="*/ 14 h 19"/>
                <a:gd name="T22" fmla="*/ 65 w 74"/>
                <a:gd name="T23" fmla="*/ 8 h 19"/>
                <a:gd name="T24" fmla="*/ 57 w 74"/>
                <a:gd name="T25" fmla="*/ 2 h 19"/>
                <a:gd name="T26" fmla="*/ 48 w 74"/>
                <a:gd name="T27" fmla="*/ 0 h 19"/>
                <a:gd name="T28" fmla="*/ 38 w 74"/>
                <a:gd name="T29" fmla="*/ 0 h 19"/>
                <a:gd name="T30" fmla="*/ 29 w 74"/>
                <a:gd name="T31" fmla="*/ 0 h 19"/>
                <a:gd name="T32" fmla="*/ 19 w 74"/>
                <a:gd name="T33" fmla="*/ 4 h 19"/>
                <a:gd name="T34" fmla="*/ 10 w 74"/>
                <a:gd name="T35" fmla="*/ 8 h 19"/>
                <a:gd name="T36" fmla="*/ 0 w 74"/>
                <a:gd name="T37" fmla="*/ 14 h 19"/>
                <a:gd name="T38" fmla="*/ 4 w 74"/>
                <a:gd name="T3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4" h="19">
                  <a:moveTo>
                    <a:pt x="4" y="19"/>
                  </a:moveTo>
                  <a:lnTo>
                    <a:pt x="4" y="19"/>
                  </a:lnTo>
                  <a:lnTo>
                    <a:pt x="12" y="14"/>
                  </a:lnTo>
                  <a:lnTo>
                    <a:pt x="21" y="8"/>
                  </a:lnTo>
                  <a:lnTo>
                    <a:pt x="29" y="6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55" y="8"/>
                  </a:lnTo>
                  <a:lnTo>
                    <a:pt x="63" y="14"/>
                  </a:lnTo>
                  <a:lnTo>
                    <a:pt x="71" y="18"/>
                  </a:lnTo>
                  <a:lnTo>
                    <a:pt x="74" y="14"/>
                  </a:lnTo>
                  <a:lnTo>
                    <a:pt x="65" y="8"/>
                  </a:lnTo>
                  <a:lnTo>
                    <a:pt x="57" y="2"/>
                  </a:lnTo>
                  <a:lnTo>
                    <a:pt x="48" y="0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9" y="4"/>
                  </a:lnTo>
                  <a:lnTo>
                    <a:pt x="10" y="8"/>
                  </a:lnTo>
                  <a:lnTo>
                    <a:pt x="0" y="14"/>
                  </a:lnTo>
                  <a:lnTo>
                    <a:pt x="4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4" name="Freeform 19">
              <a:extLst>
                <a:ext uri="{FF2B5EF4-FFF2-40B4-BE49-F238E27FC236}">
                  <a16:creationId xmlns="" xmlns:a16="http://schemas.microsoft.com/office/drawing/2014/main" id="{EDF87A62-F5C9-4C2D-816F-E89A263DF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026" y="6415088"/>
              <a:ext cx="93663" cy="25400"/>
            </a:xfrm>
            <a:custGeom>
              <a:avLst/>
              <a:gdLst>
                <a:gd name="T0" fmla="*/ 59 w 59"/>
                <a:gd name="T1" fmla="*/ 12 h 16"/>
                <a:gd name="T2" fmla="*/ 59 w 59"/>
                <a:gd name="T3" fmla="*/ 12 h 16"/>
                <a:gd name="T4" fmla="*/ 53 w 59"/>
                <a:gd name="T5" fmla="*/ 6 h 16"/>
                <a:gd name="T6" fmla="*/ 46 w 59"/>
                <a:gd name="T7" fmla="*/ 2 h 16"/>
                <a:gd name="T8" fmla="*/ 38 w 59"/>
                <a:gd name="T9" fmla="*/ 0 h 16"/>
                <a:gd name="T10" fmla="*/ 30 w 59"/>
                <a:gd name="T11" fmla="*/ 0 h 16"/>
                <a:gd name="T12" fmla="*/ 23 w 59"/>
                <a:gd name="T13" fmla="*/ 0 h 16"/>
                <a:gd name="T14" fmla="*/ 15 w 59"/>
                <a:gd name="T15" fmla="*/ 2 h 16"/>
                <a:gd name="T16" fmla="*/ 8 w 59"/>
                <a:gd name="T17" fmla="*/ 6 h 16"/>
                <a:gd name="T18" fmla="*/ 0 w 59"/>
                <a:gd name="T19" fmla="*/ 12 h 16"/>
                <a:gd name="T20" fmla="*/ 6 w 59"/>
                <a:gd name="T21" fmla="*/ 16 h 16"/>
                <a:gd name="T22" fmla="*/ 10 w 59"/>
                <a:gd name="T23" fmla="*/ 12 h 16"/>
                <a:gd name="T24" fmla="*/ 17 w 59"/>
                <a:gd name="T25" fmla="*/ 10 h 16"/>
                <a:gd name="T26" fmla="*/ 23 w 59"/>
                <a:gd name="T27" fmla="*/ 8 h 16"/>
                <a:gd name="T28" fmla="*/ 30 w 59"/>
                <a:gd name="T29" fmla="*/ 6 h 16"/>
                <a:gd name="T30" fmla="*/ 38 w 59"/>
                <a:gd name="T31" fmla="*/ 8 h 16"/>
                <a:gd name="T32" fmla="*/ 44 w 59"/>
                <a:gd name="T33" fmla="*/ 8 h 16"/>
                <a:gd name="T34" fmla="*/ 49 w 59"/>
                <a:gd name="T35" fmla="*/ 12 h 16"/>
                <a:gd name="T36" fmla="*/ 55 w 59"/>
                <a:gd name="T37" fmla="*/ 16 h 16"/>
                <a:gd name="T38" fmla="*/ 59 w 59"/>
                <a:gd name="T3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16">
                  <a:moveTo>
                    <a:pt x="59" y="12"/>
                  </a:moveTo>
                  <a:lnTo>
                    <a:pt x="59" y="12"/>
                  </a:lnTo>
                  <a:lnTo>
                    <a:pt x="53" y="6"/>
                  </a:lnTo>
                  <a:lnTo>
                    <a:pt x="46" y="2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5" y="2"/>
                  </a:lnTo>
                  <a:lnTo>
                    <a:pt x="8" y="6"/>
                  </a:lnTo>
                  <a:lnTo>
                    <a:pt x="0" y="12"/>
                  </a:lnTo>
                  <a:lnTo>
                    <a:pt x="6" y="16"/>
                  </a:lnTo>
                  <a:lnTo>
                    <a:pt x="10" y="12"/>
                  </a:lnTo>
                  <a:lnTo>
                    <a:pt x="17" y="10"/>
                  </a:lnTo>
                  <a:lnTo>
                    <a:pt x="23" y="8"/>
                  </a:lnTo>
                  <a:lnTo>
                    <a:pt x="30" y="6"/>
                  </a:lnTo>
                  <a:lnTo>
                    <a:pt x="38" y="8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5" y="16"/>
                  </a:lnTo>
                  <a:lnTo>
                    <a:pt x="59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5" name="Freeform 20">
              <a:extLst>
                <a:ext uri="{FF2B5EF4-FFF2-40B4-BE49-F238E27FC236}">
                  <a16:creationId xmlns="" xmlns:a16="http://schemas.microsoft.com/office/drawing/2014/main" id="{5FA73C9D-7FC5-472C-80D4-F362B4A80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1" y="6446838"/>
              <a:ext cx="58738" cy="23813"/>
            </a:xfrm>
            <a:custGeom>
              <a:avLst/>
              <a:gdLst>
                <a:gd name="T0" fmla="*/ 36 w 37"/>
                <a:gd name="T1" fmla="*/ 7 h 15"/>
                <a:gd name="T2" fmla="*/ 36 w 37"/>
                <a:gd name="T3" fmla="*/ 7 h 15"/>
                <a:gd name="T4" fmla="*/ 32 w 37"/>
                <a:gd name="T5" fmla="*/ 3 h 15"/>
                <a:gd name="T6" fmla="*/ 28 w 37"/>
                <a:gd name="T7" fmla="*/ 1 h 15"/>
                <a:gd name="T8" fmla="*/ 22 w 37"/>
                <a:gd name="T9" fmla="*/ 0 h 15"/>
                <a:gd name="T10" fmla="*/ 18 w 37"/>
                <a:gd name="T11" fmla="*/ 0 h 15"/>
                <a:gd name="T12" fmla="*/ 13 w 37"/>
                <a:gd name="T13" fmla="*/ 0 h 15"/>
                <a:gd name="T14" fmla="*/ 9 w 37"/>
                <a:gd name="T15" fmla="*/ 1 h 15"/>
                <a:gd name="T16" fmla="*/ 5 w 37"/>
                <a:gd name="T17" fmla="*/ 3 h 15"/>
                <a:gd name="T18" fmla="*/ 1 w 37"/>
                <a:gd name="T19" fmla="*/ 7 h 15"/>
                <a:gd name="T20" fmla="*/ 0 w 37"/>
                <a:gd name="T21" fmla="*/ 9 h 15"/>
                <a:gd name="T22" fmla="*/ 1 w 37"/>
                <a:gd name="T23" fmla="*/ 15 h 15"/>
                <a:gd name="T24" fmla="*/ 5 w 37"/>
                <a:gd name="T25" fmla="*/ 11 h 15"/>
                <a:gd name="T26" fmla="*/ 7 w 37"/>
                <a:gd name="T27" fmla="*/ 9 h 15"/>
                <a:gd name="T28" fmla="*/ 11 w 37"/>
                <a:gd name="T29" fmla="*/ 7 h 15"/>
                <a:gd name="T30" fmla="*/ 15 w 37"/>
                <a:gd name="T31" fmla="*/ 5 h 15"/>
                <a:gd name="T32" fmla="*/ 18 w 37"/>
                <a:gd name="T33" fmla="*/ 5 h 15"/>
                <a:gd name="T34" fmla="*/ 20 w 37"/>
                <a:gd name="T35" fmla="*/ 5 h 15"/>
                <a:gd name="T36" fmla="*/ 24 w 37"/>
                <a:gd name="T37" fmla="*/ 7 h 15"/>
                <a:gd name="T38" fmla="*/ 28 w 37"/>
                <a:gd name="T39" fmla="*/ 9 h 15"/>
                <a:gd name="T40" fmla="*/ 30 w 37"/>
                <a:gd name="T41" fmla="*/ 11 h 15"/>
                <a:gd name="T42" fmla="*/ 34 w 37"/>
                <a:gd name="T43" fmla="*/ 15 h 15"/>
                <a:gd name="T44" fmla="*/ 37 w 37"/>
                <a:gd name="T45" fmla="*/ 9 h 15"/>
                <a:gd name="T46" fmla="*/ 36 w 37"/>
                <a:gd name="T4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" h="15">
                  <a:moveTo>
                    <a:pt x="36" y="7"/>
                  </a:moveTo>
                  <a:lnTo>
                    <a:pt x="36" y="7"/>
                  </a:lnTo>
                  <a:lnTo>
                    <a:pt x="32" y="3"/>
                  </a:lnTo>
                  <a:lnTo>
                    <a:pt x="28" y="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9"/>
                  </a:lnTo>
                  <a:lnTo>
                    <a:pt x="1" y="15"/>
                  </a:lnTo>
                  <a:lnTo>
                    <a:pt x="5" y="11"/>
                  </a:lnTo>
                  <a:lnTo>
                    <a:pt x="7" y="9"/>
                  </a:lnTo>
                  <a:lnTo>
                    <a:pt x="11" y="7"/>
                  </a:lnTo>
                  <a:lnTo>
                    <a:pt x="15" y="5"/>
                  </a:lnTo>
                  <a:lnTo>
                    <a:pt x="18" y="5"/>
                  </a:lnTo>
                  <a:lnTo>
                    <a:pt x="20" y="5"/>
                  </a:lnTo>
                  <a:lnTo>
                    <a:pt x="24" y="7"/>
                  </a:lnTo>
                  <a:lnTo>
                    <a:pt x="28" y="9"/>
                  </a:lnTo>
                  <a:lnTo>
                    <a:pt x="30" y="11"/>
                  </a:lnTo>
                  <a:lnTo>
                    <a:pt x="34" y="15"/>
                  </a:lnTo>
                  <a:lnTo>
                    <a:pt x="37" y="9"/>
                  </a:lnTo>
                  <a:lnTo>
                    <a:pt x="36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6" name="Rectangle 21">
              <a:extLst>
                <a:ext uri="{FF2B5EF4-FFF2-40B4-BE49-F238E27FC236}">
                  <a16:creationId xmlns="" xmlns:a16="http://schemas.microsoft.com/office/drawing/2014/main" id="{12198FBE-733D-4564-8EA2-4F802D3F21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476" y="6491288"/>
              <a:ext cx="6350" cy="301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7" name="Freeform 22">
              <a:extLst>
                <a:ext uri="{FF2B5EF4-FFF2-40B4-BE49-F238E27FC236}">
                  <a16:creationId xmlns="" xmlns:a16="http://schemas.microsoft.com/office/drawing/2014/main" id="{28ED9EF1-6AB5-40A6-AD1C-2DC6F2C0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3" y="6470650"/>
              <a:ext cx="17463" cy="26988"/>
            </a:xfrm>
            <a:custGeom>
              <a:avLst/>
              <a:gdLst>
                <a:gd name="T0" fmla="*/ 5 w 11"/>
                <a:gd name="T1" fmla="*/ 0 h 17"/>
                <a:gd name="T2" fmla="*/ 5 w 11"/>
                <a:gd name="T3" fmla="*/ 0 h 17"/>
                <a:gd name="T4" fmla="*/ 2 w 11"/>
                <a:gd name="T5" fmla="*/ 0 h 17"/>
                <a:gd name="T6" fmla="*/ 2 w 11"/>
                <a:gd name="T7" fmla="*/ 4 h 17"/>
                <a:gd name="T8" fmla="*/ 0 w 11"/>
                <a:gd name="T9" fmla="*/ 5 h 17"/>
                <a:gd name="T10" fmla="*/ 0 w 11"/>
                <a:gd name="T11" fmla="*/ 9 h 17"/>
                <a:gd name="T12" fmla="*/ 0 w 11"/>
                <a:gd name="T13" fmla="*/ 11 h 17"/>
                <a:gd name="T14" fmla="*/ 2 w 11"/>
                <a:gd name="T15" fmla="*/ 13 h 17"/>
                <a:gd name="T16" fmla="*/ 2 w 11"/>
                <a:gd name="T17" fmla="*/ 15 h 17"/>
                <a:gd name="T18" fmla="*/ 5 w 11"/>
                <a:gd name="T19" fmla="*/ 17 h 17"/>
                <a:gd name="T20" fmla="*/ 7 w 11"/>
                <a:gd name="T21" fmla="*/ 15 h 17"/>
                <a:gd name="T22" fmla="*/ 9 w 11"/>
                <a:gd name="T23" fmla="*/ 13 h 17"/>
                <a:gd name="T24" fmla="*/ 9 w 11"/>
                <a:gd name="T25" fmla="*/ 11 h 17"/>
                <a:gd name="T26" fmla="*/ 11 w 11"/>
                <a:gd name="T27" fmla="*/ 9 h 17"/>
                <a:gd name="T28" fmla="*/ 9 w 11"/>
                <a:gd name="T29" fmla="*/ 5 h 17"/>
                <a:gd name="T30" fmla="*/ 9 w 11"/>
                <a:gd name="T31" fmla="*/ 4 h 17"/>
                <a:gd name="T32" fmla="*/ 7 w 11"/>
                <a:gd name="T33" fmla="*/ 0 h 17"/>
                <a:gd name="T34" fmla="*/ 5 w 11"/>
                <a:gd name="T3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7">
                  <a:moveTo>
                    <a:pt x="5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9" y="5"/>
                  </a:lnTo>
                  <a:lnTo>
                    <a:pt x="9" y="4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70" name="组合 469">
            <a:extLst>
              <a:ext uri="{FF2B5EF4-FFF2-40B4-BE49-F238E27FC236}">
                <a16:creationId xmlns="" xmlns:a16="http://schemas.microsoft.com/office/drawing/2014/main" id="{623AE21F-DAC3-4409-8E18-832B2EAC293D}"/>
              </a:ext>
            </a:extLst>
          </p:cNvPr>
          <p:cNvGrpSpPr/>
          <p:nvPr/>
        </p:nvGrpSpPr>
        <p:grpSpPr>
          <a:xfrm>
            <a:off x="4354873" y="4180649"/>
            <a:ext cx="319465" cy="292889"/>
            <a:chOff x="4356007" y="4181638"/>
            <a:chExt cx="319548" cy="292965"/>
          </a:xfrm>
        </p:grpSpPr>
        <p:sp>
          <p:nvSpPr>
            <p:cNvPr id="471" name="Freeform 37">
              <a:extLst>
                <a:ext uri="{FF2B5EF4-FFF2-40B4-BE49-F238E27FC236}">
                  <a16:creationId xmlns="" xmlns:a16="http://schemas.microsoft.com/office/drawing/2014/main" id="{82F1CCBD-D19C-4B27-A274-925F714384F0}"/>
                </a:ext>
              </a:extLst>
            </p:cNvPr>
            <p:cNvSpPr>
              <a:spLocks/>
            </p:cNvSpPr>
            <p:nvPr/>
          </p:nvSpPr>
          <p:spPr bwMode="auto">
            <a:xfrm rot="16126431">
              <a:off x="4369298" y="4168347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2" name="Freeform 38">
              <a:extLst>
                <a:ext uri="{FF2B5EF4-FFF2-40B4-BE49-F238E27FC236}">
                  <a16:creationId xmlns="" xmlns:a16="http://schemas.microsoft.com/office/drawing/2014/main" id="{9C8476AB-A055-4D8F-B26B-12A4E20366FC}"/>
                </a:ext>
              </a:extLst>
            </p:cNvPr>
            <p:cNvSpPr>
              <a:spLocks/>
            </p:cNvSpPr>
            <p:nvPr/>
          </p:nvSpPr>
          <p:spPr bwMode="auto">
            <a:xfrm rot="16126431">
              <a:off x="4481094" y="4292999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73" name="组合 472">
            <a:extLst>
              <a:ext uri="{FF2B5EF4-FFF2-40B4-BE49-F238E27FC236}">
                <a16:creationId xmlns="" xmlns:a16="http://schemas.microsoft.com/office/drawing/2014/main" id="{3E800683-A3FB-4A1D-9E4C-C5F6669C9C3D}"/>
              </a:ext>
            </a:extLst>
          </p:cNvPr>
          <p:cNvGrpSpPr/>
          <p:nvPr/>
        </p:nvGrpSpPr>
        <p:grpSpPr>
          <a:xfrm>
            <a:off x="5678497" y="3956921"/>
            <a:ext cx="319465" cy="308065"/>
            <a:chOff x="5679975" y="3957852"/>
            <a:chExt cx="319548" cy="308145"/>
          </a:xfrm>
        </p:grpSpPr>
        <p:sp>
          <p:nvSpPr>
            <p:cNvPr id="474" name="Freeform 37">
              <a:extLst>
                <a:ext uri="{FF2B5EF4-FFF2-40B4-BE49-F238E27FC236}">
                  <a16:creationId xmlns="" xmlns:a16="http://schemas.microsoft.com/office/drawing/2014/main" id="{C1C647BE-A118-4B2A-A20E-DD6647BD0A11}"/>
                </a:ext>
              </a:extLst>
            </p:cNvPr>
            <p:cNvSpPr>
              <a:spLocks/>
            </p:cNvSpPr>
            <p:nvPr/>
          </p:nvSpPr>
          <p:spPr bwMode="auto">
            <a:xfrm rot="18778645">
              <a:off x="5693266" y="3944561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5" name="Freeform 38">
              <a:extLst>
                <a:ext uri="{FF2B5EF4-FFF2-40B4-BE49-F238E27FC236}">
                  <a16:creationId xmlns="" xmlns:a16="http://schemas.microsoft.com/office/drawing/2014/main" id="{DB497852-9A1D-4583-838D-1E4959E97CD0}"/>
                </a:ext>
              </a:extLst>
            </p:cNvPr>
            <p:cNvSpPr>
              <a:spLocks/>
            </p:cNvSpPr>
            <p:nvPr/>
          </p:nvSpPr>
          <p:spPr bwMode="auto">
            <a:xfrm rot="18778645">
              <a:off x="5751743" y="4089237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76" name="组合 475">
            <a:extLst>
              <a:ext uri="{FF2B5EF4-FFF2-40B4-BE49-F238E27FC236}">
                <a16:creationId xmlns="" xmlns:a16="http://schemas.microsoft.com/office/drawing/2014/main" id="{C6A497D4-1C78-44F9-855C-052E4DBCAC21}"/>
              </a:ext>
            </a:extLst>
          </p:cNvPr>
          <p:cNvGrpSpPr/>
          <p:nvPr/>
        </p:nvGrpSpPr>
        <p:grpSpPr>
          <a:xfrm>
            <a:off x="7325772" y="3539985"/>
            <a:ext cx="292889" cy="319465"/>
            <a:chOff x="7327679" y="3540808"/>
            <a:chExt cx="292965" cy="319548"/>
          </a:xfrm>
        </p:grpSpPr>
        <p:sp>
          <p:nvSpPr>
            <p:cNvPr id="477" name="Freeform 37">
              <a:extLst>
                <a:ext uri="{FF2B5EF4-FFF2-40B4-BE49-F238E27FC236}">
                  <a16:creationId xmlns="" xmlns:a16="http://schemas.microsoft.com/office/drawing/2014/main" id="{46F2408C-61EC-4BE3-BBE9-61AD42DFA750}"/>
                </a:ext>
              </a:extLst>
            </p:cNvPr>
            <p:cNvSpPr>
              <a:spLocks/>
            </p:cNvSpPr>
            <p:nvPr/>
          </p:nvSpPr>
          <p:spPr bwMode="auto">
            <a:xfrm rot="17514">
              <a:off x="7327679" y="3540808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8" name="Freeform 38">
              <a:extLst>
                <a:ext uri="{FF2B5EF4-FFF2-40B4-BE49-F238E27FC236}">
                  <a16:creationId xmlns="" xmlns:a16="http://schemas.microsoft.com/office/drawing/2014/main" id="{34D76E0C-87DE-4772-8773-96C5D6658E53}"/>
                </a:ext>
              </a:extLst>
            </p:cNvPr>
            <p:cNvSpPr>
              <a:spLocks/>
            </p:cNvSpPr>
            <p:nvPr/>
          </p:nvSpPr>
          <p:spPr bwMode="auto">
            <a:xfrm rot="17514">
              <a:off x="7331185" y="3659644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79" name="组合 478">
            <a:extLst>
              <a:ext uri="{FF2B5EF4-FFF2-40B4-BE49-F238E27FC236}">
                <a16:creationId xmlns="" xmlns:a16="http://schemas.microsoft.com/office/drawing/2014/main" id="{CEDE3316-6A46-4512-893D-8C5A1E008140}"/>
              </a:ext>
            </a:extLst>
          </p:cNvPr>
          <p:cNvGrpSpPr/>
          <p:nvPr/>
        </p:nvGrpSpPr>
        <p:grpSpPr>
          <a:xfrm rot="18099149">
            <a:off x="9042169" y="4207546"/>
            <a:ext cx="305722" cy="319465"/>
            <a:chOff x="9316995" y="4472884"/>
            <a:chExt cx="305802" cy="319548"/>
          </a:xfrm>
        </p:grpSpPr>
        <p:sp>
          <p:nvSpPr>
            <p:cNvPr id="480" name="Freeform 37">
              <a:extLst>
                <a:ext uri="{FF2B5EF4-FFF2-40B4-BE49-F238E27FC236}">
                  <a16:creationId xmlns="" xmlns:a16="http://schemas.microsoft.com/office/drawing/2014/main" id="{D954771D-DC43-4ED5-8C2C-7447FFC240E2}"/>
                </a:ext>
              </a:extLst>
            </p:cNvPr>
            <p:cNvSpPr>
              <a:spLocks/>
            </p:cNvSpPr>
            <p:nvPr/>
          </p:nvSpPr>
          <p:spPr bwMode="auto">
            <a:xfrm rot="1625349">
              <a:off x="9329832" y="4472884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1" name="Freeform 38">
              <a:extLst>
                <a:ext uri="{FF2B5EF4-FFF2-40B4-BE49-F238E27FC236}">
                  <a16:creationId xmlns="" xmlns:a16="http://schemas.microsoft.com/office/drawing/2014/main" id="{A970B716-8FD4-444F-9240-4C67A5B71424}"/>
                </a:ext>
              </a:extLst>
            </p:cNvPr>
            <p:cNvSpPr>
              <a:spLocks/>
            </p:cNvSpPr>
            <p:nvPr/>
          </p:nvSpPr>
          <p:spPr bwMode="auto">
            <a:xfrm rot="1625349">
              <a:off x="9316995" y="4560682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82" name="组合 481">
            <a:extLst>
              <a:ext uri="{FF2B5EF4-FFF2-40B4-BE49-F238E27FC236}">
                <a16:creationId xmlns="" xmlns:a16="http://schemas.microsoft.com/office/drawing/2014/main" id="{50A45686-E6D3-46B4-9D1F-500DF784A600}"/>
              </a:ext>
            </a:extLst>
          </p:cNvPr>
          <p:cNvGrpSpPr/>
          <p:nvPr/>
        </p:nvGrpSpPr>
        <p:grpSpPr>
          <a:xfrm>
            <a:off x="11357691" y="5415703"/>
            <a:ext cx="319465" cy="308087"/>
            <a:chOff x="11360648" y="5417014"/>
            <a:chExt cx="319548" cy="308167"/>
          </a:xfrm>
        </p:grpSpPr>
        <p:sp>
          <p:nvSpPr>
            <p:cNvPr id="483" name="Freeform 37">
              <a:extLst>
                <a:ext uri="{FF2B5EF4-FFF2-40B4-BE49-F238E27FC236}">
                  <a16:creationId xmlns="" xmlns:a16="http://schemas.microsoft.com/office/drawing/2014/main" id="{2A26B044-A370-4DFE-8626-B3D0CAD40860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11373939" y="5403723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4" name="Freeform 38">
              <a:extLst>
                <a:ext uri="{FF2B5EF4-FFF2-40B4-BE49-F238E27FC236}">
                  <a16:creationId xmlns="" xmlns:a16="http://schemas.microsoft.com/office/drawing/2014/main" id="{8BD6BA3A-558E-4873-9A84-0CE26144550F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11433674" y="5548421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85" name="组合 484">
            <a:extLst>
              <a:ext uri="{FF2B5EF4-FFF2-40B4-BE49-F238E27FC236}">
                <a16:creationId xmlns="" xmlns:a16="http://schemas.microsoft.com/office/drawing/2014/main" id="{F6F1144C-F8BD-4FBC-B6D0-98C9F85BC55A}"/>
              </a:ext>
            </a:extLst>
          </p:cNvPr>
          <p:cNvGrpSpPr/>
          <p:nvPr/>
        </p:nvGrpSpPr>
        <p:grpSpPr>
          <a:xfrm>
            <a:off x="9582042" y="5171654"/>
            <a:ext cx="319465" cy="308087"/>
            <a:chOff x="9584537" y="5172901"/>
            <a:chExt cx="319548" cy="308167"/>
          </a:xfrm>
        </p:grpSpPr>
        <p:sp>
          <p:nvSpPr>
            <p:cNvPr id="486" name="Freeform 37">
              <a:extLst>
                <a:ext uri="{FF2B5EF4-FFF2-40B4-BE49-F238E27FC236}">
                  <a16:creationId xmlns="" xmlns:a16="http://schemas.microsoft.com/office/drawing/2014/main" id="{6CECDA65-1B42-4D4B-8810-E31B0C398AF1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9597828" y="5159610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7" name="Freeform 38">
              <a:extLst>
                <a:ext uri="{FF2B5EF4-FFF2-40B4-BE49-F238E27FC236}">
                  <a16:creationId xmlns="" xmlns:a16="http://schemas.microsoft.com/office/drawing/2014/main" id="{9CF26CD1-2BE2-4486-8E0E-DE17F4901037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9657563" y="5304308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88" name="组合 487">
            <a:extLst>
              <a:ext uri="{FF2B5EF4-FFF2-40B4-BE49-F238E27FC236}">
                <a16:creationId xmlns="" xmlns:a16="http://schemas.microsoft.com/office/drawing/2014/main" id="{9B59F36C-B81C-4CC8-BF2E-1ED3EE17A37E}"/>
              </a:ext>
            </a:extLst>
          </p:cNvPr>
          <p:cNvGrpSpPr/>
          <p:nvPr/>
        </p:nvGrpSpPr>
        <p:grpSpPr>
          <a:xfrm>
            <a:off x="8040625" y="4616010"/>
            <a:ext cx="319465" cy="308087"/>
            <a:chOff x="8042719" y="4617113"/>
            <a:chExt cx="319548" cy="308167"/>
          </a:xfrm>
        </p:grpSpPr>
        <p:sp>
          <p:nvSpPr>
            <p:cNvPr id="489" name="Freeform 37">
              <a:extLst>
                <a:ext uri="{FF2B5EF4-FFF2-40B4-BE49-F238E27FC236}">
                  <a16:creationId xmlns="" xmlns:a16="http://schemas.microsoft.com/office/drawing/2014/main" id="{0F5FAF2A-98C0-4598-8F2A-B84E4676B2F7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8056010" y="4603822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0" name="Freeform 38">
              <a:extLst>
                <a:ext uri="{FF2B5EF4-FFF2-40B4-BE49-F238E27FC236}">
                  <a16:creationId xmlns="" xmlns:a16="http://schemas.microsoft.com/office/drawing/2014/main" id="{1828B0DC-B22F-481D-ADF0-A183F809678F}"/>
                </a:ext>
              </a:extLst>
            </p:cNvPr>
            <p:cNvSpPr>
              <a:spLocks/>
            </p:cNvSpPr>
            <p:nvPr/>
          </p:nvSpPr>
          <p:spPr bwMode="auto">
            <a:xfrm rot="18721465">
              <a:off x="8115745" y="4748520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91" name="组合 490">
            <a:extLst>
              <a:ext uri="{FF2B5EF4-FFF2-40B4-BE49-F238E27FC236}">
                <a16:creationId xmlns="" xmlns:a16="http://schemas.microsoft.com/office/drawing/2014/main" id="{C0D075FB-8C5D-4EC4-92E4-30C0BD1CD468}"/>
              </a:ext>
            </a:extLst>
          </p:cNvPr>
          <p:cNvGrpSpPr/>
          <p:nvPr/>
        </p:nvGrpSpPr>
        <p:grpSpPr>
          <a:xfrm>
            <a:off x="7146207" y="5903966"/>
            <a:ext cx="301118" cy="319465"/>
            <a:chOff x="7148068" y="5905405"/>
            <a:chExt cx="301196" cy="319548"/>
          </a:xfrm>
        </p:grpSpPr>
        <p:sp>
          <p:nvSpPr>
            <p:cNvPr id="492" name="Freeform 37">
              <a:extLst>
                <a:ext uri="{FF2B5EF4-FFF2-40B4-BE49-F238E27FC236}">
                  <a16:creationId xmlns="" xmlns:a16="http://schemas.microsoft.com/office/drawing/2014/main" id="{D02EEDC5-F51E-4CA6-B109-C6597A18A134}"/>
                </a:ext>
              </a:extLst>
            </p:cNvPr>
            <p:cNvSpPr>
              <a:spLocks/>
            </p:cNvSpPr>
            <p:nvPr/>
          </p:nvSpPr>
          <p:spPr bwMode="auto">
            <a:xfrm rot="1000156">
              <a:off x="7156299" y="5905405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3" name="Freeform 38">
              <a:extLst>
                <a:ext uri="{FF2B5EF4-FFF2-40B4-BE49-F238E27FC236}">
                  <a16:creationId xmlns="" xmlns:a16="http://schemas.microsoft.com/office/drawing/2014/main" id="{A42F7879-737D-4656-89FF-EA129F1BAF0D}"/>
                </a:ext>
              </a:extLst>
            </p:cNvPr>
            <p:cNvSpPr>
              <a:spLocks/>
            </p:cNvSpPr>
            <p:nvPr/>
          </p:nvSpPr>
          <p:spPr bwMode="auto">
            <a:xfrm rot="1000156">
              <a:off x="7148068" y="6006154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94" name="组合 493">
            <a:extLst>
              <a:ext uri="{FF2B5EF4-FFF2-40B4-BE49-F238E27FC236}">
                <a16:creationId xmlns="" xmlns:a16="http://schemas.microsoft.com/office/drawing/2014/main" id="{92A7EF7F-0718-45A3-AB60-1344B3CB71C0}"/>
              </a:ext>
            </a:extLst>
          </p:cNvPr>
          <p:cNvGrpSpPr/>
          <p:nvPr/>
        </p:nvGrpSpPr>
        <p:grpSpPr>
          <a:xfrm>
            <a:off x="5620482" y="4914277"/>
            <a:ext cx="319465" cy="308065"/>
            <a:chOff x="5621945" y="4915457"/>
            <a:chExt cx="319548" cy="308145"/>
          </a:xfrm>
        </p:grpSpPr>
        <p:sp>
          <p:nvSpPr>
            <p:cNvPr id="495" name="Freeform 37">
              <a:extLst>
                <a:ext uri="{FF2B5EF4-FFF2-40B4-BE49-F238E27FC236}">
                  <a16:creationId xmlns="" xmlns:a16="http://schemas.microsoft.com/office/drawing/2014/main" id="{84C84280-CB89-4C43-AAC9-97B7873F105C}"/>
                </a:ext>
              </a:extLst>
            </p:cNvPr>
            <p:cNvSpPr>
              <a:spLocks/>
            </p:cNvSpPr>
            <p:nvPr/>
          </p:nvSpPr>
          <p:spPr bwMode="auto">
            <a:xfrm rot="18778645">
              <a:off x="5635236" y="4902166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6" name="Freeform 38">
              <a:extLst>
                <a:ext uri="{FF2B5EF4-FFF2-40B4-BE49-F238E27FC236}">
                  <a16:creationId xmlns="" xmlns:a16="http://schemas.microsoft.com/office/drawing/2014/main" id="{13AD65EE-E0CC-4271-9F7C-4250600DBBB2}"/>
                </a:ext>
              </a:extLst>
            </p:cNvPr>
            <p:cNvSpPr>
              <a:spLocks/>
            </p:cNvSpPr>
            <p:nvPr/>
          </p:nvSpPr>
          <p:spPr bwMode="auto">
            <a:xfrm rot="18778645">
              <a:off x="5693713" y="5046842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97" name="组合 496">
            <a:extLst>
              <a:ext uri="{FF2B5EF4-FFF2-40B4-BE49-F238E27FC236}">
                <a16:creationId xmlns="" xmlns:a16="http://schemas.microsoft.com/office/drawing/2014/main" id="{D8EB2E21-B161-48B4-B15D-016052683B3E}"/>
              </a:ext>
            </a:extLst>
          </p:cNvPr>
          <p:cNvGrpSpPr/>
          <p:nvPr/>
        </p:nvGrpSpPr>
        <p:grpSpPr>
          <a:xfrm>
            <a:off x="4329683" y="5367339"/>
            <a:ext cx="322979" cy="292889"/>
            <a:chOff x="4330810" y="5368637"/>
            <a:chExt cx="323063" cy="292965"/>
          </a:xfrm>
        </p:grpSpPr>
        <p:sp>
          <p:nvSpPr>
            <p:cNvPr id="498" name="Freeform 37">
              <a:extLst>
                <a:ext uri="{FF2B5EF4-FFF2-40B4-BE49-F238E27FC236}">
                  <a16:creationId xmlns="" xmlns:a16="http://schemas.microsoft.com/office/drawing/2014/main" id="{EE830099-DD11-4F92-A5C3-3817C253B64A}"/>
                </a:ext>
              </a:extLst>
            </p:cNvPr>
            <p:cNvSpPr>
              <a:spLocks/>
            </p:cNvSpPr>
            <p:nvPr/>
          </p:nvSpPr>
          <p:spPr bwMode="auto">
            <a:xfrm rot="3484187">
              <a:off x="4347616" y="5355346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9" name="Freeform 38">
              <a:extLst>
                <a:ext uri="{FF2B5EF4-FFF2-40B4-BE49-F238E27FC236}">
                  <a16:creationId xmlns="" xmlns:a16="http://schemas.microsoft.com/office/drawing/2014/main" id="{F459DDDE-AD8B-416C-AF87-DEAE0CFC52D2}"/>
                </a:ext>
              </a:extLst>
            </p:cNvPr>
            <p:cNvSpPr>
              <a:spLocks/>
            </p:cNvSpPr>
            <p:nvPr/>
          </p:nvSpPr>
          <p:spPr bwMode="auto">
            <a:xfrm rot="3484187">
              <a:off x="4335570" y="5402724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00" name="组合 499">
            <a:extLst>
              <a:ext uri="{FF2B5EF4-FFF2-40B4-BE49-F238E27FC236}">
                <a16:creationId xmlns="" xmlns:a16="http://schemas.microsoft.com/office/drawing/2014/main" id="{FCF5A4B5-7338-46C0-AEEE-DE10FE932C48}"/>
              </a:ext>
            </a:extLst>
          </p:cNvPr>
          <p:cNvGrpSpPr/>
          <p:nvPr/>
        </p:nvGrpSpPr>
        <p:grpSpPr>
          <a:xfrm>
            <a:off x="2764435" y="4557460"/>
            <a:ext cx="325736" cy="292889"/>
            <a:chOff x="2765154" y="4558548"/>
            <a:chExt cx="325821" cy="292965"/>
          </a:xfrm>
        </p:grpSpPr>
        <p:sp>
          <p:nvSpPr>
            <p:cNvPr id="501" name="Freeform 37">
              <a:extLst>
                <a:ext uri="{FF2B5EF4-FFF2-40B4-BE49-F238E27FC236}">
                  <a16:creationId xmlns="" xmlns:a16="http://schemas.microsoft.com/office/drawing/2014/main" id="{4FC76B7E-A13F-4035-8AE5-FABC4A16E3F4}"/>
                </a:ext>
              </a:extLst>
            </p:cNvPr>
            <p:cNvSpPr>
              <a:spLocks/>
            </p:cNvSpPr>
            <p:nvPr/>
          </p:nvSpPr>
          <p:spPr bwMode="auto">
            <a:xfrm rot="2841199">
              <a:off x="2784718" y="4545257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2" name="Freeform 38">
              <a:extLst>
                <a:ext uri="{FF2B5EF4-FFF2-40B4-BE49-F238E27FC236}">
                  <a16:creationId xmlns="" xmlns:a16="http://schemas.microsoft.com/office/drawing/2014/main" id="{4F6C388A-F28B-4263-A3AC-5679685C931B}"/>
                </a:ext>
              </a:extLst>
            </p:cNvPr>
            <p:cNvSpPr>
              <a:spLocks/>
            </p:cNvSpPr>
            <p:nvPr/>
          </p:nvSpPr>
          <p:spPr bwMode="auto">
            <a:xfrm rot="2841199">
              <a:off x="2769914" y="4606499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03" name="组合 502">
            <a:extLst>
              <a:ext uri="{FF2B5EF4-FFF2-40B4-BE49-F238E27FC236}">
                <a16:creationId xmlns="" xmlns:a16="http://schemas.microsoft.com/office/drawing/2014/main" id="{699F9A2D-65F8-48E0-A345-A9BA0A332257}"/>
              </a:ext>
            </a:extLst>
          </p:cNvPr>
          <p:cNvGrpSpPr/>
          <p:nvPr/>
        </p:nvGrpSpPr>
        <p:grpSpPr>
          <a:xfrm>
            <a:off x="623847" y="5153275"/>
            <a:ext cx="320481" cy="292889"/>
            <a:chOff x="624009" y="5154518"/>
            <a:chExt cx="320564" cy="292965"/>
          </a:xfrm>
        </p:grpSpPr>
        <p:sp>
          <p:nvSpPr>
            <p:cNvPr id="504" name="Freeform 37">
              <a:extLst>
                <a:ext uri="{FF2B5EF4-FFF2-40B4-BE49-F238E27FC236}">
                  <a16:creationId xmlns="" xmlns:a16="http://schemas.microsoft.com/office/drawing/2014/main" id="{48CEA922-EB7B-41B0-8064-FDC141AA18CB}"/>
                </a:ext>
              </a:extLst>
            </p:cNvPr>
            <p:cNvSpPr>
              <a:spLocks/>
            </p:cNvSpPr>
            <p:nvPr/>
          </p:nvSpPr>
          <p:spPr bwMode="auto">
            <a:xfrm rot="14624866">
              <a:off x="637300" y="5141227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5" name="Freeform 38">
              <a:extLst>
                <a:ext uri="{FF2B5EF4-FFF2-40B4-BE49-F238E27FC236}">
                  <a16:creationId xmlns="" xmlns:a16="http://schemas.microsoft.com/office/drawing/2014/main" id="{49DD5D41-ED77-42C0-85C8-2D4CA591C451}"/>
                </a:ext>
              </a:extLst>
            </p:cNvPr>
            <p:cNvSpPr>
              <a:spLocks/>
            </p:cNvSpPr>
            <p:nvPr/>
          </p:nvSpPr>
          <p:spPr bwMode="auto">
            <a:xfrm rot="14624866">
              <a:off x="767814" y="5238948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06" name="组合 505">
            <a:extLst>
              <a:ext uri="{FF2B5EF4-FFF2-40B4-BE49-F238E27FC236}">
                <a16:creationId xmlns="" xmlns:a16="http://schemas.microsoft.com/office/drawing/2014/main" id="{DCC03EEB-D603-4748-84BE-EFD9FB53010F}"/>
              </a:ext>
            </a:extLst>
          </p:cNvPr>
          <p:cNvGrpSpPr/>
          <p:nvPr/>
        </p:nvGrpSpPr>
        <p:grpSpPr>
          <a:xfrm>
            <a:off x="812690" y="5888814"/>
            <a:ext cx="319465" cy="307833"/>
            <a:chOff x="812901" y="5890248"/>
            <a:chExt cx="319548" cy="307913"/>
          </a:xfrm>
        </p:grpSpPr>
        <p:sp>
          <p:nvSpPr>
            <p:cNvPr id="507" name="Freeform 37">
              <a:extLst>
                <a:ext uri="{FF2B5EF4-FFF2-40B4-BE49-F238E27FC236}">
                  <a16:creationId xmlns="" xmlns:a16="http://schemas.microsoft.com/office/drawing/2014/main" id="{2022D3C3-6888-4D34-8C64-DBAE73183F1D}"/>
                </a:ext>
              </a:extLst>
            </p:cNvPr>
            <p:cNvSpPr>
              <a:spLocks/>
            </p:cNvSpPr>
            <p:nvPr/>
          </p:nvSpPr>
          <p:spPr bwMode="auto">
            <a:xfrm rot="18403821">
              <a:off x="826192" y="5876957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8" name="Freeform 38">
              <a:extLst>
                <a:ext uri="{FF2B5EF4-FFF2-40B4-BE49-F238E27FC236}">
                  <a16:creationId xmlns="" xmlns:a16="http://schemas.microsoft.com/office/drawing/2014/main" id="{EDD892AB-16BA-44B3-927A-3F8395954599}"/>
                </a:ext>
              </a:extLst>
            </p:cNvPr>
            <p:cNvSpPr>
              <a:spLocks/>
            </p:cNvSpPr>
            <p:nvPr/>
          </p:nvSpPr>
          <p:spPr bwMode="auto">
            <a:xfrm rot="18403821">
              <a:off x="892914" y="6021401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09" name="组合 508">
            <a:extLst>
              <a:ext uri="{FF2B5EF4-FFF2-40B4-BE49-F238E27FC236}">
                <a16:creationId xmlns="" xmlns:a16="http://schemas.microsoft.com/office/drawing/2014/main" id="{81647882-B62F-4807-96F8-249B0A96E8CA}"/>
              </a:ext>
            </a:extLst>
          </p:cNvPr>
          <p:cNvGrpSpPr/>
          <p:nvPr/>
        </p:nvGrpSpPr>
        <p:grpSpPr>
          <a:xfrm>
            <a:off x="1829119" y="5491278"/>
            <a:ext cx="292889" cy="325736"/>
            <a:chOff x="1829594" y="5492608"/>
            <a:chExt cx="292965" cy="325821"/>
          </a:xfrm>
        </p:grpSpPr>
        <p:sp>
          <p:nvSpPr>
            <p:cNvPr id="510" name="Freeform 37">
              <a:extLst>
                <a:ext uri="{FF2B5EF4-FFF2-40B4-BE49-F238E27FC236}">
                  <a16:creationId xmlns="" xmlns:a16="http://schemas.microsoft.com/office/drawing/2014/main" id="{93B3AAF6-A75B-4C3A-B3CB-CD5025EA822D}"/>
                </a:ext>
              </a:extLst>
            </p:cNvPr>
            <p:cNvSpPr>
              <a:spLocks/>
            </p:cNvSpPr>
            <p:nvPr/>
          </p:nvSpPr>
          <p:spPr bwMode="auto">
            <a:xfrm rot="19041199">
              <a:off x="1829594" y="5492608"/>
              <a:ext cx="292965" cy="319548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1" name="Freeform 38">
              <a:extLst>
                <a:ext uri="{FF2B5EF4-FFF2-40B4-BE49-F238E27FC236}">
                  <a16:creationId xmlns="" xmlns:a16="http://schemas.microsoft.com/office/drawing/2014/main" id="{D46CBE9F-30F1-4B8A-84C2-B8CD2D8AB2F8}"/>
                </a:ext>
              </a:extLst>
            </p:cNvPr>
            <p:cNvSpPr>
              <a:spLocks/>
            </p:cNvSpPr>
            <p:nvPr/>
          </p:nvSpPr>
          <p:spPr bwMode="auto">
            <a:xfrm rot="19041199">
              <a:off x="1882304" y="5636910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12" name="组合 511">
            <a:extLst>
              <a:ext uri="{FF2B5EF4-FFF2-40B4-BE49-F238E27FC236}">
                <a16:creationId xmlns="" xmlns:a16="http://schemas.microsoft.com/office/drawing/2014/main" id="{AB53C0C7-6E2E-4281-B43E-D483B078373B}"/>
              </a:ext>
            </a:extLst>
          </p:cNvPr>
          <p:cNvGrpSpPr/>
          <p:nvPr/>
        </p:nvGrpSpPr>
        <p:grpSpPr>
          <a:xfrm>
            <a:off x="3849788" y="5969425"/>
            <a:ext cx="319466" cy="307978"/>
            <a:chOff x="3850790" y="5970881"/>
            <a:chExt cx="319549" cy="308058"/>
          </a:xfrm>
        </p:grpSpPr>
        <p:sp>
          <p:nvSpPr>
            <p:cNvPr id="513" name="Freeform 37">
              <a:extLst>
                <a:ext uri="{FF2B5EF4-FFF2-40B4-BE49-F238E27FC236}">
                  <a16:creationId xmlns="" xmlns:a16="http://schemas.microsoft.com/office/drawing/2014/main" id="{8239DBEA-5D1E-45E6-9871-F2E57A007D0F}"/>
                </a:ext>
              </a:extLst>
            </p:cNvPr>
            <p:cNvSpPr>
              <a:spLocks/>
            </p:cNvSpPr>
            <p:nvPr/>
          </p:nvSpPr>
          <p:spPr bwMode="auto">
            <a:xfrm rot="18874521">
              <a:off x="3864082" y="5957589"/>
              <a:ext cx="292966" cy="319549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6"/>
                </a:cxn>
                <a:cxn ang="0">
                  <a:pos x="293" y="339"/>
                </a:cxn>
                <a:cxn ang="0">
                  <a:pos x="303" y="336"/>
                </a:cxn>
                <a:cxn ang="0">
                  <a:pos x="308" y="331"/>
                </a:cxn>
                <a:cxn ang="0">
                  <a:pos x="310" y="324"/>
                </a:cxn>
                <a:cxn ang="0">
                  <a:pos x="307" y="263"/>
                </a:cxn>
                <a:cxn ang="0">
                  <a:pos x="293" y="206"/>
                </a:cxn>
                <a:cxn ang="0">
                  <a:pos x="268" y="152"/>
                </a:cxn>
                <a:cxn ang="0">
                  <a:pos x="232" y="103"/>
                </a:cxn>
                <a:cxn ang="0">
                  <a:pos x="221" y="90"/>
                </a:cxn>
                <a:cxn ang="0">
                  <a:pos x="199" y="71"/>
                </a:cxn>
                <a:cxn ang="0">
                  <a:pos x="153" y="39"/>
                </a:cxn>
                <a:cxn ang="0">
                  <a:pos x="103" y="17"/>
                </a:cxn>
                <a:cxn ang="0">
                  <a:pos x="47" y="4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1" y="15"/>
                </a:cxn>
                <a:cxn ang="0">
                  <a:pos x="0" y="5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5" y="73"/>
                </a:cxn>
                <a:cxn ang="0">
                  <a:pos x="59" y="80"/>
                </a:cxn>
                <a:cxn ang="0">
                  <a:pos x="99" y="93"/>
                </a:cxn>
                <a:cxn ang="0">
                  <a:pos x="136" y="113"/>
                </a:cxn>
                <a:cxn ang="0">
                  <a:pos x="168" y="142"/>
                </a:cxn>
                <a:cxn ang="0">
                  <a:pos x="178" y="152"/>
                </a:cxn>
                <a:cxn ang="0">
                  <a:pos x="194" y="169"/>
                </a:cxn>
                <a:cxn ang="0">
                  <a:pos x="216" y="208"/>
                </a:cxn>
                <a:cxn ang="0">
                  <a:pos x="231" y="252"/>
                </a:cxn>
                <a:cxn ang="0">
                  <a:pos x="237" y="297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9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6"/>
                  </a:lnTo>
                  <a:lnTo>
                    <a:pt x="293" y="339"/>
                  </a:lnTo>
                  <a:lnTo>
                    <a:pt x="293" y="339"/>
                  </a:lnTo>
                  <a:lnTo>
                    <a:pt x="298" y="338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308" y="331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294"/>
                  </a:lnTo>
                  <a:lnTo>
                    <a:pt x="307" y="263"/>
                  </a:lnTo>
                  <a:lnTo>
                    <a:pt x="302" y="235"/>
                  </a:lnTo>
                  <a:lnTo>
                    <a:pt x="293" y="206"/>
                  </a:lnTo>
                  <a:lnTo>
                    <a:pt x="281" y="179"/>
                  </a:lnTo>
                  <a:lnTo>
                    <a:pt x="268" y="152"/>
                  </a:lnTo>
                  <a:lnTo>
                    <a:pt x="253" y="127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21" y="90"/>
                  </a:lnTo>
                  <a:lnTo>
                    <a:pt x="221" y="90"/>
                  </a:lnTo>
                  <a:lnTo>
                    <a:pt x="199" y="71"/>
                  </a:lnTo>
                  <a:lnTo>
                    <a:pt x="177" y="54"/>
                  </a:lnTo>
                  <a:lnTo>
                    <a:pt x="153" y="39"/>
                  </a:lnTo>
                  <a:lnTo>
                    <a:pt x="128" y="27"/>
                  </a:lnTo>
                  <a:lnTo>
                    <a:pt x="103" y="17"/>
                  </a:lnTo>
                  <a:lnTo>
                    <a:pt x="76" y="9"/>
                  </a:lnTo>
                  <a:lnTo>
                    <a:pt x="47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63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6"/>
                  </a:lnTo>
                  <a:lnTo>
                    <a:pt x="59" y="80"/>
                  </a:lnTo>
                  <a:lnTo>
                    <a:pt x="79" y="85"/>
                  </a:lnTo>
                  <a:lnTo>
                    <a:pt x="99" y="93"/>
                  </a:lnTo>
                  <a:lnTo>
                    <a:pt x="118" y="103"/>
                  </a:lnTo>
                  <a:lnTo>
                    <a:pt x="136" y="113"/>
                  </a:lnTo>
                  <a:lnTo>
                    <a:pt x="153" y="127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94" y="169"/>
                  </a:lnTo>
                  <a:lnTo>
                    <a:pt x="205" y="189"/>
                  </a:lnTo>
                  <a:lnTo>
                    <a:pt x="216" y="208"/>
                  </a:lnTo>
                  <a:lnTo>
                    <a:pt x="224" y="230"/>
                  </a:lnTo>
                  <a:lnTo>
                    <a:pt x="231" y="252"/>
                  </a:lnTo>
                  <a:lnTo>
                    <a:pt x="234" y="274"/>
                  </a:lnTo>
                  <a:lnTo>
                    <a:pt x="237" y="297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6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4" name="Freeform 38">
              <a:extLst>
                <a:ext uri="{FF2B5EF4-FFF2-40B4-BE49-F238E27FC236}">
                  <a16:creationId xmlns="" xmlns:a16="http://schemas.microsoft.com/office/drawing/2014/main" id="{74A88FC1-305D-4BC3-A0B0-9FE51AB41FCD}"/>
                </a:ext>
              </a:extLst>
            </p:cNvPr>
            <p:cNvSpPr>
              <a:spLocks/>
            </p:cNvSpPr>
            <p:nvPr/>
          </p:nvSpPr>
          <p:spPr bwMode="auto">
            <a:xfrm rot="18874521">
              <a:off x="3920450" y="6102179"/>
              <a:ext cx="172000" cy="181519"/>
            </a:xfrm>
            <a:custGeom>
              <a:avLst/>
              <a:gdLst/>
              <a:ahLst/>
              <a:cxnLst>
                <a:cxn ang="0">
                  <a:pos x="131" y="49"/>
                </a:cxn>
                <a:cxn ang="0">
                  <a:pos x="131" y="49"/>
                </a:cxn>
                <a:cxn ang="0">
                  <a:pos x="119" y="39"/>
                </a:cxn>
                <a:cxn ang="0">
                  <a:pos x="106" y="29"/>
                </a:cxn>
                <a:cxn ang="0">
                  <a:pos x="92" y="22"/>
                </a:cxn>
                <a:cxn ang="0">
                  <a:pos x="79" y="13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8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4"/>
                </a:cxn>
                <a:cxn ang="0">
                  <a:pos x="82" y="104"/>
                </a:cxn>
                <a:cxn ang="0">
                  <a:pos x="94" y="120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2"/>
                </a:cxn>
                <a:cxn ang="0">
                  <a:pos x="163" y="192"/>
                </a:cxn>
                <a:cxn ang="0">
                  <a:pos x="170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7" y="84"/>
                </a:cxn>
                <a:cxn ang="0">
                  <a:pos x="148" y="69"/>
                </a:cxn>
                <a:cxn ang="0">
                  <a:pos x="138" y="57"/>
                </a:cxn>
                <a:cxn ang="0">
                  <a:pos x="138" y="57"/>
                </a:cxn>
                <a:cxn ang="0">
                  <a:pos x="131" y="49"/>
                </a:cxn>
                <a:cxn ang="0">
                  <a:pos x="131" y="49"/>
                </a:cxn>
              </a:cxnLst>
              <a:rect l="0" t="0" r="r" b="b"/>
              <a:pathLst>
                <a:path w="180" h="192">
                  <a:moveTo>
                    <a:pt x="131" y="49"/>
                  </a:moveTo>
                  <a:lnTo>
                    <a:pt x="131" y="49"/>
                  </a:lnTo>
                  <a:lnTo>
                    <a:pt x="119" y="39"/>
                  </a:lnTo>
                  <a:lnTo>
                    <a:pt x="106" y="29"/>
                  </a:lnTo>
                  <a:lnTo>
                    <a:pt x="92" y="22"/>
                  </a:lnTo>
                  <a:lnTo>
                    <a:pt x="79" y="13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94" y="120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70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7" y="84"/>
                  </a:lnTo>
                  <a:lnTo>
                    <a:pt x="148" y="69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1" y="49"/>
                  </a:lnTo>
                  <a:lnTo>
                    <a:pt x="131" y="49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15" name="组合 245">
            <a:extLst>
              <a:ext uri="{FF2B5EF4-FFF2-40B4-BE49-F238E27FC236}">
                <a16:creationId xmlns="" xmlns:a16="http://schemas.microsoft.com/office/drawing/2014/main" id="{EF812AAE-EF0D-44BD-B246-39A27F441F6A}"/>
              </a:ext>
            </a:extLst>
          </p:cNvPr>
          <p:cNvGrpSpPr/>
          <p:nvPr/>
        </p:nvGrpSpPr>
        <p:grpSpPr>
          <a:xfrm>
            <a:off x="6138372" y="4958211"/>
            <a:ext cx="358454" cy="526732"/>
            <a:chOff x="15730538" y="3268663"/>
            <a:chExt cx="765175" cy="1123950"/>
          </a:xfrm>
          <a:solidFill>
            <a:sysClr val="window" lastClr="FFFFFF">
              <a:lumMod val="85000"/>
            </a:sysClr>
          </a:solidFill>
        </p:grpSpPr>
        <p:sp>
          <p:nvSpPr>
            <p:cNvPr id="516" name="Freeform 57">
              <a:extLst>
                <a:ext uri="{FF2B5EF4-FFF2-40B4-BE49-F238E27FC236}">
                  <a16:creationId xmlns="" xmlns:a16="http://schemas.microsoft.com/office/drawing/2014/main" id="{15A95725-B7E6-4BA4-BB7B-27CE43926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7" name="Freeform 58">
              <a:extLst>
                <a:ext uri="{FF2B5EF4-FFF2-40B4-BE49-F238E27FC236}">
                  <a16:creationId xmlns="" xmlns:a16="http://schemas.microsoft.com/office/drawing/2014/main" id="{BAF0076B-3936-44F0-B104-59FD8577A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8" name="Freeform 59">
              <a:extLst>
                <a:ext uri="{FF2B5EF4-FFF2-40B4-BE49-F238E27FC236}">
                  <a16:creationId xmlns="" xmlns:a16="http://schemas.microsoft.com/office/drawing/2014/main" id="{4C959A65-D48A-4F50-AAA9-744E91E16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9" name="Freeform 60">
              <a:extLst>
                <a:ext uri="{FF2B5EF4-FFF2-40B4-BE49-F238E27FC236}">
                  <a16:creationId xmlns="" xmlns:a16="http://schemas.microsoft.com/office/drawing/2014/main" id="{E837BB6B-376F-4173-84F4-A36D39591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0" name="Freeform 61">
              <a:extLst>
                <a:ext uri="{FF2B5EF4-FFF2-40B4-BE49-F238E27FC236}">
                  <a16:creationId xmlns="" xmlns:a16="http://schemas.microsoft.com/office/drawing/2014/main" id="{01C134D7-CDD2-4DFE-A7B1-9DFA29228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30538" y="3460750"/>
              <a:ext cx="765175" cy="931863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21" name="组合 245">
            <a:extLst>
              <a:ext uri="{FF2B5EF4-FFF2-40B4-BE49-F238E27FC236}">
                <a16:creationId xmlns="" xmlns:a16="http://schemas.microsoft.com/office/drawing/2014/main" id="{B2441008-1A15-44B0-822D-448595A41AB8}"/>
              </a:ext>
            </a:extLst>
          </p:cNvPr>
          <p:cNvGrpSpPr/>
          <p:nvPr/>
        </p:nvGrpSpPr>
        <p:grpSpPr>
          <a:xfrm rot="21075232">
            <a:off x="3320333" y="5791469"/>
            <a:ext cx="358454" cy="526732"/>
            <a:chOff x="15730538" y="3268663"/>
            <a:chExt cx="765175" cy="1123950"/>
          </a:xfrm>
          <a:solidFill>
            <a:sysClr val="window" lastClr="FFFFFF">
              <a:lumMod val="85000"/>
            </a:sysClr>
          </a:solidFill>
        </p:grpSpPr>
        <p:sp>
          <p:nvSpPr>
            <p:cNvPr id="522" name="Freeform 57">
              <a:extLst>
                <a:ext uri="{FF2B5EF4-FFF2-40B4-BE49-F238E27FC236}">
                  <a16:creationId xmlns="" xmlns:a16="http://schemas.microsoft.com/office/drawing/2014/main" id="{DC3434A3-18CA-41A9-8EB3-C9C91CC8C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3" name="Freeform 58">
              <a:extLst>
                <a:ext uri="{FF2B5EF4-FFF2-40B4-BE49-F238E27FC236}">
                  <a16:creationId xmlns="" xmlns:a16="http://schemas.microsoft.com/office/drawing/2014/main" id="{03F02D02-98B7-40FF-89A4-A38F2E38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4" name="Freeform 59">
              <a:extLst>
                <a:ext uri="{FF2B5EF4-FFF2-40B4-BE49-F238E27FC236}">
                  <a16:creationId xmlns="" xmlns:a16="http://schemas.microsoft.com/office/drawing/2014/main" id="{12AF4D16-DAEF-4090-A73F-045C5FDB7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5" name="Freeform 60">
              <a:extLst>
                <a:ext uri="{FF2B5EF4-FFF2-40B4-BE49-F238E27FC236}">
                  <a16:creationId xmlns="" xmlns:a16="http://schemas.microsoft.com/office/drawing/2014/main" id="{7DA14925-F810-437D-A25F-F1A6C295F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6" name="Freeform 61">
              <a:extLst>
                <a:ext uri="{FF2B5EF4-FFF2-40B4-BE49-F238E27FC236}">
                  <a16:creationId xmlns="" xmlns:a16="http://schemas.microsoft.com/office/drawing/2014/main" id="{74BEA464-A37B-4193-AD89-4056A55F9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30538" y="3460750"/>
              <a:ext cx="765175" cy="931863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27" name="组合 245">
            <a:extLst>
              <a:ext uri="{FF2B5EF4-FFF2-40B4-BE49-F238E27FC236}">
                <a16:creationId xmlns="" xmlns:a16="http://schemas.microsoft.com/office/drawing/2014/main" id="{22D93359-DADC-4DE7-BA50-AAB716A6ACB1}"/>
              </a:ext>
            </a:extLst>
          </p:cNvPr>
          <p:cNvGrpSpPr/>
          <p:nvPr/>
        </p:nvGrpSpPr>
        <p:grpSpPr>
          <a:xfrm>
            <a:off x="8087771" y="5454666"/>
            <a:ext cx="413355" cy="509761"/>
            <a:chOff x="15730538" y="3268663"/>
            <a:chExt cx="765175" cy="1123950"/>
          </a:xfrm>
          <a:solidFill>
            <a:schemeClr val="bg1"/>
          </a:solidFill>
        </p:grpSpPr>
        <p:sp>
          <p:nvSpPr>
            <p:cNvPr id="528" name="Freeform 57">
              <a:extLst>
                <a:ext uri="{FF2B5EF4-FFF2-40B4-BE49-F238E27FC236}">
                  <a16:creationId xmlns="" xmlns:a16="http://schemas.microsoft.com/office/drawing/2014/main" id="{49595BB3-6D22-4D06-80BB-AD4D0C278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9" name="Freeform 58">
              <a:extLst>
                <a:ext uri="{FF2B5EF4-FFF2-40B4-BE49-F238E27FC236}">
                  <a16:creationId xmlns="" xmlns:a16="http://schemas.microsoft.com/office/drawing/2014/main" id="{F86DCB04-9067-4A76-A8AC-A84CCBF5C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0" name="Freeform 59">
              <a:extLst>
                <a:ext uri="{FF2B5EF4-FFF2-40B4-BE49-F238E27FC236}">
                  <a16:creationId xmlns="" xmlns:a16="http://schemas.microsoft.com/office/drawing/2014/main" id="{3A07CE37-3D27-49C6-9068-F23C540B2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1" name="Freeform 60">
              <a:extLst>
                <a:ext uri="{FF2B5EF4-FFF2-40B4-BE49-F238E27FC236}">
                  <a16:creationId xmlns="" xmlns:a16="http://schemas.microsoft.com/office/drawing/2014/main" id="{A3165F01-B499-4EBB-8557-63BE020A2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2" name="Freeform 61">
              <a:extLst>
                <a:ext uri="{FF2B5EF4-FFF2-40B4-BE49-F238E27FC236}">
                  <a16:creationId xmlns="" xmlns:a16="http://schemas.microsoft.com/office/drawing/2014/main" id="{E2F661C2-C45B-4B30-BCE8-A2062D74D8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30538" y="3460750"/>
              <a:ext cx="765175" cy="931863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33" name="组合 245">
            <a:extLst>
              <a:ext uri="{FF2B5EF4-FFF2-40B4-BE49-F238E27FC236}">
                <a16:creationId xmlns="" xmlns:a16="http://schemas.microsoft.com/office/drawing/2014/main" id="{6243C438-1BA2-441F-ACB3-75BFA9845503}"/>
              </a:ext>
            </a:extLst>
          </p:cNvPr>
          <p:cNvGrpSpPr/>
          <p:nvPr/>
        </p:nvGrpSpPr>
        <p:grpSpPr>
          <a:xfrm rot="20724947">
            <a:off x="1368027" y="5651941"/>
            <a:ext cx="232650" cy="341870"/>
            <a:chOff x="15730538" y="3268663"/>
            <a:chExt cx="765175" cy="1123950"/>
          </a:xfrm>
          <a:solidFill>
            <a:sysClr val="window" lastClr="FFFFFF">
              <a:lumMod val="85000"/>
            </a:sysClr>
          </a:solidFill>
        </p:grpSpPr>
        <p:sp>
          <p:nvSpPr>
            <p:cNvPr id="534" name="Freeform 57">
              <a:extLst>
                <a:ext uri="{FF2B5EF4-FFF2-40B4-BE49-F238E27FC236}">
                  <a16:creationId xmlns="" xmlns:a16="http://schemas.microsoft.com/office/drawing/2014/main" id="{DB39CDA9-1D73-4ECE-A4BA-39E18DB02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5" name="Freeform 58">
              <a:extLst>
                <a:ext uri="{FF2B5EF4-FFF2-40B4-BE49-F238E27FC236}">
                  <a16:creationId xmlns="" xmlns:a16="http://schemas.microsoft.com/office/drawing/2014/main" id="{87398997-B1B9-4FBA-8A8F-4CC186959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6" name="Freeform 59">
              <a:extLst>
                <a:ext uri="{FF2B5EF4-FFF2-40B4-BE49-F238E27FC236}">
                  <a16:creationId xmlns="" xmlns:a16="http://schemas.microsoft.com/office/drawing/2014/main" id="{67B42900-E87E-4C87-9BFB-E500A07A0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7" name="Freeform 60">
              <a:extLst>
                <a:ext uri="{FF2B5EF4-FFF2-40B4-BE49-F238E27FC236}">
                  <a16:creationId xmlns="" xmlns:a16="http://schemas.microsoft.com/office/drawing/2014/main" id="{96F0B623-A831-4874-9225-9E35A8B29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8" name="Freeform 61">
              <a:extLst>
                <a:ext uri="{FF2B5EF4-FFF2-40B4-BE49-F238E27FC236}">
                  <a16:creationId xmlns="" xmlns:a16="http://schemas.microsoft.com/office/drawing/2014/main" id="{7189859F-A81C-4537-B3BC-13AF53D431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30538" y="3460750"/>
              <a:ext cx="765175" cy="931863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49761" tIns="24881" rIns="49761" bIns="2488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575" fontAlgn="ctr">
                <a:defRPr/>
              </a:pPr>
              <a:endParaRPr lang="en-US" altLang="zh-CN" sz="1686" kern="0" dirty="0">
                <a:solidFill>
                  <a:sysClr val="windowText" lastClr="000000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539" name="Freeform 33">
            <a:extLst>
              <a:ext uri="{FF2B5EF4-FFF2-40B4-BE49-F238E27FC236}">
                <a16:creationId xmlns="" xmlns:a16="http://schemas.microsoft.com/office/drawing/2014/main" id="{F04A2AD0-D3D3-44A9-9C89-C467CDF95AFA}"/>
              </a:ext>
            </a:extLst>
          </p:cNvPr>
          <p:cNvSpPr>
            <a:spLocks noEditPoints="1"/>
          </p:cNvSpPr>
          <p:nvPr/>
        </p:nvSpPr>
        <p:spPr bwMode="auto">
          <a:xfrm>
            <a:off x="9457461" y="4659946"/>
            <a:ext cx="61624" cy="109241"/>
          </a:xfrm>
          <a:custGeom>
            <a:avLst/>
            <a:gdLst/>
            <a:ahLst/>
            <a:cxnLst>
              <a:cxn ang="0">
                <a:pos x="68" y="54"/>
              </a:cxn>
              <a:cxn ang="0">
                <a:pos x="68" y="48"/>
              </a:cxn>
              <a:cxn ang="0">
                <a:pos x="70" y="44"/>
              </a:cxn>
              <a:cxn ang="0">
                <a:pos x="78" y="32"/>
              </a:cxn>
              <a:cxn ang="0">
                <a:pos x="80" y="24"/>
              </a:cxn>
              <a:cxn ang="0">
                <a:pos x="74" y="6"/>
              </a:cxn>
              <a:cxn ang="0">
                <a:pos x="56" y="0"/>
              </a:cxn>
              <a:cxn ang="0">
                <a:pos x="46" y="2"/>
              </a:cxn>
              <a:cxn ang="0">
                <a:pos x="32" y="16"/>
              </a:cxn>
              <a:cxn ang="0">
                <a:pos x="30" y="24"/>
              </a:cxn>
              <a:cxn ang="0">
                <a:pos x="34" y="38"/>
              </a:cxn>
              <a:cxn ang="0">
                <a:pos x="40" y="44"/>
              </a:cxn>
              <a:cxn ang="0">
                <a:pos x="42" y="54"/>
              </a:cxn>
              <a:cxn ang="0">
                <a:pos x="0" y="174"/>
              </a:cxn>
              <a:cxn ang="0">
                <a:pos x="2" y="176"/>
              </a:cxn>
              <a:cxn ang="0">
                <a:pos x="22" y="170"/>
              </a:cxn>
              <a:cxn ang="0">
                <a:pos x="56" y="164"/>
              </a:cxn>
              <a:cxn ang="0">
                <a:pos x="72" y="166"/>
              </a:cxn>
              <a:cxn ang="0">
                <a:pos x="108" y="176"/>
              </a:cxn>
              <a:cxn ang="0">
                <a:pos x="110" y="176"/>
              </a:cxn>
              <a:cxn ang="0">
                <a:pos x="110" y="174"/>
              </a:cxn>
              <a:cxn ang="0">
                <a:pos x="56" y="72"/>
              </a:cxn>
              <a:cxn ang="0">
                <a:pos x="64" y="76"/>
              </a:cxn>
              <a:cxn ang="0">
                <a:pos x="68" y="84"/>
              </a:cxn>
              <a:cxn ang="0">
                <a:pos x="66" y="90"/>
              </a:cxn>
              <a:cxn ang="0">
                <a:pos x="60" y="96"/>
              </a:cxn>
              <a:cxn ang="0">
                <a:pos x="56" y="98"/>
              </a:cxn>
              <a:cxn ang="0">
                <a:pos x="46" y="94"/>
              </a:cxn>
              <a:cxn ang="0">
                <a:pos x="42" y="84"/>
              </a:cxn>
              <a:cxn ang="0">
                <a:pos x="44" y="80"/>
              </a:cxn>
              <a:cxn ang="0">
                <a:pos x="50" y="74"/>
              </a:cxn>
              <a:cxn ang="0">
                <a:pos x="56" y="72"/>
              </a:cxn>
              <a:cxn ang="0">
                <a:pos x="56" y="144"/>
              </a:cxn>
              <a:cxn ang="0">
                <a:pos x="42" y="138"/>
              </a:cxn>
              <a:cxn ang="0">
                <a:pos x="36" y="124"/>
              </a:cxn>
              <a:cxn ang="0">
                <a:pos x="38" y="118"/>
              </a:cxn>
              <a:cxn ang="0">
                <a:pos x="48" y="108"/>
              </a:cxn>
              <a:cxn ang="0">
                <a:pos x="56" y="106"/>
              </a:cxn>
              <a:cxn ang="0">
                <a:pos x="68" y="112"/>
              </a:cxn>
              <a:cxn ang="0">
                <a:pos x="74" y="124"/>
              </a:cxn>
              <a:cxn ang="0">
                <a:pos x="72" y="132"/>
              </a:cxn>
              <a:cxn ang="0">
                <a:pos x="62" y="142"/>
              </a:cxn>
              <a:cxn ang="0">
                <a:pos x="56" y="144"/>
              </a:cxn>
            </a:cxnLst>
            <a:rect l="0" t="0" r="r" b="b"/>
            <a:pathLst>
              <a:path w="110" h="176">
                <a:moveTo>
                  <a:pt x="110" y="174"/>
                </a:moveTo>
                <a:lnTo>
                  <a:pt x="68" y="54"/>
                </a:lnTo>
                <a:lnTo>
                  <a:pt x="68" y="54"/>
                </a:lnTo>
                <a:lnTo>
                  <a:pt x="68" y="48"/>
                </a:lnTo>
                <a:lnTo>
                  <a:pt x="70" y="44"/>
                </a:lnTo>
                <a:lnTo>
                  <a:pt x="70" y="44"/>
                </a:lnTo>
                <a:lnTo>
                  <a:pt x="76" y="38"/>
                </a:lnTo>
                <a:lnTo>
                  <a:pt x="78" y="32"/>
                </a:lnTo>
                <a:lnTo>
                  <a:pt x="80" y="24"/>
                </a:lnTo>
                <a:lnTo>
                  <a:pt x="80" y="24"/>
                </a:lnTo>
                <a:lnTo>
                  <a:pt x="78" y="16"/>
                </a:lnTo>
                <a:lnTo>
                  <a:pt x="74" y="6"/>
                </a:lnTo>
                <a:lnTo>
                  <a:pt x="64" y="2"/>
                </a:lnTo>
                <a:lnTo>
                  <a:pt x="56" y="0"/>
                </a:lnTo>
                <a:lnTo>
                  <a:pt x="56" y="0"/>
                </a:lnTo>
                <a:lnTo>
                  <a:pt x="46" y="2"/>
                </a:lnTo>
                <a:lnTo>
                  <a:pt x="38" y="6"/>
                </a:lnTo>
                <a:lnTo>
                  <a:pt x="32" y="16"/>
                </a:lnTo>
                <a:lnTo>
                  <a:pt x="30" y="24"/>
                </a:lnTo>
                <a:lnTo>
                  <a:pt x="30" y="24"/>
                </a:lnTo>
                <a:lnTo>
                  <a:pt x="32" y="32"/>
                </a:lnTo>
                <a:lnTo>
                  <a:pt x="34" y="38"/>
                </a:lnTo>
                <a:lnTo>
                  <a:pt x="40" y="44"/>
                </a:lnTo>
                <a:lnTo>
                  <a:pt x="40" y="44"/>
                </a:lnTo>
                <a:lnTo>
                  <a:pt x="42" y="48"/>
                </a:lnTo>
                <a:lnTo>
                  <a:pt x="42" y="54"/>
                </a:lnTo>
                <a:lnTo>
                  <a:pt x="0" y="174"/>
                </a:lnTo>
                <a:lnTo>
                  <a:pt x="0" y="174"/>
                </a:lnTo>
                <a:lnTo>
                  <a:pt x="0" y="176"/>
                </a:lnTo>
                <a:lnTo>
                  <a:pt x="2" y="176"/>
                </a:lnTo>
                <a:lnTo>
                  <a:pt x="2" y="176"/>
                </a:lnTo>
                <a:lnTo>
                  <a:pt x="22" y="170"/>
                </a:lnTo>
                <a:lnTo>
                  <a:pt x="38" y="166"/>
                </a:lnTo>
                <a:lnTo>
                  <a:pt x="56" y="164"/>
                </a:lnTo>
                <a:lnTo>
                  <a:pt x="56" y="164"/>
                </a:lnTo>
                <a:lnTo>
                  <a:pt x="72" y="166"/>
                </a:lnTo>
                <a:lnTo>
                  <a:pt x="88" y="170"/>
                </a:lnTo>
                <a:lnTo>
                  <a:pt x="108" y="176"/>
                </a:lnTo>
                <a:lnTo>
                  <a:pt x="108" y="176"/>
                </a:lnTo>
                <a:lnTo>
                  <a:pt x="110" y="176"/>
                </a:lnTo>
                <a:lnTo>
                  <a:pt x="110" y="174"/>
                </a:lnTo>
                <a:lnTo>
                  <a:pt x="110" y="174"/>
                </a:lnTo>
                <a:close/>
                <a:moveTo>
                  <a:pt x="56" y="72"/>
                </a:moveTo>
                <a:lnTo>
                  <a:pt x="56" y="72"/>
                </a:lnTo>
                <a:lnTo>
                  <a:pt x="60" y="74"/>
                </a:lnTo>
                <a:lnTo>
                  <a:pt x="64" y="76"/>
                </a:lnTo>
                <a:lnTo>
                  <a:pt x="66" y="80"/>
                </a:lnTo>
                <a:lnTo>
                  <a:pt x="68" y="84"/>
                </a:lnTo>
                <a:lnTo>
                  <a:pt x="68" y="84"/>
                </a:lnTo>
                <a:lnTo>
                  <a:pt x="66" y="90"/>
                </a:lnTo>
                <a:lnTo>
                  <a:pt x="64" y="94"/>
                </a:lnTo>
                <a:lnTo>
                  <a:pt x="60" y="96"/>
                </a:lnTo>
                <a:lnTo>
                  <a:pt x="56" y="98"/>
                </a:lnTo>
                <a:lnTo>
                  <a:pt x="56" y="98"/>
                </a:lnTo>
                <a:lnTo>
                  <a:pt x="50" y="96"/>
                </a:lnTo>
                <a:lnTo>
                  <a:pt x="46" y="94"/>
                </a:lnTo>
                <a:lnTo>
                  <a:pt x="44" y="90"/>
                </a:lnTo>
                <a:lnTo>
                  <a:pt x="42" y="84"/>
                </a:lnTo>
                <a:lnTo>
                  <a:pt x="42" y="84"/>
                </a:lnTo>
                <a:lnTo>
                  <a:pt x="44" y="80"/>
                </a:lnTo>
                <a:lnTo>
                  <a:pt x="46" y="76"/>
                </a:lnTo>
                <a:lnTo>
                  <a:pt x="50" y="74"/>
                </a:lnTo>
                <a:lnTo>
                  <a:pt x="56" y="72"/>
                </a:lnTo>
                <a:lnTo>
                  <a:pt x="56" y="72"/>
                </a:lnTo>
                <a:close/>
                <a:moveTo>
                  <a:pt x="56" y="144"/>
                </a:moveTo>
                <a:lnTo>
                  <a:pt x="56" y="144"/>
                </a:lnTo>
                <a:lnTo>
                  <a:pt x="48" y="142"/>
                </a:lnTo>
                <a:lnTo>
                  <a:pt x="42" y="138"/>
                </a:lnTo>
                <a:lnTo>
                  <a:pt x="38" y="132"/>
                </a:lnTo>
                <a:lnTo>
                  <a:pt x="36" y="124"/>
                </a:lnTo>
                <a:lnTo>
                  <a:pt x="36" y="124"/>
                </a:lnTo>
                <a:lnTo>
                  <a:pt x="38" y="118"/>
                </a:lnTo>
                <a:lnTo>
                  <a:pt x="42" y="112"/>
                </a:lnTo>
                <a:lnTo>
                  <a:pt x="48" y="108"/>
                </a:lnTo>
                <a:lnTo>
                  <a:pt x="56" y="106"/>
                </a:lnTo>
                <a:lnTo>
                  <a:pt x="56" y="106"/>
                </a:lnTo>
                <a:lnTo>
                  <a:pt x="62" y="108"/>
                </a:lnTo>
                <a:lnTo>
                  <a:pt x="68" y="112"/>
                </a:lnTo>
                <a:lnTo>
                  <a:pt x="72" y="118"/>
                </a:lnTo>
                <a:lnTo>
                  <a:pt x="74" y="124"/>
                </a:lnTo>
                <a:lnTo>
                  <a:pt x="74" y="124"/>
                </a:lnTo>
                <a:lnTo>
                  <a:pt x="72" y="132"/>
                </a:lnTo>
                <a:lnTo>
                  <a:pt x="68" y="138"/>
                </a:lnTo>
                <a:lnTo>
                  <a:pt x="62" y="142"/>
                </a:lnTo>
                <a:lnTo>
                  <a:pt x="56" y="144"/>
                </a:lnTo>
                <a:lnTo>
                  <a:pt x="56" y="144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49761" tIns="24881" rIns="49761" bIns="24881" numCol="1" anchor="t" anchorCtr="0" compatLnSpc="1">
            <a:prstTxWarp prst="textNoShape">
              <a:avLst/>
            </a:prstTxWarp>
            <a:noAutofit/>
          </a:bodyPr>
          <a:lstStyle/>
          <a:p>
            <a:pPr defTabSz="913575" fontAlgn="ctr">
              <a:defRPr/>
            </a:pPr>
            <a:endParaRPr lang="en-US" altLang="zh-CN" sz="1686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0" name="Freeform 38">
            <a:extLst>
              <a:ext uri="{FF2B5EF4-FFF2-40B4-BE49-F238E27FC236}">
                <a16:creationId xmlns="" xmlns:a16="http://schemas.microsoft.com/office/drawing/2014/main" id="{8B36695D-2EAD-4D25-BE55-7131F29F5358}"/>
              </a:ext>
            </a:extLst>
          </p:cNvPr>
          <p:cNvSpPr>
            <a:spLocks/>
          </p:cNvSpPr>
          <p:nvPr/>
        </p:nvSpPr>
        <p:spPr bwMode="auto">
          <a:xfrm>
            <a:off x="9505640" y="4606566"/>
            <a:ext cx="47059" cy="49655"/>
          </a:xfrm>
          <a:custGeom>
            <a:avLst/>
            <a:gdLst/>
            <a:ahLst/>
            <a:cxnLst>
              <a:cxn ang="0">
                <a:pos x="84" y="76"/>
              </a:cxn>
              <a:cxn ang="0">
                <a:pos x="84" y="76"/>
              </a:cxn>
              <a:cxn ang="0">
                <a:pos x="84" y="60"/>
              </a:cxn>
              <a:cxn ang="0">
                <a:pos x="78" y="46"/>
              </a:cxn>
              <a:cxn ang="0">
                <a:pos x="72" y="34"/>
              </a:cxn>
              <a:cxn ang="0">
                <a:pos x="62" y="24"/>
              </a:cxn>
              <a:cxn ang="0">
                <a:pos x="62" y="24"/>
              </a:cxn>
              <a:cxn ang="0">
                <a:pos x="50" y="14"/>
              </a:cxn>
              <a:cxn ang="0">
                <a:pos x="36" y="6"/>
              </a:cxn>
              <a:cxn ang="0">
                <a:pos x="22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0" y="4"/>
              </a:cxn>
              <a:cxn ang="0">
                <a:pos x="0" y="4"/>
              </a:cxn>
              <a:cxn ang="0">
                <a:pos x="2" y="6"/>
              </a:cxn>
              <a:cxn ang="0">
                <a:pos x="4" y="8"/>
              </a:cxn>
              <a:cxn ang="0">
                <a:pos x="4" y="8"/>
              </a:cxn>
              <a:cxn ang="0">
                <a:pos x="20" y="10"/>
              </a:cxn>
              <a:cxn ang="0">
                <a:pos x="34" y="14"/>
              </a:cxn>
              <a:cxn ang="0">
                <a:pos x="46" y="20"/>
              </a:cxn>
              <a:cxn ang="0">
                <a:pos x="58" y="30"/>
              </a:cxn>
              <a:cxn ang="0">
                <a:pos x="58" y="30"/>
              </a:cxn>
              <a:cxn ang="0">
                <a:pos x="66" y="40"/>
              </a:cxn>
              <a:cxn ang="0">
                <a:pos x="72" y="50"/>
              </a:cxn>
              <a:cxn ang="0">
                <a:pos x="74" y="62"/>
              </a:cxn>
              <a:cxn ang="0">
                <a:pos x="76" y="76"/>
              </a:cxn>
              <a:cxn ang="0">
                <a:pos x="76" y="76"/>
              </a:cxn>
              <a:cxn ang="0">
                <a:pos x="78" y="78"/>
              </a:cxn>
              <a:cxn ang="0">
                <a:pos x="80" y="80"/>
              </a:cxn>
              <a:cxn ang="0">
                <a:pos x="80" y="80"/>
              </a:cxn>
              <a:cxn ang="0">
                <a:pos x="84" y="78"/>
              </a:cxn>
              <a:cxn ang="0">
                <a:pos x="84" y="76"/>
              </a:cxn>
              <a:cxn ang="0">
                <a:pos x="84" y="76"/>
              </a:cxn>
            </a:cxnLst>
            <a:rect l="0" t="0" r="r" b="b"/>
            <a:pathLst>
              <a:path w="84" h="80">
                <a:moveTo>
                  <a:pt x="84" y="76"/>
                </a:moveTo>
                <a:lnTo>
                  <a:pt x="84" y="76"/>
                </a:lnTo>
                <a:lnTo>
                  <a:pt x="84" y="60"/>
                </a:lnTo>
                <a:lnTo>
                  <a:pt x="78" y="46"/>
                </a:lnTo>
                <a:lnTo>
                  <a:pt x="72" y="34"/>
                </a:lnTo>
                <a:lnTo>
                  <a:pt x="62" y="24"/>
                </a:lnTo>
                <a:lnTo>
                  <a:pt x="62" y="24"/>
                </a:lnTo>
                <a:lnTo>
                  <a:pt x="50" y="14"/>
                </a:lnTo>
                <a:lnTo>
                  <a:pt x="36" y="6"/>
                </a:lnTo>
                <a:lnTo>
                  <a:pt x="22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4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4" y="8"/>
                </a:lnTo>
                <a:lnTo>
                  <a:pt x="20" y="10"/>
                </a:lnTo>
                <a:lnTo>
                  <a:pt x="34" y="14"/>
                </a:lnTo>
                <a:lnTo>
                  <a:pt x="46" y="20"/>
                </a:lnTo>
                <a:lnTo>
                  <a:pt x="58" y="30"/>
                </a:lnTo>
                <a:lnTo>
                  <a:pt x="58" y="30"/>
                </a:lnTo>
                <a:lnTo>
                  <a:pt x="66" y="40"/>
                </a:lnTo>
                <a:lnTo>
                  <a:pt x="72" y="50"/>
                </a:lnTo>
                <a:lnTo>
                  <a:pt x="74" y="62"/>
                </a:lnTo>
                <a:lnTo>
                  <a:pt x="76" y="76"/>
                </a:lnTo>
                <a:lnTo>
                  <a:pt x="76" y="76"/>
                </a:lnTo>
                <a:lnTo>
                  <a:pt x="78" y="78"/>
                </a:lnTo>
                <a:lnTo>
                  <a:pt x="80" y="80"/>
                </a:lnTo>
                <a:lnTo>
                  <a:pt x="80" y="80"/>
                </a:lnTo>
                <a:lnTo>
                  <a:pt x="84" y="78"/>
                </a:lnTo>
                <a:lnTo>
                  <a:pt x="84" y="76"/>
                </a:lnTo>
                <a:lnTo>
                  <a:pt x="84" y="76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49761" tIns="24881" rIns="49761" bIns="24881" numCol="1" anchor="t" anchorCtr="0" compatLnSpc="1">
            <a:prstTxWarp prst="textNoShape">
              <a:avLst/>
            </a:prstTxWarp>
            <a:noAutofit/>
          </a:bodyPr>
          <a:lstStyle/>
          <a:p>
            <a:pPr defTabSz="913575" fontAlgn="ctr">
              <a:defRPr/>
            </a:pPr>
            <a:endParaRPr lang="en-US" altLang="zh-CN" sz="1686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1" name="Freeform 35">
            <a:extLst>
              <a:ext uri="{FF2B5EF4-FFF2-40B4-BE49-F238E27FC236}">
                <a16:creationId xmlns="" xmlns:a16="http://schemas.microsoft.com/office/drawing/2014/main" id="{1D88AF55-E014-4303-A086-DED07C474A61}"/>
              </a:ext>
            </a:extLst>
          </p:cNvPr>
          <p:cNvSpPr>
            <a:spLocks/>
          </p:cNvSpPr>
          <p:nvPr/>
        </p:nvSpPr>
        <p:spPr bwMode="auto">
          <a:xfrm>
            <a:off x="9430578" y="4643808"/>
            <a:ext cx="15686" cy="60827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8" y="0"/>
              </a:cxn>
              <a:cxn ang="0">
                <a:pos x="10" y="10"/>
              </a:cxn>
              <a:cxn ang="0">
                <a:pos x="4" y="22"/>
              </a:cxn>
              <a:cxn ang="0">
                <a:pos x="0" y="34"/>
              </a:cxn>
              <a:cxn ang="0">
                <a:pos x="0" y="46"/>
              </a:cxn>
              <a:cxn ang="0">
                <a:pos x="0" y="46"/>
              </a:cxn>
              <a:cxn ang="0">
                <a:pos x="0" y="60"/>
              </a:cxn>
              <a:cxn ang="0">
                <a:pos x="4" y="72"/>
              </a:cxn>
              <a:cxn ang="0">
                <a:pos x="12" y="84"/>
              </a:cxn>
              <a:cxn ang="0">
                <a:pos x="20" y="96"/>
              </a:cxn>
              <a:cxn ang="0">
                <a:pos x="20" y="96"/>
              </a:cxn>
              <a:cxn ang="0">
                <a:pos x="24" y="98"/>
              </a:cxn>
              <a:cxn ang="0">
                <a:pos x="26" y="96"/>
              </a:cxn>
              <a:cxn ang="0">
                <a:pos x="26" y="96"/>
              </a:cxn>
              <a:cxn ang="0">
                <a:pos x="28" y="94"/>
              </a:cxn>
              <a:cxn ang="0">
                <a:pos x="26" y="90"/>
              </a:cxn>
              <a:cxn ang="0">
                <a:pos x="26" y="90"/>
              </a:cxn>
              <a:cxn ang="0">
                <a:pos x="18" y="80"/>
              </a:cxn>
              <a:cxn ang="0">
                <a:pos x="12" y="70"/>
              </a:cxn>
              <a:cxn ang="0">
                <a:pos x="8" y="58"/>
              </a:cxn>
              <a:cxn ang="0">
                <a:pos x="8" y="46"/>
              </a:cxn>
              <a:cxn ang="0">
                <a:pos x="8" y="46"/>
              </a:cxn>
              <a:cxn ang="0">
                <a:pos x="8" y="36"/>
              </a:cxn>
              <a:cxn ang="0">
                <a:pos x="12" y="24"/>
              </a:cxn>
              <a:cxn ang="0">
                <a:pos x="16" y="16"/>
              </a:cxn>
              <a:cxn ang="0">
                <a:pos x="24" y="6"/>
              </a:cxn>
              <a:cxn ang="0">
                <a:pos x="24" y="6"/>
              </a:cxn>
              <a:cxn ang="0">
                <a:pos x="24" y="4"/>
              </a:cxn>
              <a:cxn ang="0">
                <a:pos x="24" y="0"/>
              </a:cxn>
              <a:cxn ang="0">
                <a:pos x="24" y="0"/>
              </a:cxn>
              <a:cxn ang="0">
                <a:pos x="20" y="0"/>
              </a:cxn>
              <a:cxn ang="0">
                <a:pos x="18" y="0"/>
              </a:cxn>
              <a:cxn ang="0">
                <a:pos x="18" y="0"/>
              </a:cxn>
            </a:cxnLst>
            <a:rect l="0" t="0" r="r" b="b"/>
            <a:pathLst>
              <a:path w="28" h="98">
                <a:moveTo>
                  <a:pt x="18" y="0"/>
                </a:moveTo>
                <a:lnTo>
                  <a:pt x="18" y="0"/>
                </a:lnTo>
                <a:lnTo>
                  <a:pt x="10" y="10"/>
                </a:lnTo>
                <a:lnTo>
                  <a:pt x="4" y="22"/>
                </a:lnTo>
                <a:lnTo>
                  <a:pt x="0" y="34"/>
                </a:lnTo>
                <a:lnTo>
                  <a:pt x="0" y="46"/>
                </a:lnTo>
                <a:lnTo>
                  <a:pt x="0" y="46"/>
                </a:lnTo>
                <a:lnTo>
                  <a:pt x="0" y="60"/>
                </a:lnTo>
                <a:lnTo>
                  <a:pt x="4" y="72"/>
                </a:lnTo>
                <a:lnTo>
                  <a:pt x="12" y="84"/>
                </a:lnTo>
                <a:lnTo>
                  <a:pt x="20" y="96"/>
                </a:lnTo>
                <a:lnTo>
                  <a:pt x="20" y="96"/>
                </a:lnTo>
                <a:lnTo>
                  <a:pt x="24" y="98"/>
                </a:lnTo>
                <a:lnTo>
                  <a:pt x="26" y="96"/>
                </a:lnTo>
                <a:lnTo>
                  <a:pt x="26" y="96"/>
                </a:lnTo>
                <a:lnTo>
                  <a:pt x="28" y="94"/>
                </a:lnTo>
                <a:lnTo>
                  <a:pt x="26" y="90"/>
                </a:lnTo>
                <a:lnTo>
                  <a:pt x="26" y="90"/>
                </a:lnTo>
                <a:lnTo>
                  <a:pt x="18" y="80"/>
                </a:lnTo>
                <a:lnTo>
                  <a:pt x="12" y="70"/>
                </a:lnTo>
                <a:lnTo>
                  <a:pt x="8" y="58"/>
                </a:lnTo>
                <a:lnTo>
                  <a:pt x="8" y="46"/>
                </a:lnTo>
                <a:lnTo>
                  <a:pt x="8" y="46"/>
                </a:lnTo>
                <a:lnTo>
                  <a:pt x="8" y="36"/>
                </a:lnTo>
                <a:lnTo>
                  <a:pt x="12" y="24"/>
                </a:lnTo>
                <a:lnTo>
                  <a:pt x="16" y="16"/>
                </a:lnTo>
                <a:lnTo>
                  <a:pt x="24" y="6"/>
                </a:lnTo>
                <a:lnTo>
                  <a:pt x="24" y="6"/>
                </a:lnTo>
                <a:lnTo>
                  <a:pt x="24" y="4"/>
                </a:lnTo>
                <a:lnTo>
                  <a:pt x="24" y="0"/>
                </a:lnTo>
                <a:lnTo>
                  <a:pt x="24" y="0"/>
                </a:lnTo>
                <a:lnTo>
                  <a:pt x="20" y="0"/>
                </a:lnTo>
                <a:lnTo>
                  <a:pt x="18" y="0"/>
                </a:lnTo>
                <a:lnTo>
                  <a:pt x="18" y="0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49761" tIns="24881" rIns="49761" bIns="24881" numCol="1" anchor="t" anchorCtr="0" compatLnSpc="1">
            <a:prstTxWarp prst="textNoShape">
              <a:avLst/>
            </a:prstTxWarp>
            <a:noAutofit/>
          </a:bodyPr>
          <a:lstStyle/>
          <a:p>
            <a:pPr defTabSz="913575" fontAlgn="ctr">
              <a:defRPr/>
            </a:pPr>
            <a:endParaRPr lang="en-US" altLang="zh-CN" sz="1686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2" name="Freeform 34">
            <a:extLst>
              <a:ext uri="{FF2B5EF4-FFF2-40B4-BE49-F238E27FC236}">
                <a16:creationId xmlns="" xmlns:a16="http://schemas.microsoft.com/office/drawing/2014/main" id="{B53641A5-5524-482F-A412-ED2E1C297A6D}"/>
              </a:ext>
            </a:extLst>
          </p:cNvPr>
          <p:cNvSpPr>
            <a:spLocks/>
          </p:cNvSpPr>
          <p:nvPr/>
        </p:nvSpPr>
        <p:spPr bwMode="auto">
          <a:xfrm>
            <a:off x="9416012" y="4638842"/>
            <a:ext cx="17927" cy="69517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20" y="2"/>
              </a:cxn>
              <a:cxn ang="0">
                <a:pos x="12" y="12"/>
              </a:cxn>
              <a:cxn ang="0">
                <a:pos x="6" y="26"/>
              </a:cxn>
              <a:cxn ang="0">
                <a:pos x="2" y="40"/>
              </a:cxn>
              <a:cxn ang="0">
                <a:pos x="0" y="54"/>
              </a:cxn>
              <a:cxn ang="0">
                <a:pos x="0" y="54"/>
              </a:cxn>
              <a:cxn ang="0">
                <a:pos x="2" y="68"/>
              </a:cxn>
              <a:cxn ang="0">
                <a:pos x="6" y="84"/>
              </a:cxn>
              <a:cxn ang="0">
                <a:pos x="14" y="98"/>
              </a:cxn>
              <a:cxn ang="0">
                <a:pos x="24" y="112"/>
              </a:cxn>
              <a:cxn ang="0">
                <a:pos x="24" y="112"/>
              </a:cxn>
              <a:cxn ang="0">
                <a:pos x="28" y="112"/>
              </a:cxn>
              <a:cxn ang="0">
                <a:pos x="30" y="112"/>
              </a:cxn>
              <a:cxn ang="0">
                <a:pos x="30" y="112"/>
              </a:cxn>
              <a:cxn ang="0">
                <a:pos x="32" y="108"/>
              </a:cxn>
              <a:cxn ang="0">
                <a:pos x="30" y="106"/>
              </a:cxn>
              <a:cxn ang="0">
                <a:pos x="30" y="106"/>
              </a:cxn>
              <a:cxn ang="0">
                <a:pos x="20" y="94"/>
              </a:cxn>
              <a:cxn ang="0">
                <a:pos x="14" y="80"/>
              </a:cxn>
              <a:cxn ang="0">
                <a:pos x="10" y="68"/>
              </a:cxn>
              <a:cxn ang="0">
                <a:pos x="8" y="54"/>
              </a:cxn>
              <a:cxn ang="0">
                <a:pos x="8" y="54"/>
              </a:cxn>
              <a:cxn ang="0">
                <a:pos x="10" y="40"/>
              </a:cxn>
              <a:cxn ang="0">
                <a:pos x="12" y="28"/>
              </a:cxn>
              <a:cxn ang="0">
                <a:pos x="18" y="18"/>
              </a:cxn>
              <a:cxn ang="0">
                <a:pos x="26" y="8"/>
              </a:cxn>
              <a:cxn ang="0">
                <a:pos x="26" y="8"/>
              </a:cxn>
              <a:cxn ang="0">
                <a:pos x="28" y="4"/>
              </a:cxn>
              <a:cxn ang="0">
                <a:pos x="26" y="2"/>
              </a:cxn>
              <a:cxn ang="0">
                <a:pos x="26" y="2"/>
              </a:cxn>
              <a:cxn ang="0">
                <a:pos x="24" y="0"/>
              </a:cxn>
              <a:cxn ang="0">
                <a:pos x="20" y="2"/>
              </a:cxn>
              <a:cxn ang="0">
                <a:pos x="20" y="2"/>
              </a:cxn>
            </a:cxnLst>
            <a:rect l="0" t="0" r="r" b="b"/>
            <a:pathLst>
              <a:path w="32" h="112">
                <a:moveTo>
                  <a:pt x="20" y="2"/>
                </a:moveTo>
                <a:lnTo>
                  <a:pt x="20" y="2"/>
                </a:lnTo>
                <a:lnTo>
                  <a:pt x="12" y="12"/>
                </a:lnTo>
                <a:lnTo>
                  <a:pt x="6" y="26"/>
                </a:lnTo>
                <a:lnTo>
                  <a:pt x="2" y="40"/>
                </a:lnTo>
                <a:lnTo>
                  <a:pt x="0" y="54"/>
                </a:lnTo>
                <a:lnTo>
                  <a:pt x="0" y="54"/>
                </a:lnTo>
                <a:lnTo>
                  <a:pt x="2" y="68"/>
                </a:lnTo>
                <a:lnTo>
                  <a:pt x="6" y="84"/>
                </a:lnTo>
                <a:lnTo>
                  <a:pt x="14" y="98"/>
                </a:lnTo>
                <a:lnTo>
                  <a:pt x="24" y="112"/>
                </a:lnTo>
                <a:lnTo>
                  <a:pt x="24" y="112"/>
                </a:lnTo>
                <a:lnTo>
                  <a:pt x="28" y="112"/>
                </a:lnTo>
                <a:lnTo>
                  <a:pt x="30" y="112"/>
                </a:lnTo>
                <a:lnTo>
                  <a:pt x="30" y="112"/>
                </a:lnTo>
                <a:lnTo>
                  <a:pt x="32" y="108"/>
                </a:lnTo>
                <a:lnTo>
                  <a:pt x="30" y="106"/>
                </a:lnTo>
                <a:lnTo>
                  <a:pt x="30" y="106"/>
                </a:lnTo>
                <a:lnTo>
                  <a:pt x="20" y="94"/>
                </a:lnTo>
                <a:lnTo>
                  <a:pt x="14" y="80"/>
                </a:lnTo>
                <a:lnTo>
                  <a:pt x="10" y="68"/>
                </a:lnTo>
                <a:lnTo>
                  <a:pt x="8" y="54"/>
                </a:lnTo>
                <a:lnTo>
                  <a:pt x="8" y="54"/>
                </a:lnTo>
                <a:lnTo>
                  <a:pt x="10" y="40"/>
                </a:lnTo>
                <a:lnTo>
                  <a:pt x="12" y="28"/>
                </a:lnTo>
                <a:lnTo>
                  <a:pt x="18" y="18"/>
                </a:lnTo>
                <a:lnTo>
                  <a:pt x="26" y="8"/>
                </a:lnTo>
                <a:lnTo>
                  <a:pt x="26" y="8"/>
                </a:lnTo>
                <a:lnTo>
                  <a:pt x="28" y="4"/>
                </a:lnTo>
                <a:lnTo>
                  <a:pt x="26" y="2"/>
                </a:lnTo>
                <a:lnTo>
                  <a:pt x="26" y="2"/>
                </a:lnTo>
                <a:lnTo>
                  <a:pt x="24" y="0"/>
                </a:lnTo>
                <a:lnTo>
                  <a:pt x="20" y="2"/>
                </a:lnTo>
                <a:lnTo>
                  <a:pt x="20" y="2"/>
                </a:lnTo>
                <a:close/>
              </a:path>
            </a:pathLst>
          </a:custGeom>
          <a:solidFill>
            <a:schemeClr val="bg1">
              <a:alpha val="43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49761" tIns="24881" rIns="49761" bIns="24881" numCol="1" anchor="t" anchorCtr="0" compatLnSpc="1">
            <a:prstTxWarp prst="textNoShape">
              <a:avLst/>
            </a:prstTxWarp>
            <a:noAutofit/>
          </a:bodyPr>
          <a:lstStyle/>
          <a:p>
            <a:pPr defTabSz="913575" fontAlgn="ctr">
              <a:defRPr/>
            </a:pPr>
            <a:endParaRPr lang="en-US" altLang="zh-CN" sz="1686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060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智慧城市IoT_1-17-en-图形-小 00_00_15-00_00_20">
            <a:hlinkClick r:id="" action="ppaction://media"/>
            <a:extLst>
              <a:ext uri="{FF2B5EF4-FFF2-40B4-BE49-F238E27FC236}">
                <a16:creationId xmlns="" xmlns:a16="http://schemas.microsoft.com/office/drawing/2014/main" id="{8AB1B3DE-6F5A-4514-9433-10C031E5A20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 cstate="print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72" name="标题 1">
            <a:extLst>
              <a:ext uri="{FF2B5EF4-FFF2-40B4-BE49-F238E27FC236}">
                <a16:creationId xmlns="" xmlns:a16="http://schemas.microsoft.com/office/drawing/2014/main" id="{6C2C7C0A-D731-40F8-AEB2-791429006539}"/>
              </a:ext>
            </a:extLst>
          </p:cNvPr>
          <p:cNvSpPr txBox="1">
            <a:spLocks/>
          </p:cNvSpPr>
          <p:nvPr/>
        </p:nvSpPr>
        <p:spPr>
          <a:xfrm>
            <a:off x="552827" y="224499"/>
            <a:ext cx="10944296" cy="861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</a:rPr>
              <a:t>Nervous </a:t>
            </a:r>
            <a:r>
              <a:rPr lang="en-US" altLang="zh-CN" sz="2800" dirty="0" smtClean="0">
                <a:solidFill>
                  <a:schemeClr val="bg1"/>
                </a:solidFill>
              </a:rPr>
              <a:t>System, Building </a:t>
            </a:r>
            <a:r>
              <a:rPr lang="en-US" altLang="zh-CN" sz="2800" dirty="0">
                <a:solidFill>
                  <a:schemeClr val="bg1"/>
                </a:solidFill>
              </a:rPr>
              <a:t>a Smart City with All Things </a:t>
            </a:r>
            <a:r>
              <a:rPr lang="en-US" altLang="zh-CN" sz="2800" dirty="0" smtClean="0">
                <a:solidFill>
                  <a:schemeClr val="bg1"/>
                </a:solidFill>
              </a:rPr>
              <a:t>Sensing, Connected, and </a:t>
            </a:r>
            <a:r>
              <a:rPr lang="en-US" altLang="zh-CN" sz="2800" dirty="0">
                <a:solidFill>
                  <a:schemeClr val="bg1"/>
                </a:solidFill>
              </a:rPr>
              <a:t>Intelligent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055261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E:\01 日常工作\04 展厅相关设计\2016年\CEBIT 2016\PPT优化项目\阎总PPT\20副本.jpg">
            <a:extLst>
              <a:ext uri="{FF2B5EF4-FFF2-40B4-BE49-F238E27FC236}">
                <a16:creationId xmlns="" xmlns:a16="http://schemas.microsoft.com/office/drawing/2014/main" id="{341C3DB7-5B77-4CEB-AE37-883BEF829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-3075"/>
            <a:ext cx="12192000" cy="686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标题 1">
            <a:extLst>
              <a:ext uri="{FF2B5EF4-FFF2-40B4-BE49-F238E27FC236}">
                <a16:creationId xmlns="" xmlns:a16="http://schemas.microsoft.com/office/drawing/2014/main" id="{6E794465-B22F-46A4-8FF2-E6BBFEF0F5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6811" y="2251221"/>
            <a:ext cx="7424149" cy="773902"/>
          </a:xfrm>
          <a:prstGeom prst="rect">
            <a:avLst/>
          </a:prstGeom>
        </p:spPr>
        <p:txBody>
          <a:bodyPr wrap="square" lIns="47992" tIns="47992" rIns="47992" bIns="47992">
            <a:no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225" fontAlgn="ctr">
              <a:spcBef>
                <a:spcPct val="0"/>
              </a:spcBef>
            </a:pP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Action Speaks Louder Than </a:t>
            </a: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Words: </a:t>
            </a:r>
            <a:endParaRPr lang="en-US" sz="320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defTabSz="914225" fontAlgn="ctr">
              <a:spcBef>
                <a:spcPct val="0"/>
              </a:spcBef>
            </a:pP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An </a:t>
            </a: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Inspiring Smart City Story in </a:t>
            </a: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Longgang, Shenzhen </a:t>
            </a:r>
            <a:r>
              <a:rPr lang="en-US" sz="3200" dirty="0" smtClean="0">
                <a:solidFill>
                  <a:prstClr val="white"/>
                </a:solidFill>
                <a:latin typeface="Arial" panose="020B0604020202020204" pitchFamily="34" charset="0"/>
              </a:rPr>
              <a:t>with Huawei</a:t>
            </a:r>
            <a:endParaRPr lang="en-US" altLang="zh-CN" sz="32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888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>
            <a:extLst>
              <a:ext uri="{FF2B5EF4-FFF2-40B4-BE49-F238E27FC236}">
                <a16:creationId xmlns="" xmlns:a16="http://schemas.microsoft.com/office/drawing/2014/main" id="{7A893A45-53ED-45AA-8313-7FA874E1831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5" r="4665"/>
          <a:stretch/>
        </p:blipFill>
        <p:spPr>
          <a:xfrm>
            <a:off x="6179" y="99"/>
            <a:ext cx="12185822" cy="6857802"/>
          </a:xfrm>
          <a:prstGeom prst="rect">
            <a:avLst/>
          </a:prstGeom>
        </p:spPr>
      </p:pic>
      <p:sp>
        <p:nvSpPr>
          <p:cNvPr id="31" name="矩形 30">
            <a:extLst>
              <a:ext uri="{FF2B5EF4-FFF2-40B4-BE49-F238E27FC236}">
                <a16:creationId xmlns="" xmlns:a16="http://schemas.microsoft.com/office/drawing/2014/main" id="{FCF85D31-DEDE-4CDC-8EC3-A2DB425C5BE7}"/>
              </a:ext>
            </a:extLst>
          </p:cNvPr>
          <p:cNvSpPr/>
          <p:nvPr/>
        </p:nvSpPr>
        <p:spPr>
          <a:xfrm>
            <a:off x="-46880" y="99"/>
            <a:ext cx="12285759" cy="6949254"/>
          </a:xfrm>
          <a:prstGeom prst="rect">
            <a:avLst/>
          </a:prstGeom>
          <a:gradFill>
            <a:gsLst>
              <a:gs pos="1000">
                <a:schemeClr val="tx2">
                  <a:lumMod val="50000"/>
                  <a:alpha val="5300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="" xmlns:a16="http://schemas.microsoft.com/office/drawing/2014/main" id="{5A009D10-6ED1-4C9E-863F-8E93E186E20D}"/>
              </a:ext>
            </a:extLst>
          </p:cNvPr>
          <p:cNvSpPr/>
          <p:nvPr/>
        </p:nvSpPr>
        <p:spPr>
          <a:xfrm>
            <a:off x="2567914" y="-118680"/>
            <a:ext cx="7068033" cy="7068033"/>
          </a:xfrm>
          <a:prstGeom prst="ellipse">
            <a:avLst/>
          </a:prstGeom>
          <a:solidFill>
            <a:schemeClr val="accent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="" xmlns:a16="http://schemas.microsoft.com/office/drawing/2014/main" id="{7FC2FE3F-FC92-45F5-91A7-73936EE92130}"/>
              </a:ext>
            </a:extLst>
          </p:cNvPr>
          <p:cNvSpPr/>
          <p:nvPr/>
        </p:nvSpPr>
        <p:spPr>
          <a:xfrm>
            <a:off x="2490139" y="-176861"/>
            <a:ext cx="7211722" cy="7211722"/>
          </a:xfrm>
          <a:prstGeom prst="ellipse">
            <a:avLst/>
          </a:prstGeom>
          <a:noFill/>
          <a:ln w="63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="" xmlns:a16="http://schemas.microsoft.com/office/drawing/2014/main" id="{730F37B1-1D02-499A-BA96-9443634F8264}"/>
              </a:ext>
            </a:extLst>
          </p:cNvPr>
          <p:cNvSpPr/>
          <p:nvPr/>
        </p:nvSpPr>
        <p:spPr>
          <a:xfrm>
            <a:off x="9286863" y="1911254"/>
            <a:ext cx="262505" cy="262505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="" xmlns:a16="http://schemas.microsoft.com/office/drawing/2014/main" id="{C8A4B5FD-D17B-4836-982F-E1D792E199AD}"/>
              </a:ext>
            </a:extLst>
          </p:cNvPr>
          <p:cNvSpPr/>
          <p:nvPr/>
        </p:nvSpPr>
        <p:spPr>
          <a:xfrm>
            <a:off x="9531084" y="2471107"/>
            <a:ext cx="104863" cy="104863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="" xmlns:a16="http://schemas.microsoft.com/office/drawing/2014/main" id="{3B328A1E-BEDF-4F52-9E7F-69CC3E8A1ADE}"/>
              </a:ext>
            </a:extLst>
          </p:cNvPr>
          <p:cNvSpPr/>
          <p:nvPr/>
        </p:nvSpPr>
        <p:spPr>
          <a:xfrm>
            <a:off x="4429510" y="2320474"/>
            <a:ext cx="3427670" cy="83086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1219078" fontAlgn="ctr"/>
            <a:r>
              <a:rPr lang="en-US" sz="4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ensing</a:t>
            </a:r>
            <a:endParaRPr lang="en-US" altLang="zh-CN" sz="48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cxnSp>
        <p:nvCxnSpPr>
          <p:cNvPr id="47" name="直接连接符 46">
            <a:extLst>
              <a:ext uri="{FF2B5EF4-FFF2-40B4-BE49-F238E27FC236}">
                <a16:creationId xmlns="" xmlns:a16="http://schemas.microsoft.com/office/drawing/2014/main" id="{69E064BA-550E-43A1-8D9C-ECABB2826DF9}"/>
              </a:ext>
            </a:extLst>
          </p:cNvPr>
          <p:cNvCxnSpPr/>
          <p:nvPr/>
        </p:nvCxnSpPr>
        <p:spPr>
          <a:xfrm>
            <a:off x="3958313" y="4851186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="" xmlns:a16="http://schemas.microsoft.com/office/drawing/2014/main" id="{96C1E7E6-7295-4B7F-B2B0-E1B55F577B77}"/>
              </a:ext>
            </a:extLst>
          </p:cNvPr>
          <p:cNvCxnSpPr/>
          <p:nvPr/>
        </p:nvCxnSpPr>
        <p:spPr>
          <a:xfrm>
            <a:off x="3958313" y="2165473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矩形 49">
            <a:extLst>
              <a:ext uri="{FF2B5EF4-FFF2-40B4-BE49-F238E27FC236}">
                <a16:creationId xmlns="" xmlns:a16="http://schemas.microsoft.com/office/drawing/2014/main" id="{F8C043AA-AE8F-4B86-9BDB-B2EC9BACDFAE}"/>
              </a:ext>
            </a:extLst>
          </p:cNvPr>
          <p:cNvSpPr/>
          <p:nvPr/>
        </p:nvSpPr>
        <p:spPr>
          <a:xfrm>
            <a:off x="4884026" y="3981363"/>
            <a:ext cx="2518638" cy="64620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1219078" fontAlgn="ctr"/>
            <a:r>
              <a:rPr lang="en-US" sz="3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telligence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="" xmlns:a16="http://schemas.microsoft.com/office/drawing/2014/main" id="{F2015298-F432-4F7A-8ABD-526968B1208F}"/>
              </a:ext>
            </a:extLst>
          </p:cNvPr>
          <p:cNvSpPr/>
          <p:nvPr/>
        </p:nvSpPr>
        <p:spPr>
          <a:xfrm>
            <a:off x="4884026" y="3248014"/>
            <a:ext cx="2518638" cy="64620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1219078" fontAlgn="ctr"/>
            <a:r>
              <a:rPr lang="en-US" sz="3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nection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="" xmlns:a16="http://schemas.microsoft.com/office/drawing/2014/main" id="{1A1E78ED-AC35-46FC-901E-F5D32CEB1408}"/>
              </a:ext>
            </a:extLst>
          </p:cNvPr>
          <p:cNvSpPr/>
          <p:nvPr/>
        </p:nvSpPr>
        <p:spPr>
          <a:xfrm>
            <a:off x="8364440" y="745100"/>
            <a:ext cx="976332" cy="976332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="" xmlns:a16="http://schemas.microsoft.com/office/drawing/2014/main" id="{EDE27A4A-F4BA-47D1-BA72-EEA7ADE1B29E}"/>
              </a:ext>
            </a:extLst>
          </p:cNvPr>
          <p:cNvGrpSpPr/>
          <p:nvPr/>
        </p:nvGrpSpPr>
        <p:grpSpPr>
          <a:xfrm rot="19922483">
            <a:off x="8576253" y="970406"/>
            <a:ext cx="681025" cy="525717"/>
            <a:chOff x="5544298" y="4338389"/>
            <a:chExt cx="187951" cy="145089"/>
          </a:xfrm>
          <a:solidFill>
            <a:srgbClr val="FFC000"/>
          </a:solidFill>
        </p:grpSpPr>
        <p:sp>
          <p:nvSpPr>
            <p:cNvPr id="54" name="Freeform 15">
              <a:extLst>
                <a:ext uri="{FF2B5EF4-FFF2-40B4-BE49-F238E27FC236}">
                  <a16:creationId xmlns="" xmlns:a16="http://schemas.microsoft.com/office/drawing/2014/main" id="{17600E23-B7BF-4935-8B1B-E010B32C3C24}"/>
                </a:ext>
              </a:extLst>
            </p:cNvPr>
            <p:cNvSpPr>
              <a:spLocks/>
            </p:cNvSpPr>
            <p:nvPr/>
          </p:nvSpPr>
          <p:spPr bwMode="auto">
            <a:xfrm rot="1747970">
              <a:off x="5576508" y="4439387"/>
              <a:ext cx="43328" cy="44091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="" xmlns:a16="http://schemas.microsoft.com/office/drawing/2014/main" id="{664E34DF-74AE-4010-A830-A1058638529B}"/>
                </a:ext>
              </a:extLst>
            </p:cNvPr>
            <p:cNvSpPr>
              <a:spLocks noEditPoints="1"/>
            </p:cNvSpPr>
            <p:nvPr/>
          </p:nvSpPr>
          <p:spPr bwMode="auto">
            <a:xfrm rot="1747970">
              <a:off x="5544298" y="4338389"/>
              <a:ext cx="187951" cy="102183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255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圆角矩形 13">
            <a:extLst>
              <a:ext uri="{FF2B5EF4-FFF2-40B4-BE49-F238E27FC236}">
                <a16:creationId xmlns="" xmlns:a16="http://schemas.microsoft.com/office/drawing/2014/main" id="{AF5D02BA-3418-48AF-973D-659C4C69363E}"/>
              </a:ext>
            </a:extLst>
          </p:cNvPr>
          <p:cNvSpPr/>
          <p:nvPr/>
        </p:nvSpPr>
        <p:spPr>
          <a:xfrm>
            <a:off x="552306" y="1250027"/>
            <a:ext cx="5034338" cy="1390984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86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11" name="组合 110">
            <a:extLst>
              <a:ext uri="{FF2B5EF4-FFF2-40B4-BE49-F238E27FC236}">
                <a16:creationId xmlns="" xmlns:a16="http://schemas.microsoft.com/office/drawing/2014/main" id="{CDF89E25-84F4-4D84-9A96-08CB1E599DD0}"/>
              </a:ext>
            </a:extLst>
          </p:cNvPr>
          <p:cNvGrpSpPr/>
          <p:nvPr/>
        </p:nvGrpSpPr>
        <p:grpSpPr>
          <a:xfrm>
            <a:off x="939786" y="1375784"/>
            <a:ext cx="4215330" cy="1130249"/>
            <a:chOff x="762617" y="1334413"/>
            <a:chExt cx="4216430" cy="1130543"/>
          </a:xfrm>
        </p:grpSpPr>
        <p:sp>
          <p:nvSpPr>
            <p:cNvPr id="21" name="标题 1">
              <a:extLst>
                <a:ext uri="{FF2B5EF4-FFF2-40B4-BE49-F238E27FC236}">
                  <a16:creationId xmlns="" xmlns:a16="http://schemas.microsoft.com/office/drawing/2014/main" id="{75B75DC5-CE89-4943-AB4D-B7373F5A4377}"/>
                </a:ext>
              </a:extLst>
            </p:cNvPr>
            <p:cNvSpPr txBox="1">
              <a:spLocks/>
            </p:cNvSpPr>
            <p:nvPr/>
          </p:nvSpPr>
          <p:spPr>
            <a:xfrm>
              <a:off x="1260508" y="1334413"/>
              <a:ext cx="3718539" cy="403989"/>
            </a:xfrm>
            <a:prstGeom prst="rect">
              <a:avLst/>
            </a:prstGeom>
          </p:spPr>
          <p:txBody>
            <a:bodyPr vert="horz" wrap="square" lIns="121912" tIns="60956" rIns="121912" bIns="60956" rtlCol="0" anchor="ctr">
              <a:noAutofit/>
            </a:bodyPr>
            <a:lstStyle>
              <a:lvl1pPr marL="0" marR="0" indent="0" algn="l" defTabSz="121952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691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1088449" fontAlgn="ctr">
                <a:spcBef>
                  <a:spcPts val="0"/>
                </a:spcBef>
                <a:defRPr/>
              </a:pPr>
              <a:r>
                <a:rPr lang="en-US" sz="1100" b="0" dirty="0" smtClean="0">
                  <a:latin typeface="Arial" panose="020B0604020202020204" pitchFamily="34" charset="0"/>
                </a:rPr>
                <a:t>100, 000 </a:t>
              </a:r>
              <a:r>
                <a:rPr lang="en-US" sz="1100" b="0" dirty="0" smtClean="0">
                  <a:latin typeface="Arial" panose="020B0604020202020204" pitchFamily="34" charset="0"/>
                </a:rPr>
                <a:t>connections/cell </a:t>
              </a:r>
              <a:r>
                <a:rPr lang="en-US" sz="1100" b="0" kern="0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100 </a:t>
              </a:r>
              <a:r>
                <a:rPr lang="en-US" sz="1100" b="0" kern="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s that of 4G)</a:t>
              </a:r>
              <a:endParaRPr lang="en-US" altLang="zh-CN" sz="1100" b="0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标题 1">
              <a:extLst>
                <a:ext uri="{FF2B5EF4-FFF2-40B4-BE49-F238E27FC236}">
                  <a16:creationId xmlns="" xmlns:a16="http://schemas.microsoft.com/office/drawing/2014/main" id="{1E45F254-D30E-43C3-86BC-B043ABF6ECC8}"/>
                </a:ext>
              </a:extLst>
            </p:cNvPr>
            <p:cNvSpPr txBox="1">
              <a:spLocks/>
            </p:cNvSpPr>
            <p:nvPr/>
          </p:nvSpPr>
          <p:spPr>
            <a:xfrm>
              <a:off x="1260508" y="1665066"/>
              <a:ext cx="3111047" cy="428909"/>
            </a:xfrm>
            <a:prstGeom prst="rect">
              <a:avLst/>
            </a:prstGeom>
          </p:spPr>
          <p:txBody>
            <a:bodyPr vert="horz" wrap="square" lIns="121912" tIns="60956" rIns="121912" bIns="60956" rtlCol="0" anchor="ctr">
              <a:noAutofit/>
            </a:bodyPr>
            <a:lstStyle>
              <a:lvl1pPr marL="0" marR="0" indent="0" algn="l" defTabSz="121952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691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1088449" fontAlgn="ctr">
                <a:spcBef>
                  <a:spcPts val="0"/>
                </a:spcBef>
                <a:defRPr/>
              </a:pPr>
              <a:r>
                <a:rPr lang="en-US" sz="1100" b="0" dirty="0" smtClean="0">
                  <a:latin typeface="Arial" panose="020B0604020202020204" pitchFamily="34" charset="0"/>
                </a:rPr>
                <a:t>Battery life of 10 years </a:t>
              </a:r>
              <a:r>
                <a:rPr lang="en-US" sz="1100" b="0" kern="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5 times </a:t>
              </a:r>
              <a:r>
                <a:rPr lang="en-US" sz="1100" b="0" kern="0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at of 4G</a:t>
              </a:r>
              <a:r>
                <a:rPr lang="en-US" sz="1100" b="0" kern="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altLang="zh-CN" sz="1100" b="0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标题 1">
              <a:extLst>
                <a:ext uri="{FF2B5EF4-FFF2-40B4-BE49-F238E27FC236}">
                  <a16:creationId xmlns="" xmlns:a16="http://schemas.microsoft.com/office/drawing/2014/main" id="{D8515C03-CA7F-4DA5-ACA1-EB3409096F97}"/>
                </a:ext>
              </a:extLst>
            </p:cNvPr>
            <p:cNvSpPr txBox="1">
              <a:spLocks/>
            </p:cNvSpPr>
            <p:nvPr/>
          </p:nvSpPr>
          <p:spPr>
            <a:xfrm>
              <a:off x="1260508" y="2026778"/>
              <a:ext cx="3550549" cy="438178"/>
            </a:xfrm>
            <a:prstGeom prst="rect">
              <a:avLst/>
            </a:prstGeom>
          </p:spPr>
          <p:txBody>
            <a:bodyPr vert="horz" wrap="square" lIns="121912" tIns="60956" rIns="121912" bIns="60956" rtlCol="0" anchor="ctr">
              <a:noAutofit/>
            </a:bodyPr>
            <a:lstStyle>
              <a:lvl1pPr marL="0" marR="0" indent="0" algn="l" defTabSz="121952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691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1088449" fontAlgn="ctr">
                <a:spcBef>
                  <a:spcPts val="0"/>
                </a:spcBef>
                <a:defRPr/>
              </a:pPr>
              <a:r>
                <a:rPr lang="en-US" sz="1100" b="0" dirty="0" smtClean="0">
                  <a:latin typeface="Arial" panose="020B0604020202020204" pitchFamily="34" charset="0"/>
                </a:rPr>
                <a:t>Unmatched signal penetration </a:t>
              </a:r>
              <a:r>
                <a:rPr lang="en-US" sz="1100" b="0" kern="0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workable in </a:t>
              </a:r>
              <a:r>
                <a:rPr lang="en-US" sz="1100" b="0" kern="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er or </a:t>
              </a:r>
              <a:r>
                <a:rPr lang="en-US" sz="1100" b="0" kern="0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ground)</a:t>
              </a:r>
              <a:endParaRPr lang="en-US" altLang="zh-CN" sz="1100" b="0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" name="组合 23">
              <a:extLst>
                <a:ext uri="{FF2B5EF4-FFF2-40B4-BE49-F238E27FC236}">
                  <a16:creationId xmlns="" xmlns:a16="http://schemas.microsoft.com/office/drawing/2014/main" id="{FC5ADD83-59B3-4954-9604-9E849CFD8635}"/>
                </a:ext>
              </a:extLst>
            </p:cNvPr>
            <p:cNvGrpSpPr/>
            <p:nvPr/>
          </p:nvGrpSpPr>
          <p:grpSpPr>
            <a:xfrm>
              <a:off x="762617" y="1368801"/>
              <a:ext cx="309908" cy="309908"/>
              <a:chOff x="1683223" y="1421851"/>
              <a:chExt cx="309908" cy="309908"/>
            </a:xfrm>
          </p:grpSpPr>
          <p:pic>
            <p:nvPicPr>
              <p:cNvPr id="25" name="图片 24">
                <a:extLst>
                  <a:ext uri="{FF2B5EF4-FFF2-40B4-BE49-F238E27FC236}">
                    <a16:creationId xmlns="" xmlns:a16="http://schemas.microsoft.com/office/drawing/2014/main" id="{2FB73B0B-F314-4459-A74E-C10CEC8DC7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755264" y="1478340"/>
                <a:ext cx="154239" cy="209955"/>
              </a:xfrm>
              <a:prstGeom prst="rect">
                <a:avLst/>
              </a:prstGeom>
            </p:spPr>
          </p:pic>
          <p:sp>
            <p:nvSpPr>
              <p:cNvPr id="26" name="椭圆 25">
                <a:extLst>
                  <a:ext uri="{FF2B5EF4-FFF2-40B4-BE49-F238E27FC236}">
                    <a16:creationId xmlns="" xmlns:a16="http://schemas.microsoft.com/office/drawing/2014/main" id="{3081734E-61CA-4FC6-BC37-235183DB597E}"/>
                  </a:ext>
                </a:extLst>
              </p:cNvPr>
              <p:cNvSpPr/>
              <p:nvPr/>
            </p:nvSpPr>
            <p:spPr>
              <a:xfrm>
                <a:off x="1683223" y="1421851"/>
                <a:ext cx="309908" cy="309908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7" name="组合 26">
              <a:extLst>
                <a:ext uri="{FF2B5EF4-FFF2-40B4-BE49-F238E27FC236}">
                  <a16:creationId xmlns="" xmlns:a16="http://schemas.microsoft.com/office/drawing/2014/main" id="{F3C2AB75-3FE2-43FF-B9A0-59B613240573}"/>
                </a:ext>
              </a:extLst>
            </p:cNvPr>
            <p:cNvGrpSpPr/>
            <p:nvPr/>
          </p:nvGrpSpPr>
          <p:grpSpPr>
            <a:xfrm>
              <a:off x="762617" y="1724701"/>
              <a:ext cx="309908" cy="309908"/>
              <a:chOff x="1683223" y="1761629"/>
              <a:chExt cx="309908" cy="309908"/>
            </a:xfrm>
          </p:grpSpPr>
          <p:pic>
            <p:nvPicPr>
              <p:cNvPr id="28" name="图片 27">
                <a:extLst>
                  <a:ext uri="{FF2B5EF4-FFF2-40B4-BE49-F238E27FC236}">
                    <a16:creationId xmlns="" xmlns:a16="http://schemas.microsoft.com/office/drawing/2014/main" id="{62173E99-D2E1-48C7-843B-E8349CA7A2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 rot="16200000">
                <a:off x="1752808" y="1872449"/>
                <a:ext cx="163808" cy="92234"/>
              </a:xfrm>
              <a:prstGeom prst="rect">
                <a:avLst/>
              </a:prstGeom>
            </p:spPr>
          </p:pic>
          <p:sp>
            <p:nvSpPr>
              <p:cNvPr id="29" name="椭圆 28">
                <a:extLst>
                  <a:ext uri="{FF2B5EF4-FFF2-40B4-BE49-F238E27FC236}">
                    <a16:creationId xmlns="" xmlns:a16="http://schemas.microsoft.com/office/drawing/2014/main" id="{0EB30B6D-C8FB-4EA2-9FA7-80E5E409217B}"/>
                  </a:ext>
                </a:extLst>
              </p:cNvPr>
              <p:cNvSpPr/>
              <p:nvPr/>
            </p:nvSpPr>
            <p:spPr>
              <a:xfrm>
                <a:off x="1683223" y="1761629"/>
                <a:ext cx="309908" cy="309908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="" xmlns:a16="http://schemas.microsoft.com/office/drawing/2014/main" id="{BA3D6D94-3E1E-46A7-9D73-E58B559E87EC}"/>
                </a:ext>
              </a:extLst>
            </p:cNvPr>
            <p:cNvGrpSpPr/>
            <p:nvPr/>
          </p:nvGrpSpPr>
          <p:grpSpPr>
            <a:xfrm>
              <a:off x="762617" y="2080600"/>
              <a:ext cx="309908" cy="309908"/>
              <a:chOff x="1683223" y="2088897"/>
              <a:chExt cx="309908" cy="309908"/>
            </a:xfrm>
          </p:grpSpPr>
          <p:pic>
            <p:nvPicPr>
              <p:cNvPr id="31" name="图片 30">
                <a:extLst>
                  <a:ext uri="{FF2B5EF4-FFF2-40B4-BE49-F238E27FC236}">
                    <a16:creationId xmlns="" xmlns:a16="http://schemas.microsoft.com/office/drawing/2014/main" id="{A31002D8-8825-40B6-92FA-C41B5B5FC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755264" y="2157724"/>
                <a:ext cx="169228" cy="193514"/>
              </a:xfrm>
              <a:prstGeom prst="rect">
                <a:avLst/>
              </a:prstGeom>
            </p:spPr>
          </p:pic>
          <p:sp>
            <p:nvSpPr>
              <p:cNvPr id="32" name="椭圆 31">
                <a:extLst>
                  <a:ext uri="{FF2B5EF4-FFF2-40B4-BE49-F238E27FC236}">
                    <a16:creationId xmlns="" xmlns:a16="http://schemas.microsoft.com/office/drawing/2014/main" id="{A2FB8325-1BDB-449A-BC55-9BFD8224A38C}"/>
                  </a:ext>
                </a:extLst>
              </p:cNvPr>
              <p:cNvSpPr/>
              <p:nvPr/>
            </p:nvSpPr>
            <p:spPr>
              <a:xfrm>
                <a:off x="1683223" y="2088897"/>
                <a:ext cx="309908" cy="309908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cxnSp>
          <p:nvCxnSpPr>
            <p:cNvPr id="33" name="直接连接符 32">
              <a:extLst>
                <a:ext uri="{FF2B5EF4-FFF2-40B4-BE49-F238E27FC236}">
                  <a16:creationId xmlns="" xmlns:a16="http://schemas.microsoft.com/office/drawing/2014/main" id="{BEA0DA7A-F099-469D-AEE1-9592EF7E8992}"/>
                </a:ext>
              </a:extLst>
            </p:cNvPr>
            <p:cNvCxnSpPr/>
            <p:nvPr/>
          </p:nvCxnSpPr>
          <p:spPr>
            <a:xfrm>
              <a:off x="1214195" y="1436402"/>
              <a:ext cx="0" cy="209515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="" xmlns:a16="http://schemas.microsoft.com/office/drawing/2014/main" id="{CF95289C-3ED8-47BE-9CCF-A1BED837A085}"/>
                </a:ext>
              </a:extLst>
            </p:cNvPr>
            <p:cNvCxnSpPr/>
            <p:nvPr/>
          </p:nvCxnSpPr>
          <p:spPr>
            <a:xfrm>
              <a:off x="1214195" y="1792576"/>
              <a:ext cx="0" cy="209515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>
              <a:extLst>
                <a:ext uri="{FF2B5EF4-FFF2-40B4-BE49-F238E27FC236}">
                  <a16:creationId xmlns="" xmlns:a16="http://schemas.microsoft.com/office/drawing/2014/main" id="{77055C34-2A29-423F-A24D-6944BCCACA51}"/>
                </a:ext>
              </a:extLst>
            </p:cNvPr>
            <p:cNvCxnSpPr/>
            <p:nvPr/>
          </p:nvCxnSpPr>
          <p:spPr>
            <a:xfrm>
              <a:off x="1214195" y="2133426"/>
              <a:ext cx="0" cy="209515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2">
            <a:extLst>
              <a:ext uri="{FF2B5EF4-FFF2-40B4-BE49-F238E27FC236}">
                <a16:creationId xmlns="" xmlns:a16="http://schemas.microsoft.com/office/drawing/2014/main" id="{293C4C95-95A8-4AC5-A2BD-3E7EAC5C5A10}"/>
              </a:ext>
            </a:extLst>
          </p:cNvPr>
          <p:cNvSpPr txBox="1"/>
          <p:nvPr/>
        </p:nvSpPr>
        <p:spPr>
          <a:xfrm>
            <a:off x="541281" y="365692"/>
            <a:ext cx="10827144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NB-IoT/eLTE-IoT, the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PWA IoT Technologies Best Suited for Smart Cities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F57B32D0-C80C-4FC7-B1FD-032DC19AFC7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" t="23095" r="-1"/>
          <a:stretch/>
        </p:blipFill>
        <p:spPr>
          <a:xfrm>
            <a:off x="380902" y="2641011"/>
            <a:ext cx="11475083" cy="4631878"/>
          </a:xfrm>
          <a:prstGeom prst="rect">
            <a:avLst/>
          </a:prstGeom>
        </p:spPr>
      </p:pic>
      <p:pic>
        <p:nvPicPr>
          <p:cNvPr id="41" name="Picture 528" descr="图片131">
            <a:extLst>
              <a:ext uri="{FF2B5EF4-FFF2-40B4-BE49-F238E27FC236}">
                <a16:creationId xmlns="" xmlns:a16="http://schemas.microsoft.com/office/drawing/2014/main" id="{19B15F88-D9EE-4ABB-8FB1-3FCCE0C33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5063967" y="4408327"/>
            <a:ext cx="350580" cy="44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4" descr="http://img2.imgtn.bdimg.com/it/u=316548382,2701233940&amp;fm=23&amp;gp=0.jpg">
            <a:extLst>
              <a:ext uri="{FF2B5EF4-FFF2-40B4-BE49-F238E27FC236}">
                <a16:creationId xmlns="" xmlns:a16="http://schemas.microsoft.com/office/drawing/2014/main" id="{C67702D0-62A9-458C-BB52-6DE866A2F5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7055"/>
          <a:stretch/>
        </p:blipFill>
        <p:spPr bwMode="auto">
          <a:xfrm rot="21106472">
            <a:off x="6505512" y="5027262"/>
            <a:ext cx="405327" cy="282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Picture 6" descr="http://building.library.ucsb.edu/wp-content/uploads/2014/08/firealarm.png">
            <a:extLst>
              <a:ext uri="{FF2B5EF4-FFF2-40B4-BE49-F238E27FC236}">
                <a16:creationId xmlns="" xmlns:a16="http://schemas.microsoft.com/office/drawing/2014/main" id="{ACE35D7A-2ECB-480C-8C0A-7779FD346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14548" y="5691713"/>
            <a:ext cx="172097" cy="161927"/>
          </a:xfrm>
          <a:prstGeom prst="rect">
            <a:avLst/>
          </a:prstGeom>
          <a:noFill/>
        </p:spPr>
      </p:pic>
      <p:pic>
        <p:nvPicPr>
          <p:cNvPr id="44" name="Picture 10" descr="http://image.cn.made-in-china.com/2f0j01AMdTDYEfhUom/%E8%87%AA%E5%8A%A8%E5%94%AE%E8%B4%A7%E6%9C%BA(VM-750).jpg">
            <a:extLst>
              <a:ext uri="{FF2B5EF4-FFF2-40B4-BE49-F238E27FC236}">
                <a16:creationId xmlns="" xmlns:a16="http://schemas.microsoft.com/office/drawing/2014/main" id="{3D0393EB-02C1-4C69-AD34-E69643E34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29779" y="4228702"/>
            <a:ext cx="326175" cy="381869"/>
          </a:xfrm>
          <a:prstGeom prst="rect">
            <a:avLst/>
          </a:prstGeom>
          <a:noFill/>
        </p:spPr>
      </p:pic>
      <p:pic>
        <p:nvPicPr>
          <p:cNvPr id="45" name="Picture 2" descr="http://devices.verizonwireless.com/content/dam/innovation/Device%20Images/Snaptracs,%20Inc./Base_Devise_High_W.png">
            <a:extLst>
              <a:ext uri="{FF2B5EF4-FFF2-40B4-BE49-F238E27FC236}">
                <a16:creationId xmlns="" xmlns:a16="http://schemas.microsoft.com/office/drawing/2014/main" id="{44712B27-802B-4EC8-8358-CD151E330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226117" y="5200018"/>
            <a:ext cx="359768" cy="258591"/>
          </a:xfrm>
          <a:prstGeom prst="rect">
            <a:avLst/>
          </a:prstGeom>
          <a:noFill/>
        </p:spPr>
      </p:pic>
      <p:pic>
        <p:nvPicPr>
          <p:cNvPr id="47" name="图片 9" descr="_Foxmail">
            <a:extLst>
              <a:ext uri="{FF2B5EF4-FFF2-40B4-BE49-F238E27FC236}">
                <a16:creationId xmlns="" xmlns:a16="http://schemas.microsoft.com/office/drawing/2014/main" id="{0C21390A-FB7A-4A01-A89C-887DADFAC29B}"/>
              </a:ext>
            </a:extLst>
          </p:cNvPr>
          <p:cNvPicPr>
            <a:picLocks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398069" y="4509062"/>
            <a:ext cx="280375" cy="28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图片 4">
            <a:extLst>
              <a:ext uri="{FF2B5EF4-FFF2-40B4-BE49-F238E27FC236}">
                <a16:creationId xmlns="" xmlns:a16="http://schemas.microsoft.com/office/drawing/2014/main" id="{34292900-C794-4AAB-9C54-D9F2582A2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040863" y="5342168"/>
            <a:ext cx="271473" cy="2910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Picture 528" descr="图片131">
            <a:extLst>
              <a:ext uri="{FF2B5EF4-FFF2-40B4-BE49-F238E27FC236}">
                <a16:creationId xmlns="" xmlns:a16="http://schemas.microsoft.com/office/drawing/2014/main" id="{8D0F1BF9-05F7-4F88-9C3F-C1635774DF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3284517" y="4228702"/>
            <a:ext cx="350580" cy="44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0" name="Picture 528" descr="图片131">
            <a:extLst>
              <a:ext uri="{FF2B5EF4-FFF2-40B4-BE49-F238E27FC236}">
                <a16:creationId xmlns="" xmlns:a16="http://schemas.microsoft.com/office/drawing/2014/main" id="{13EE37EC-E901-4EA3-A658-4D4B280D4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10490340" y="4530553"/>
            <a:ext cx="308808" cy="395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2" name="组合 51">
            <a:extLst>
              <a:ext uri="{FF2B5EF4-FFF2-40B4-BE49-F238E27FC236}">
                <a16:creationId xmlns="" xmlns:a16="http://schemas.microsoft.com/office/drawing/2014/main" id="{47AE8C59-8B30-4D9C-A7EB-A272A34CD181}"/>
              </a:ext>
            </a:extLst>
          </p:cNvPr>
          <p:cNvGrpSpPr/>
          <p:nvPr/>
        </p:nvGrpSpPr>
        <p:grpSpPr>
          <a:xfrm rot="1999896">
            <a:off x="2495928" y="5102225"/>
            <a:ext cx="187902" cy="155248"/>
            <a:chOff x="8617132" y="4754742"/>
            <a:chExt cx="198690" cy="164161"/>
          </a:xfrm>
        </p:grpSpPr>
        <p:sp>
          <p:nvSpPr>
            <p:cNvPr id="53" name="Freeform 15">
              <a:extLst>
                <a:ext uri="{FF2B5EF4-FFF2-40B4-BE49-F238E27FC236}">
                  <a16:creationId xmlns="" xmlns:a16="http://schemas.microsoft.com/office/drawing/2014/main" id="{EC584133-31A5-48E4-8EDA-8273F01C7A88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Freeform 16">
              <a:extLst>
                <a:ext uri="{FF2B5EF4-FFF2-40B4-BE49-F238E27FC236}">
                  <a16:creationId xmlns="" xmlns:a16="http://schemas.microsoft.com/office/drawing/2014/main" id="{9CF0B3E7-86EA-4EBE-AD38-6743B091DED3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="" xmlns:a16="http://schemas.microsoft.com/office/drawing/2014/main" id="{4C5DCB1E-2D6B-4647-A00E-A0C7BC7B019D}"/>
              </a:ext>
            </a:extLst>
          </p:cNvPr>
          <p:cNvGrpSpPr/>
          <p:nvPr/>
        </p:nvGrpSpPr>
        <p:grpSpPr>
          <a:xfrm rot="19636408">
            <a:off x="3636102" y="5659535"/>
            <a:ext cx="187902" cy="155248"/>
            <a:chOff x="8617132" y="4754742"/>
            <a:chExt cx="198690" cy="164161"/>
          </a:xfrm>
        </p:grpSpPr>
        <p:sp>
          <p:nvSpPr>
            <p:cNvPr id="57" name="Freeform 15">
              <a:extLst>
                <a:ext uri="{FF2B5EF4-FFF2-40B4-BE49-F238E27FC236}">
                  <a16:creationId xmlns="" xmlns:a16="http://schemas.microsoft.com/office/drawing/2014/main" id="{F6761B97-FB9F-4F7E-8254-FD03143D2CF3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Freeform 16">
              <a:extLst>
                <a:ext uri="{FF2B5EF4-FFF2-40B4-BE49-F238E27FC236}">
                  <a16:creationId xmlns="" xmlns:a16="http://schemas.microsoft.com/office/drawing/2014/main" id="{E1BF8391-81B1-4BD7-BC0E-700CBC61A8FD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3" name="组合 62">
            <a:extLst>
              <a:ext uri="{FF2B5EF4-FFF2-40B4-BE49-F238E27FC236}">
                <a16:creationId xmlns="" xmlns:a16="http://schemas.microsoft.com/office/drawing/2014/main" id="{3B9DE563-EB8B-49D9-AEF3-BE211189E703}"/>
              </a:ext>
            </a:extLst>
          </p:cNvPr>
          <p:cNvGrpSpPr/>
          <p:nvPr/>
        </p:nvGrpSpPr>
        <p:grpSpPr>
          <a:xfrm rot="20381838">
            <a:off x="5320596" y="5476501"/>
            <a:ext cx="187902" cy="155248"/>
            <a:chOff x="8617132" y="4754742"/>
            <a:chExt cx="198690" cy="164161"/>
          </a:xfrm>
        </p:grpSpPr>
        <p:sp>
          <p:nvSpPr>
            <p:cNvPr id="64" name="Freeform 15">
              <a:extLst>
                <a:ext uri="{FF2B5EF4-FFF2-40B4-BE49-F238E27FC236}">
                  <a16:creationId xmlns="" xmlns:a16="http://schemas.microsoft.com/office/drawing/2014/main" id="{36DEB832-651F-4708-89E2-CFE89432D9AB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="" xmlns:a16="http://schemas.microsoft.com/office/drawing/2014/main" id="{5A90E825-212B-46C9-AD0E-C58885A2C70B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="" xmlns:a16="http://schemas.microsoft.com/office/drawing/2014/main" id="{17E51A8A-632F-4021-BF71-E283CD7D8C2A}"/>
              </a:ext>
            </a:extLst>
          </p:cNvPr>
          <p:cNvGrpSpPr/>
          <p:nvPr/>
        </p:nvGrpSpPr>
        <p:grpSpPr>
          <a:xfrm>
            <a:off x="9529017" y="1011067"/>
            <a:ext cx="2107889" cy="3313057"/>
            <a:chOff x="9453337" y="888755"/>
            <a:chExt cx="2264284" cy="3558872"/>
          </a:xfrm>
        </p:grpSpPr>
        <p:sp>
          <p:nvSpPr>
            <p:cNvPr id="59" name="等腰三角形 58">
              <a:extLst>
                <a:ext uri="{FF2B5EF4-FFF2-40B4-BE49-F238E27FC236}">
                  <a16:creationId xmlns="" xmlns:a16="http://schemas.microsoft.com/office/drawing/2014/main" id="{0E3E7125-52A6-4810-817C-2BCEEFD7620E}"/>
                </a:ext>
              </a:extLst>
            </p:cNvPr>
            <p:cNvSpPr/>
            <p:nvPr/>
          </p:nvSpPr>
          <p:spPr>
            <a:xfrm rot="10800000">
              <a:off x="10020139" y="2854420"/>
              <a:ext cx="1137608" cy="966460"/>
            </a:xfrm>
            <a:prstGeom prst="triangle">
              <a:avLst>
                <a:gd name="adj" fmla="val 53713"/>
              </a:avLst>
            </a:prstGeom>
            <a:gradFill>
              <a:gsLst>
                <a:gs pos="0">
                  <a:srgbClr val="008BBC">
                    <a:alpha val="57000"/>
                  </a:srgbClr>
                </a:gs>
                <a:gs pos="100000">
                  <a:srgbClr val="0070C0">
                    <a:alpha val="0"/>
                  </a:srgbClr>
                </a:gs>
              </a:gsLst>
              <a:lin ang="5400000" scaled="0"/>
            </a:gradFill>
            <a:ln w="9525">
              <a:gradFill>
                <a:gsLst>
                  <a:gs pos="13000">
                    <a:srgbClr val="002060">
                      <a:alpha val="5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  <a:effectLst/>
          </p:spPr>
          <p:txBody>
            <a:bodyPr vert="horz" wrap="square" lIns="91408" tIns="45703" rIns="91408" bIns="45703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椭圆 59">
              <a:extLst>
                <a:ext uri="{FF2B5EF4-FFF2-40B4-BE49-F238E27FC236}">
                  <a16:creationId xmlns="" xmlns:a16="http://schemas.microsoft.com/office/drawing/2014/main" id="{F771DBC3-2405-47F8-BCB3-6CF8A9C77D7E}"/>
                </a:ext>
              </a:extLst>
            </p:cNvPr>
            <p:cNvSpPr/>
            <p:nvPr/>
          </p:nvSpPr>
          <p:spPr>
            <a:xfrm>
              <a:off x="10072193" y="3422201"/>
              <a:ext cx="1033500" cy="1025426"/>
            </a:xfrm>
            <a:prstGeom prst="ellipse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126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椭圆 60">
              <a:extLst>
                <a:ext uri="{FF2B5EF4-FFF2-40B4-BE49-F238E27FC236}">
                  <a16:creationId xmlns="" xmlns:a16="http://schemas.microsoft.com/office/drawing/2014/main" id="{2F7478C0-2172-4162-9E88-B84F69E2F9B3}"/>
                </a:ext>
              </a:extLst>
            </p:cNvPr>
            <p:cNvSpPr/>
            <p:nvPr/>
          </p:nvSpPr>
          <p:spPr>
            <a:xfrm>
              <a:off x="9535162" y="888755"/>
              <a:ext cx="2107563" cy="2107561"/>
            </a:xfrm>
            <a:prstGeom prst="ellipse">
              <a:avLst/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126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47359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文本框 10">
              <a:extLst>
                <a:ext uri="{FF2B5EF4-FFF2-40B4-BE49-F238E27FC236}">
                  <a16:creationId xmlns="" xmlns:a16="http://schemas.microsoft.com/office/drawing/2014/main" id="{DB2D1C18-C2D6-43DA-8845-9433B9378DE7}"/>
                </a:ext>
              </a:extLst>
            </p:cNvPr>
            <p:cNvSpPr txBox="1"/>
            <p:nvPr/>
          </p:nvSpPr>
          <p:spPr>
            <a:xfrm>
              <a:off x="10334614" y="2956046"/>
              <a:ext cx="552636" cy="3964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08" tIns="45703" rIns="91408" bIns="45703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</a:lstStyle>
            <a:p>
              <a:pPr defTabSz="1219078" fontAlgn="ctr"/>
              <a:r>
                <a:rPr lang="en-US" sz="17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7X</a:t>
              </a:r>
              <a:endParaRPr lang="en-US" altLang="zh-CN" sz="17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TextBox 4">
              <a:extLst>
                <a:ext uri="{FF2B5EF4-FFF2-40B4-BE49-F238E27FC236}">
                  <a16:creationId xmlns="" xmlns:a16="http://schemas.microsoft.com/office/drawing/2014/main" id="{0D381727-8D61-4B57-86DC-F0192AEF36C8}"/>
                </a:ext>
              </a:extLst>
            </p:cNvPr>
            <p:cNvSpPr txBox="1"/>
            <p:nvPr/>
          </p:nvSpPr>
          <p:spPr>
            <a:xfrm>
              <a:off x="9453337" y="1552761"/>
              <a:ext cx="2264284" cy="284285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 defTabSz="1088449" fontAlgn="ctr">
                <a:defRPr/>
              </a:pPr>
              <a:r>
                <a:rPr lang="en-US" sz="36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3 billion</a:t>
              </a:r>
              <a:endParaRPr lang="en-US" altLang="zh-CN" sz="36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1088449" fontAlgn="ctr">
                <a:defRPr/>
              </a:pPr>
              <a:r>
                <a:rPr lang="en-US" sz="9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Cellular IoT</a:t>
              </a:r>
              <a:r>
                <a:rPr lang="en-US" sz="900" dirty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  <a:r>
                <a:rPr lang="en-US" sz="900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connections</a:t>
              </a:r>
              <a:endParaRPr lang="en-US" sz="9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矩形 66">
              <a:extLst>
                <a:ext uri="{FF2B5EF4-FFF2-40B4-BE49-F238E27FC236}">
                  <a16:creationId xmlns="" xmlns:a16="http://schemas.microsoft.com/office/drawing/2014/main" id="{13AF8750-D2F0-4F50-8597-83B380BB6508}"/>
                </a:ext>
              </a:extLst>
            </p:cNvPr>
            <p:cNvSpPr/>
            <p:nvPr/>
          </p:nvSpPr>
          <p:spPr>
            <a:xfrm>
              <a:off x="10184939" y="1116408"/>
              <a:ext cx="808008" cy="39649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 defTabSz="1088449" fontAlgn="ctr">
                <a:defRPr/>
              </a:pPr>
              <a:r>
                <a:rPr lang="en-US" sz="1799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2020</a:t>
              </a:r>
              <a:endParaRPr lang="en-US" sz="1799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TextBox 2">
              <a:extLst>
                <a:ext uri="{FF2B5EF4-FFF2-40B4-BE49-F238E27FC236}">
                  <a16:creationId xmlns="" xmlns:a16="http://schemas.microsoft.com/office/drawing/2014/main" id="{880E0F62-3116-4123-9EA6-808B42B8F78E}"/>
                </a:ext>
              </a:extLst>
            </p:cNvPr>
            <p:cNvSpPr txBox="1"/>
            <p:nvPr/>
          </p:nvSpPr>
          <p:spPr>
            <a:xfrm>
              <a:off x="9918937" y="3611585"/>
              <a:ext cx="1340012" cy="82653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 defTabSz="1088449" fontAlgn="ctr">
                <a:defRPr/>
              </a:pPr>
              <a:r>
                <a:rPr lang="en-US" sz="8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2015</a:t>
              </a:r>
            </a:p>
            <a:p>
              <a:pPr algn="ctr" defTabSz="1088449" fontAlgn="ctr">
                <a:defRPr/>
              </a:pPr>
              <a:r>
                <a:rPr lang="en-US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400 million</a:t>
              </a:r>
              <a:endParaRPr lang="en-US" altLang="zh-CN" sz="1200" b="1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1088449" fontAlgn="ctr">
                <a:defRPr/>
              </a:pPr>
              <a:r>
                <a:rPr lang="en-US" sz="7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Cellular IoT</a:t>
              </a:r>
              <a:r>
                <a:rPr lang="en-US" sz="7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</a:t>
              </a:r>
              <a:r>
                <a:rPr lang="en-US" sz="7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connections</a:t>
              </a:r>
              <a:endParaRPr lang="en-US" sz="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="" xmlns:a16="http://schemas.microsoft.com/office/drawing/2014/main" id="{9191D525-AF46-4206-B08C-7AF41417E212}"/>
              </a:ext>
            </a:extLst>
          </p:cNvPr>
          <p:cNvGrpSpPr/>
          <p:nvPr/>
        </p:nvGrpSpPr>
        <p:grpSpPr>
          <a:xfrm rot="16820308">
            <a:off x="8210896" y="4490377"/>
            <a:ext cx="187902" cy="155248"/>
            <a:chOff x="8617132" y="4754742"/>
            <a:chExt cx="198690" cy="164161"/>
          </a:xfrm>
        </p:grpSpPr>
        <p:sp>
          <p:nvSpPr>
            <p:cNvPr id="70" name="Freeform 15">
              <a:extLst>
                <a:ext uri="{FF2B5EF4-FFF2-40B4-BE49-F238E27FC236}">
                  <a16:creationId xmlns="" xmlns:a16="http://schemas.microsoft.com/office/drawing/2014/main" id="{F539E2FD-A402-45D4-A334-1B19ED34EB3A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="" xmlns:a16="http://schemas.microsoft.com/office/drawing/2014/main" id="{544AEE0B-2CE6-42F8-83A6-B82630B117CE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="" xmlns:a16="http://schemas.microsoft.com/office/drawing/2014/main" id="{3B9DE563-EB8B-49D9-AEF3-BE211189E703}"/>
              </a:ext>
            </a:extLst>
          </p:cNvPr>
          <p:cNvGrpSpPr/>
          <p:nvPr/>
        </p:nvGrpSpPr>
        <p:grpSpPr>
          <a:xfrm rot="20381838">
            <a:off x="6567703" y="4885268"/>
            <a:ext cx="187902" cy="155248"/>
            <a:chOff x="8617132" y="4754742"/>
            <a:chExt cx="198690" cy="164161"/>
          </a:xfrm>
        </p:grpSpPr>
        <p:sp>
          <p:nvSpPr>
            <p:cNvPr id="72" name="Freeform 15">
              <a:extLst>
                <a:ext uri="{FF2B5EF4-FFF2-40B4-BE49-F238E27FC236}">
                  <a16:creationId xmlns="" xmlns:a16="http://schemas.microsoft.com/office/drawing/2014/main" id="{36DEB832-651F-4708-89E2-CFE89432D9AB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="" xmlns:a16="http://schemas.microsoft.com/office/drawing/2014/main" id="{5A90E825-212B-46C9-AD0E-C58885A2C70B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4" name="组合 73">
            <a:extLst>
              <a:ext uri="{FF2B5EF4-FFF2-40B4-BE49-F238E27FC236}">
                <a16:creationId xmlns="" xmlns:a16="http://schemas.microsoft.com/office/drawing/2014/main" id="{9191D525-AF46-4206-B08C-7AF41417E212}"/>
              </a:ext>
            </a:extLst>
          </p:cNvPr>
          <p:cNvGrpSpPr/>
          <p:nvPr/>
        </p:nvGrpSpPr>
        <p:grpSpPr>
          <a:xfrm rot="16820308">
            <a:off x="8711599" y="4220404"/>
            <a:ext cx="187902" cy="155248"/>
            <a:chOff x="8617132" y="4754742"/>
            <a:chExt cx="198690" cy="164161"/>
          </a:xfrm>
        </p:grpSpPr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F539E2FD-A402-45D4-A334-1B19ED34EB3A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544AEE0B-2CE6-42F8-83A6-B82630B117CE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7" name="组合 76">
            <a:extLst>
              <a:ext uri="{FF2B5EF4-FFF2-40B4-BE49-F238E27FC236}">
                <a16:creationId xmlns="" xmlns:a16="http://schemas.microsoft.com/office/drawing/2014/main" id="{3B9DE563-EB8B-49D9-AEF3-BE211189E703}"/>
              </a:ext>
            </a:extLst>
          </p:cNvPr>
          <p:cNvGrpSpPr/>
          <p:nvPr/>
        </p:nvGrpSpPr>
        <p:grpSpPr>
          <a:xfrm rot="20381838">
            <a:off x="7103338" y="5136064"/>
            <a:ext cx="187902" cy="155248"/>
            <a:chOff x="8617132" y="4754742"/>
            <a:chExt cx="198690" cy="164161"/>
          </a:xfrm>
        </p:grpSpPr>
        <p:sp>
          <p:nvSpPr>
            <p:cNvPr id="78" name="Freeform 15">
              <a:extLst>
                <a:ext uri="{FF2B5EF4-FFF2-40B4-BE49-F238E27FC236}">
                  <a16:creationId xmlns="" xmlns:a16="http://schemas.microsoft.com/office/drawing/2014/main" id="{36DEB832-651F-4708-89E2-CFE89432D9AB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="" xmlns:a16="http://schemas.microsoft.com/office/drawing/2014/main" id="{5A90E825-212B-46C9-AD0E-C58885A2C70B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="" xmlns:a16="http://schemas.microsoft.com/office/drawing/2014/main" id="{47AE8C59-8B30-4D9C-A7EB-A272A34CD181}"/>
              </a:ext>
            </a:extLst>
          </p:cNvPr>
          <p:cNvGrpSpPr/>
          <p:nvPr/>
        </p:nvGrpSpPr>
        <p:grpSpPr>
          <a:xfrm rot="1999896">
            <a:off x="4392621" y="5062293"/>
            <a:ext cx="187902" cy="155248"/>
            <a:chOff x="8617132" y="4754742"/>
            <a:chExt cx="198690" cy="164161"/>
          </a:xfrm>
        </p:grpSpPr>
        <p:sp>
          <p:nvSpPr>
            <p:cNvPr id="81" name="Freeform 15">
              <a:extLst>
                <a:ext uri="{FF2B5EF4-FFF2-40B4-BE49-F238E27FC236}">
                  <a16:creationId xmlns="" xmlns:a16="http://schemas.microsoft.com/office/drawing/2014/main" id="{EC584133-31A5-48E4-8EDA-8273F01C7A88}"/>
                </a:ext>
              </a:extLst>
            </p:cNvPr>
            <p:cNvSpPr>
              <a:spLocks/>
            </p:cNvSpPr>
            <p:nvPr/>
          </p:nvSpPr>
          <p:spPr bwMode="auto">
            <a:xfrm rot="21348074">
              <a:off x="8699951" y="4872293"/>
              <a:ext cx="45804" cy="4661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Freeform 16">
              <a:extLst>
                <a:ext uri="{FF2B5EF4-FFF2-40B4-BE49-F238E27FC236}">
                  <a16:creationId xmlns="" xmlns:a16="http://schemas.microsoft.com/office/drawing/2014/main" id="{9CF0B3E7-86EA-4EBE-AD38-6743B091DED3}"/>
                </a:ext>
              </a:extLst>
            </p:cNvPr>
            <p:cNvSpPr>
              <a:spLocks noEditPoints="1"/>
            </p:cNvSpPr>
            <p:nvPr/>
          </p:nvSpPr>
          <p:spPr bwMode="auto">
            <a:xfrm rot="21348074">
              <a:off x="8617132" y="4754742"/>
              <a:ext cx="198690" cy="108022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287838" algn="ctr" defTabSz="2559643"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Pct val="80000"/>
                <a:buFont typeface="Wingdings" pitchFamily="2" charset="2"/>
                <a:buChar char="n"/>
                <a:defRPr/>
              </a:pPr>
              <a:endParaRPr lang="en-US" altLang="zh-CN" sz="2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0297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6"/>
            <a:ext cx="12188826" cy="685621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0" y="1687"/>
            <a:ext cx="12188826" cy="2077683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08850" y="557997"/>
            <a:ext cx="11241586" cy="639336"/>
          </a:xfrm>
        </p:spPr>
        <p:txBody>
          <a:bodyPr wrap="square">
            <a:noAutofit/>
          </a:bodyPr>
          <a:lstStyle/>
          <a:p>
            <a:pPr fontAlgn="ctr"/>
            <a:r>
              <a:rPr lang="en-US" sz="2799" b="1" dirty="0" smtClean="0">
                <a:latin typeface="Arial" panose="020B0604020202020204" pitchFamily="34" charset="0"/>
              </a:rPr>
              <a:t>Smart </a:t>
            </a:r>
            <a:r>
              <a:rPr lang="en-US" sz="2799" b="1" dirty="0" smtClean="0">
                <a:latin typeface="Arial" panose="020B0604020202020204" pitchFamily="34" charset="0"/>
              </a:rPr>
              <a:t>Streetlight, Ideal </a:t>
            </a:r>
            <a:r>
              <a:rPr lang="en-US" sz="2799" b="1" dirty="0" smtClean="0">
                <a:latin typeface="Arial" panose="020B0604020202020204" pitchFamily="34" charset="0"/>
              </a:rPr>
              <a:t>for Energy-Saving City Construction</a:t>
            </a:r>
            <a:endParaRPr lang="en-US" sz="2799" b="1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 flipV="1">
            <a:off x="3175" y="2747165"/>
            <a:ext cx="12188826" cy="4110737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9676002" y="1582482"/>
            <a:ext cx="2766759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43957" indent="-143957" defTabSz="1219078" fontAlgn="ctr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Natural light sensing control</a:t>
            </a:r>
            <a:endParaRPr lang="en-US" altLang="zh-CN" sz="160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marL="143957" indent="-143957" defTabSz="1219078" fontAlgn="ctr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oT policy control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64" name="组合 63"/>
          <p:cNvGrpSpPr/>
          <p:nvPr/>
        </p:nvGrpSpPr>
        <p:grpSpPr>
          <a:xfrm>
            <a:off x="871315" y="3806816"/>
            <a:ext cx="971747" cy="971747"/>
            <a:chOff x="798389" y="3807708"/>
            <a:chExt cx="972000" cy="972000"/>
          </a:xfrm>
        </p:grpSpPr>
        <p:sp>
          <p:nvSpPr>
            <p:cNvPr id="23" name="Freeform 51"/>
            <p:cNvSpPr>
              <a:spLocks noEditPoints="1"/>
            </p:cNvSpPr>
            <p:nvPr/>
          </p:nvSpPr>
          <p:spPr bwMode="auto">
            <a:xfrm>
              <a:off x="1081872" y="3987708"/>
              <a:ext cx="432000" cy="612000"/>
            </a:xfrm>
            <a:custGeom>
              <a:avLst/>
              <a:gdLst/>
              <a:ahLst/>
              <a:cxnLst>
                <a:cxn ang="0">
                  <a:pos x="236" y="128"/>
                </a:cxn>
                <a:cxn ang="0">
                  <a:pos x="234" y="128"/>
                </a:cxn>
                <a:cxn ang="0">
                  <a:pos x="234" y="8"/>
                </a:cxn>
                <a:cxn ang="0">
                  <a:pos x="234" y="8"/>
                </a:cxn>
                <a:cxn ang="0">
                  <a:pos x="232" y="2"/>
                </a:cxn>
                <a:cxn ang="0">
                  <a:pos x="232" y="2"/>
                </a:cxn>
                <a:cxn ang="0">
                  <a:pos x="226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6" y="8"/>
                </a:cxn>
                <a:cxn ang="0">
                  <a:pos x="16" y="128"/>
                </a:cxn>
                <a:cxn ang="0">
                  <a:pos x="12" y="128"/>
                </a:cxn>
                <a:cxn ang="0">
                  <a:pos x="12" y="128"/>
                </a:cxn>
                <a:cxn ang="0">
                  <a:pos x="8" y="130"/>
                </a:cxn>
                <a:cxn ang="0">
                  <a:pos x="4" y="132"/>
                </a:cxn>
                <a:cxn ang="0">
                  <a:pos x="0" y="136"/>
                </a:cxn>
                <a:cxn ang="0">
                  <a:pos x="0" y="142"/>
                </a:cxn>
                <a:cxn ang="0">
                  <a:pos x="0" y="142"/>
                </a:cxn>
                <a:cxn ang="0">
                  <a:pos x="0" y="148"/>
                </a:cxn>
                <a:cxn ang="0">
                  <a:pos x="4" y="152"/>
                </a:cxn>
                <a:cxn ang="0">
                  <a:pos x="8" y="154"/>
                </a:cxn>
                <a:cxn ang="0">
                  <a:pos x="12" y="156"/>
                </a:cxn>
                <a:cxn ang="0">
                  <a:pos x="236" y="156"/>
                </a:cxn>
                <a:cxn ang="0">
                  <a:pos x="236" y="156"/>
                </a:cxn>
                <a:cxn ang="0">
                  <a:pos x="242" y="154"/>
                </a:cxn>
                <a:cxn ang="0">
                  <a:pos x="246" y="152"/>
                </a:cxn>
                <a:cxn ang="0">
                  <a:pos x="248" y="148"/>
                </a:cxn>
                <a:cxn ang="0">
                  <a:pos x="250" y="142"/>
                </a:cxn>
                <a:cxn ang="0">
                  <a:pos x="250" y="142"/>
                </a:cxn>
                <a:cxn ang="0">
                  <a:pos x="248" y="136"/>
                </a:cxn>
                <a:cxn ang="0">
                  <a:pos x="246" y="132"/>
                </a:cxn>
                <a:cxn ang="0">
                  <a:pos x="242" y="130"/>
                </a:cxn>
                <a:cxn ang="0">
                  <a:pos x="236" y="128"/>
                </a:cxn>
                <a:cxn ang="0">
                  <a:pos x="236" y="128"/>
                </a:cxn>
                <a:cxn ang="0">
                  <a:pos x="168" y="146"/>
                </a:cxn>
                <a:cxn ang="0">
                  <a:pos x="168" y="146"/>
                </a:cxn>
                <a:cxn ang="0">
                  <a:pos x="166" y="148"/>
                </a:cxn>
                <a:cxn ang="0">
                  <a:pos x="84" y="148"/>
                </a:cxn>
                <a:cxn ang="0">
                  <a:pos x="84" y="148"/>
                </a:cxn>
                <a:cxn ang="0">
                  <a:pos x="82" y="146"/>
                </a:cxn>
                <a:cxn ang="0">
                  <a:pos x="82" y="134"/>
                </a:cxn>
                <a:cxn ang="0">
                  <a:pos x="82" y="134"/>
                </a:cxn>
                <a:cxn ang="0">
                  <a:pos x="84" y="132"/>
                </a:cxn>
                <a:cxn ang="0">
                  <a:pos x="166" y="132"/>
                </a:cxn>
                <a:cxn ang="0">
                  <a:pos x="166" y="132"/>
                </a:cxn>
                <a:cxn ang="0">
                  <a:pos x="168" y="134"/>
                </a:cxn>
                <a:cxn ang="0">
                  <a:pos x="168" y="146"/>
                </a:cxn>
                <a:cxn ang="0">
                  <a:pos x="224" y="128"/>
                </a:cxn>
                <a:cxn ang="0">
                  <a:pos x="26" y="128"/>
                </a:cxn>
                <a:cxn ang="0">
                  <a:pos x="26" y="10"/>
                </a:cxn>
                <a:cxn ang="0">
                  <a:pos x="224" y="10"/>
                </a:cxn>
                <a:cxn ang="0">
                  <a:pos x="224" y="128"/>
                </a:cxn>
              </a:cxnLst>
              <a:rect l="0" t="0" r="r" b="b"/>
              <a:pathLst>
                <a:path w="250" h="156">
                  <a:moveTo>
                    <a:pt x="236" y="128"/>
                  </a:moveTo>
                  <a:lnTo>
                    <a:pt x="234" y="128"/>
                  </a:lnTo>
                  <a:lnTo>
                    <a:pt x="234" y="8"/>
                  </a:lnTo>
                  <a:lnTo>
                    <a:pt x="234" y="8"/>
                  </a:lnTo>
                  <a:lnTo>
                    <a:pt x="232" y="2"/>
                  </a:lnTo>
                  <a:lnTo>
                    <a:pt x="232" y="2"/>
                  </a:lnTo>
                  <a:lnTo>
                    <a:pt x="226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8"/>
                  </a:lnTo>
                  <a:lnTo>
                    <a:pt x="16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30"/>
                  </a:lnTo>
                  <a:lnTo>
                    <a:pt x="4" y="132"/>
                  </a:lnTo>
                  <a:lnTo>
                    <a:pt x="0" y="136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8"/>
                  </a:lnTo>
                  <a:lnTo>
                    <a:pt x="4" y="152"/>
                  </a:lnTo>
                  <a:lnTo>
                    <a:pt x="8" y="154"/>
                  </a:lnTo>
                  <a:lnTo>
                    <a:pt x="12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42" y="154"/>
                  </a:lnTo>
                  <a:lnTo>
                    <a:pt x="246" y="152"/>
                  </a:lnTo>
                  <a:lnTo>
                    <a:pt x="248" y="148"/>
                  </a:lnTo>
                  <a:lnTo>
                    <a:pt x="250" y="142"/>
                  </a:lnTo>
                  <a:lnTo>
                    <a:pt x="250" y="142"/>
                  </a:lnTo>
                  <a:lnTo>
                    <a:pt x="248" y="136"/>
                  </a:lnTo>
                  <a:lnTo>
                    <a:pt x="246" y="132"/>
                  </a:lnTo>
                  <a:lnTo>
                    <a:pt x="242" y="130"/>
                  </a:lnTo>
                  <a:lnTo>
                    <a:pt x="236" y="128"/>
                  </a:lnTo>
                  <a:lnTo>
                    <a:pt x="236" y="128"/>
                  </a:lnTo>
                  <a:close/>
                  <a:moveTo>
                    <a:pt x="168" y="146"/>
                  </a:moveTo>
                  <a:lnTo>
                    <a:pt x="168" y="146"/>
                  </a:lnTo>
                  <a:lnTo>
                    <a:pt x="166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2" y="146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4" y="132"/>
                  </a:lnTo>
                  <a:lnTo>
                    <a:pt x="166" y="132"/>
                  </a:lnTo>
                  <a:lnTo>
                    <a:pt x="166" y="132"/>
                  </a:lnTo>
                  <a:lnTo>
                    <a:pt x="168" y="134"/>
                  </a:lnTo>
                  <a:lnTo>
                    <a:pt x="168" y="146"/>
                  </a:lnTo>
                  <a:close/>
                  <a:moveTo>
                    <a:pt x="224" y="128"/>
                  </a:moveTo>
                  <a:lnTo>
                    <a:pt x="26" y="128"/>
                  </a:lnTo>
                  <a:lnTo>
                    <a:pt x="26" y="10"/>
                  </a:lnTo>
                  <a:lnTo>
                    <a:pt x="224" y="10"/>
                  </a:lnTo>
                  <a:lnTo>
                    <a:pt x="224" y="128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63" name="组合 62"/>
            <p:cNvGrpSpPr/>
            <p:nvPr/>
          </p:nvGrpSpPr>
          <p:grpSpPr>
            <a:xfrm>
              <a:off x="798389" y="3807708"/>
              <a:ext cx="972000" cy="972000"/>
              <a:chOff x="798389" y="3807708"/>
              <a:chExt cx="972000" cy="972000"/>
            </a:xfrm>
          </p:grpSpPr>
          <p:grpSp>
            <p:nvGrpSpPr>
              <p:cNvPr id="19" name="组合 18"/>
              <p:cNvGrpSpPr/>
              <p:nvPr/>
            </p:nvGrpSpPr>
            <p:grpSpPr>
              <a:xfrm>
                <a:off x="798389" y="3807708"/>
                <a:ext cx="972000" cy="972000"/>
                <a:chOff x="-931799" y="2962588"/>
                <a:chExt cx="972000" cy="972000"/>
              </a:xfrm>
            </p:grpSpPr>
            <p:sp>
              <p:nvSpPr>
                <p:cNvPr id="16" name="椭圆 15"/>
                <p:cNvSpPr/>
                <p:nvPr/>
              </p:nvSpPr>
              <p:spPr>
                <a:xfrm>
                  <a:off x="-931799" y="2962588"/>
                  <a:ext cx="972000" cy="972000"/>
                </a:xfrm>
                <a:prstGeom prst="ellipse">
                  <a:avLst/>
                </a:prstGeom>
                <a:no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1219078" fontAlgn="ctr"/>
                  <a:endParaRPr lang="en-US" altLang="zh-CN" sz="23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" name="椭圆 16"/>
                <p:cNvSpPr/>
                <p:nvPr/>
              </p:nvSpPr>
              <p:spPr>
                <a:xfrm>
                  <a:off x="-832834" y="3052588"/>
                  <a:ext cx="792000" cy="792000"/>
                </a:xfrm>
                <a:prstGeom prst="ellipse">
                  <a:avLst/>
                </a:prstGeom>
                <a:noFill/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1219078" fontAlgn="ctr"/>
                  <a:endParaRPr lang="en-US" altLang="zh-CN" sz="23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24" name="Freeform 25"/>
              <p:cNvSpPr>
                <a:spLocks noEditPoints="1"/>
              </p:cNvSpPr>
              <p:nvPr/>
            </p:nvSpPr>
            <p:spPr bwMode="auto">
              <a:xfrm>
                <a:off x="1157355" y="4077708"/>
                <a:ext cx="288000" cy="432000"/>
              </a:xfrm>
              <a:custGeom>
                <a:avLst/>
                <a:gdLst/>
                <a:ahLst/>
                <a:cxnLst>
                  <a:cxn ang="0">
                    <a:pos x="11026" y="13677"/>
                  </a:cxn>
                  <a:cxn ang="0">
                    <a:pos x="8144" y="8631"/>
                  </a:cxn>
                  <a:cxn ang="0">
                    <a:pos x="10474" y="8853"/>
                  </a:cxn>
                  <a:cxn ang="0">
                    <a:pos x="8106" y="2822"/>
                  </a:cxn>
                  <a:cxn ang="0">
                    <a:pos x="8466" y="5367"/>
                  </a:cxn>
                  <a:cxn ang="0">
                    <a:pos x="10082" y="4564"/>
                  </a:cxn>
                  <a:cxn ang="0">
                    <a:pos x="10082" y="11757"/>
                  </a:cxn>
                  <a:cxn ang="0">
                    <a:pos x="9543" y="10955"/>
                  </a:cxn>
                  <a:cxn ang="0">
                    <a:pos x="8645" y="10374"/>
                  </a:cxn>
                  <a:cxn ang="0">
                    <a:pos x="9723" y="9434"/>
                  </a:cxn>
                  <a:cxn ang="0">
                    <a:pos x="9184" y="8272"/>
                  </a:cxn>
                  <a:cxn ang="0">
                    <a:pos x="10621" y="7110"/>
                  </a:cxn>
                  <a:cxn ang="0">
                    <a:pos x="8466" y="7469"/>
                  </a:cxn>
                  <a:cxn ang="0">
                    <a:pos x="9723" y="6888"/>
                  </a:cxn>
                  <a:cxn ang="0">
                    <a:pos x="8106" y="6529"/>
                  </a:cxn>
                  <a:cxn ang="0">
                    <a:pos x="8645" y="5948"/>
                  </a:cxn>
                  <a:cxn ang="0">
                    <a:pos x="8466" y="4786"/>
                  </a:cxn>
                  <a:cxn ang="0">
                    <a:pos x="9543" y="5145"/>
                  </a:cxn>
                  <a:cxn ang="0">
                    <a:pos x="10262" y="5145"/>
                  </a:cxn>
                  <a:cxn ang="0">
                    <a:pos x="8645" y="3625"/>
                  </a:cxn>
                  <a:cxn ang="0">
                    <a:pos x="8645" y="2462"/>
                  </a:cxn>
                  <a:cxn ang="0">
                    <a:pos x="10082" y="2462"/>
                  </a:cxn>
                  <a:cxn ang="0">
                    <a:pos x="10621" y="3983"/>
                  </a:cxn>
                  <a:cxn ang="0">
                    <a:pos x="14721" y="7602"/>
                  </a:cxn>
                  <a:cxn ang="0">
                    <a:pos x="12565" y="5637"/>
                  </a:cxn>
                  <a:cxn ang="0">
                    <a:pos x="12206" y="4475"/>
                  </a:cxn>
                  <a:cxn ang="0">
                    <a:pos x="12745" y="8182"/>
                  </a:cxn>
                  <a:cxn ang="0">
                    <a:pos x="12745" y="7021"/>
                  </a:cxn>
                  <a:cxn ang="0">
                    <a:pos x="14721" y="6440"/>
                  </a:cxn>
                  <a:cxn ang="0">
                    <a:pos x="13104" y="6799"/>
                  </a:cxn>
                  <a:cxn ang="0">
                    <a:pos x="13822" y="6218"/>
                  </a:cxn>
                  <a:cxn ang="0">
                    <a:pos x="12206" y="5859"/>
                  </a:cxn>
                  <a:cxn ang="0">
                    <a:pos x="12745" y="4697"/>
                  </a:cxn>
                  <a:cxn ang="0">
                    <a:pos x="14721" y="3535"/>
                  </a:cxn>
                  <a:cxn ang="0">
                    <a:pos x="13643" y="3895"/>
                  </a:cxn>
                  <a:cxn ang="0">
                    <a:pos x="12206" y="3895"/>
                  </a:cxn>
                  <a:cxn ang="0">
                    <a:pos x="13822" y="2374"/>
                  </a:cxn>
                  <a:cxn ang="0">
                    <a:pos x="5912" y="8673"/>
                  </a:cxn>
                  <a:cxn ang="0">
                    <a:pos x="6810" y="10819"/>
                  </a:cxn>
                  <a:cxn ang="0">
                    <a:pos x="7349" y="10106"/>
                  </a:cxn>
                  <a:cxn ang="0">
                    <a:pos x="5912" y="10106"/>
                  </a:cxn>
                  <a:cxn ang="0">
                    <a:pos x="6451" y="8673"/>
                  </a:cxn>
                  <a:cxn ang="0">
                    <a:pos x="3697" y="11848"/>
                  </a:cxn>
                  <a:cxn ang="0">
                    <a:pos x="1885" y="10597"/>
                  </a:cxn>
                  <a:cxn ang="0">
                    <a:pos x="1346" y="7736"/>
                  </a:cxn>
                  <a:cxn ang="0">
                    <a:pos x="3577" y="7110"/>
                  </a:cxn>
                  <a:cxn ang="0">
                    <a:pos x="1346" y="5233"/>
                  </a:cxn>
                  <a:cxn ang="0">
                    <a:pos x="1727" y="5593"/>
                  </a:cxn>
                  <a:cxn ang="0">
                    <a:pos x="2964" y="13100"/>
                  </a:cxn>
                  <a:cxn ang="0">
                    <a:pos x="1885" y="12740"/>
                  </a:cxn>
                  <a:cxn ang="0">
                    <a:pos x="1885" y="12115"/>
                  </a:cxn>
                  <a:cxn ang="0">
                    <a:pos x="3861" y="10863"/>
                  </a:cxn>
                  <a:cxn ang="0">
                    <a:pos x="2783" y="11223"/>
                  </a:cxn>
                  <a:cxn ang="0">
                    <a:pos x="1346" y="11223"/>
                  </a:cxn>
                  <a:cxn ang="0">
                    <a:pos x="2964" y="9612"/>
                  </a:cxn>
                  <a:cxn ang="0">
                    <a:pos x="1346" y="9612"/>
                  </a:cxn>
                  <a:cxn ang="0">
                    <a:pos x="2245" y="8987"/>
                  </a:cxn>
                  <a:cxn ang="0">
                    <a:pos x="2783" y="8720"/>
                  </a:cxn>
                  <a:cxn ang="0">
                    <a:pos x="1346" y="8720"/>
                  </a:cxn>
                  <a:cxn ang="0">
                    <a:pos x="2424" y="7736"/>
                  </a:cxn>
                  <a:cxn ang="0">
                    <a:pos x="1885" y="6484"/>
                  </a:cxn>
                  <a:cxn ang="0">
                    <a:pos x="3861" y="5859"/>
                  </a:cxn>
                  <a:cxn ang="0">
                    <a:pos x="2783" y="6218"/>
                  </a:cxn>
                </a:cxnLst>
                <a:rect l="0" t="0" r="r" b="b"/>
                <a:pathLst>
                  <a:path w="16123" h="14674">
                    <a:moveTo>
                      <a:pt x="0" y="13677"/>
                    </a:moveTo>
                    <a:lnTo>
                      <a:pt x="942" y="13677"/>
                    </a:lnTo>
                    <a:lnTo>
                      <a:pt x="942" y="4873"/>
                    </a:lnTo>
                    <a:lnTo>
                      <a:pt x="4267" y="4873"/>
                    </a:lnTo>
                    <a:lnTo>
                      <a:pt x="4267" y="13677"/>
                    </a:lnTo>
                    <a:lnTo>
                      <a:pt x="4821" y="13677"/>
                    </a:lnTo>
                    <a:lnTo>
                      <a:pt x="4821" y="8306"/>
                    </a:lnTo>
                    <a:lnTo>
                      <a:pt x="7702" y="8306"/>
                    </a:lnTo>
                    <a:lnTo>
                      <a:pt x="7702" y="1772"/>
                    </a:lnTo>
                    <a:lnTo>
                      <a:pt x="11026" y="1772"/>
                    </a:lnTo>
                    <a:lnTo>
                      <a:pt x="11026" y="13677"/>
                    </a:lnTo>
                    <a:lnTo>
                      <a:pt x="11801" y="13677"/>
                    </a:lnTo>
                    <a:lnTo>
                      <a:pt x="11801" y="0"/>
                    </a:lnTo>
                    <a:lnTo>
                      <a:pt x="15125" y="1661"/>
                    </a:lnTo>
                    <a:lnTo>
                      <a:pt x="15125" y="13677"/>
                    </a:lnTo>
                    <a:lnTo>
                      <a:pt x="16123" y="13677"/>
                    </a:lnTo>
                    <a:lnTo>
                      <a:pt x="16123" y="14674"/>
                    </a:lnTo>
                    <a:lnTo>
                      <a:pt x="0" y="14674"/>
                    </a:lnTo>
                    <a:lnTo>
                      <a:pt x="0" y="13677"/>
                    </a:lnTo>
                    <a:close/>
                    <a:moveTo>
                      <a:pt x="8106" y="8306"/>
                    </a:moveTo>
                    <a:lnTo>
                      <a:pt x="8144" y="8306"/>
                    </a:lnTo>
                    <a:lnTo>
                      <a:pt x="8144" y="8631"/>
                    </a:lnTo>
                    <a:lnTo>
                      <a:pt x="8466" y="8631"/>
                    </a:lnTo>
                    <a:lnTo>
                      <a:pt x="8466" y="8272"/>
                    </a:lnTo>
                    <a:lnTo>
                      <a:pt x="8106" y="8272"/>
                    </a:lnTo>
                    <a:lnTo>
                      <a:pt x="8106" y="8306"/>
                    </a:lnTo>
                    <a:close/>
                    <a:moveTo>
                      <a:pt x="8144" y="8853"/>
                    </a:moveTo>
                    <a:lnTo>
                      <a:pt x="8144" y="9211"/>
                    </a:lnTo>
                    <a:lnTo>
                      <a:pt x="10262" y="9211"/>
                    </a:lnTo>
                    <a:lnTo>
                      <a:pt x="10474" y="9211"/>
                    </a:lnTo>
                    <a:lnTo>
                      <a:pt x="10621" y="9211"/>
                    </a:lnTo>
                    <a:lnTo>
                      <a:pt x="10621" y="8853"/>
                    </a:lnTo>
                    <a:lnTo>
                      <a:pt x="10474" y="8853"/>
                    </a:lnTo>
                    <a:lnTo>
                      <a:pt x="10262" y="8853"/>
                    </a:lnTo>
                    <a:lnTo>
                      <a:pt x="8144" y="8853"/>
                    </a:lnTo>
                    <a:close/>
                    <a:moveTo>
                      <a:pt x="8144" y="9434"/>
                    </a:moveTo>
                    <a:lnTo>
                      <a:pt x="8144" y="9792"/>
                    </a:lnTo>
                    <a:lnTo>
                      <a:pt x="8466" y="9792"/>
                    </a:lnTo>
                    <a:lnTo>
                      <a:pt x="8466" y="9434"/>
                    </a:lnTo>
                    <a:lnTo>
                      <a:pt x="8144" y="9434"/>
                    </a:lnTo>
                    <a:close/>
                    <a:moveTo>
                      <a:pt x="8106" y="2462"/>
                    </a:moveTo>
                    <a:lnTo>
                      <a:pt x="8466" y="2462"/>
                    </a:lnTo>
                    <a:lnTo>
                      <a:pt x="8466" y="2822"/>
                    </a:lnTo>
                    <a:lnTo>
                      <a:pt x="8106" y="2822"/>
                    </a:lnTo>
                    <a:lnTo>
                      <a:pt x="8106" y="2462"/>
                    </a:lnTo>
                    <a:close/>
                    <a:moveTo>
                      <a:pt x="9184" y="7691"/>
                    </a:moveTo>
                    <a:lnTo>
                      <a:pt x="10262" y="7691"/>
                    </a:lnTo>
                    <a:lnTo>
                      <a:pt x="10621" y="7691"/>
                    </a:lnTo>
                    <a:lnTo>
                      <a:pt x="10621" y="8050"/>
                    </a:lnTo>
                    <a:lnTo>
                      <a:pt x="10262" y="8050"/>
                    </a:lnTo>
                    <a:lnTo>
                      <a:pt x="9184" y="8050"/>
                    </a:lnTo>
                    <a:lnTo>
                      <a:pt x="9184" y="7691"/>
                    </a:lnTo>
                    <a:close/>
                    <a:moveTo>
                      <a:pt x="8106" y="5367"/>
                    </a:moveTo>
                    <a:lnTo>
                      <a:pt x="8230" y="5367"/>
                    </a:lnTo>
                    <a:lnTo>
                      <a:pt x="8466" y="5367"/>
                    </a:lnTo>
                    <a:lnTo>
                      <a:pt x="10082" y="5367"/>
                    </a:lnTo>
                    <a:lnTo>
                      <a:pt x="10082" y="5727"/>
                    </a:lnTo>
                    <a:lnTo>
                      <a:pt x="8466" y="5727"/>
                    </a:lnTo>
                    <a:lnTo>
                      <a:pt x="8230" y="5727"/>
                    </a:lnTo>
                    <a:lnTo>
                      <a:pt x="8106" y="5727"/>
                    </a:lnTo>
                    <a:lnTo>
                      <a:pt x="8106" y="5367"/>
                    </a:lnTo>
                    <a:close/>
                    <a:moveTo>
                      <a:pt x="8106" y="4206"/>
                    </a:moveTo>
                    <a:lnTo>
                      <a:pt x="8367" y="4206"/>
                    </a:lnTo>
                    <a:lnTo>
                      <a:pt x="8466" y="4206"/>
                    </a:lnTo>
                    <a:lnTo>
                      <a:pt x="10082" y="4206"/>
                    </a:lnTo>
                    <a:lnTo>
                      <a:pt x="10082" y="4564"/>
                    </a:lnTo>
                    <a:lnTo>
                      <a:pt x="8466" y="4564"/>
                    </a:lnTo>
                    <a:lnTo>
                      <a:pt x="8367" y="4564"/>
                    </a:lnTo>
                    <a:lnTo>
                      <a:pt x="8106" y="4564"/>
                    </a:lnTo>
                    <a:lnTo>
                      <a:pt x="8106" y="4206"/>
                    </a:lnTo>
                    <a:close/>
                    <a:moveTo>
                      <a:pt x="10262" y="11757"/>
                    </a:moveTo>
                    <a:lnTo>
                      <a:pt x="10621" y="11757"/>
                    </a:lnTo>
                    <a:lnTo>
                      <a:pt x="10621" y="12116"/>
                    </a:lnTo>
                    <a:lnTo>
                      <a:pt x="10262" y="12116"/>
                    </a:lnTo>
                    <a:lnTo>
                      <a:pt x="10262" y="11757"/>
                    </a:lnTo>
                    <a:close/>
                    <a:moveTo>
                      <a:pt x="9723" y="11757"/>
                    </a:moveTo>
                    <a:lnTo>
                      <a:pt x="10082" y="11757"/>
                    </a:lnTo>
                    <a:lnTo>
                      <a:pt x="10082" y="12116"/>
                    </a:lnTo>
                    <a:lnTo>
                      <a:pt x="9723" y="12116"/>
                    </a:lnTo>
                    <a:lnTo>
                      <a:pt x="9723" y="11757"/>
                    </a:lnTo>
                    <a:close/>
                    <a:moveTo>
                      <a:pt x="10262" y="10595"/>
                    </a:moveTo>
                    <a:lnTo>
                      <a:pt x="10621" y="10595"/>
                    </a:lnTo>
                    <a:lnTo>
                      <a:pt x="10621" y="10955"/>
                    </a:lnTo>
                    <a:lnTo>
                      <a:pt x="10262" y="10955"/>
                    </a:lnTo>
                    <a:lnTo>
                      <a:pt x="10262" y="10595"/>
                    </a:lnTo>
                    <a:close/>
                    <a:moveTo>
                      <a:pt x="9184" y="10595"/>
                    </a:moveTo>
                    <a:lnTo>
                      <a:pt x="9543" y="10595"/>
                    </a:lnTo>
                    <a:lnTo>
                      <a:pt x="9543" y="10955"/>
                    </a:lnTo>
                    <a:lnTo>
                      <a:pt x="9184" y="10955"/>
                    </a:lnTo>
                    <a:lnTo>
                      <a:pt x="9184" y="10595"/>
                    </a:lnTo>
                    <a:close/>
                    <a:moveTo>
                      <a:pt x="10262" y="10014"/>
                    </a:moveTo>
                    <a:lnTo>
                      <a:pt x="10621" y="10014"/>
                    </a:lnTo>
                    <a:lnTo>
                      <a:pt x="10621" y="10374"/>
                    </a:lnTo>
                    <a:lnTo>
                      <a:pt x="10262" y="10374"/>
                    </a:lnTo>
                    <a:lnTo>
                      <a:pt x="10262" y="10014"/>
                    </a:lnTo>
                    <a:close/>
                    <a:moveTo>
                      <a:pt x="8645" y="10014"/>
                    </a:moveTo>
                    <a:lnTo>
                      <a:pt x="9004" y="10014"/>
                    </a:lnTo>
                    <a:lnTo>
                      <a:pt x="9004" y="10374"/>
                    </a:lnTo>
                    <a:lnTo>
                      <a:pt x="8645" y="10374"/>
                    </a:lnTo>
                    <a:lnTo>
                      <a:pt x="8645" y="10014"/>
                    </a:lnTo>
                    <a:close/>
                    <a:moveTo>
                      <a:pt x="10262" y="9434"/>
                    </a:moveTo>
                    <a:lnTo>
                      <a:pt x="10621" y="9434"/>
                    </a:lnTo>
                    <a:lnTo>
                      <a:pt x="10621" y="9792"/>
                    </a:lnTo>
                    <a:lnTo>
                      <a:pt x="10262" y="9792"/>
                    </a:lnTo>
                    <a:lnTo>
                      <a:pt x="10262" y="9434"/>
                    </a:lnTo>
                    <a:close/>
                    <a:moveTo>
                      <a:pt x="9723" y="9434"/>
                    </a:moveTo>
                    <a:lnTo>
                      <a:pt x="10082" y="9434"/>
                    </a:lnTo>
                    <a:lnTo>
                      <a:pt x="10082" y="9792"/>
                    </a:lnTo>
                    <a:lnTo>
                      <a:pt x="9723" y="9792"/>
                    </a:lnTo>
                    <a:lnTo>
                      <a:pt x="9723" y="9434"/>
                    </a:lnTo>
                    <a:close/>
                    <a:moveTo>
                      <a:pt x="9184" y="9434"/>
                    </a:moveTo>
                    <a:lnTo>
                      <a:pt x="9543" y="9434"/>
                    </a:lnTo>
                    <a:lnTo>
                      <a:pt x="9543" y="9792"/>
                    </a:lnTo>
                    <a:lnTo>
                      <a:pt x="9184" y="9792"/>
                    </a:lnTo>
                    <a:lnTo>
                      <a:pt x="9184" y="9434"/>
                    </a:lnTo>
                    <a:close/>
                    <a:moveTo>
                      <a:pt x="9723" y="8272"/>
                    </a:moveTo>
                    <a:lnTo>
                      <a:pt x="10082" y="8272"/>
                    </a:lnTo>
                    <a:lnTo>
                      <a:pt x="10082" y="8631"/>
                    </a:lnTo>
                    <a:lnTo>
                      <a:pt x="9723" y="8631"/>
                    </a:lnTo>
                    <a:lnTo>
                      <a:pt x="9723" y="8272"/>
                    </a:lnTo>
                    <a:close/>
                    <a:moveTo>
                      <a:pt x="9184" y="8272"/>
                    </a:moveTo>
                    <a:lnTo>
                      <a:pt x="9543" y="8272"/>
                    </a:lnTo>
                    <a:lnTo>
                      <a:pt x="9543" y="8631"/>
                    </a:lnTo>
                    <a:lnTo>
                      <a:pt x="9184" y="8631"/>
                    </a:lnTo>
                    <a:lnTo>
                      <a:pt x="9184" y="8272"/>
                    </a:lnTo>
                    <a:close/>
                    <a:moveTo>
                      <a:pt x="8106" y="7691"/>
                    </a:moveTo>
                    <a:lnTo>
                      <a:pt x="8466" y="7691"/>
                    </a:lnTo>
                    <a:lnTo>
                      <a:pt x="8466" y="8050"/>
                    </a:lnTo>
                    <a:lnTo>
                      <a:pt x="8106" y="8050"/>
                    </a:lnTo>
                    <a:lnTo>
                      <a:pt x="8106" y="7691"/>
                    </a:lnTo>
                    <a:close/>
                    <a:moveTo>
                      <a:pt x="10262" y="7110"/>
                    </a:moveTo>
                    <a:lnTo>
                      <a:pt x="10621" y="7110"/>
                    </a:lnTo>
                    <a:lnTo>
                      <a:pt x="10621" y="7469"/>
                    </a:lnTo>
                    <a:lnTo>
                      <a:pt x="10262" y="7469"/>
                    </a:lnTo>
                    <a:lnTo>
                      <a:pt x="10262" y="7110"/>
                    </a:lnTo>
                    <a:close/>
                    <a:moveTo>
                      <a:pt x="8645" y="7110"/>
                    </a:moveTo>
                    <a:lnTo>
                      <a:pt x="9004" y="7110"/>
                    </a:lnTo>
                    <a:lnTo>
                      <a:pt x="9004" y="7469"/>
                    </a:lnTo>
                    <a:lnTo>
                      <a:pt x="8645" y="7469"/>
                    </a:lnTo>
                    <a:lnTo>
                      <a:pt x="8645" y="7110"/>
                    </a:lnTo>
                    <a:close/>
                    <a:moveTo>
                      <a:pt x="8106" y="7110"/>
                    </a:moveTo>
                    <a:lnTo>
                      <a:pt x="8466" y="7110"/>
                    </a:lnTo>
                    <a:lnTo>
                      <a:pt x="8466" y="7469"/>
                    </a:lnTo>
                    <a:lnTo>
                      <a:pt x="8106" y="7469"/>
                    </a:lnTo>
                    <a:lnTo>
                      <a:pt x="8106" y="7110"/>
                    </a:lnTo>
                    <a:close/>
                    <a:moveTo>
                      <a:pt x="10262" y="6529"/>
                    </a:moveTo>
                    <a:lnTo>
                      <a:pt x="10621" y="6529"/>
                    </a:lnTo>
                    <a:lnTo>
                      <a:pt x="10621" y="6888"/>
                    </a:lnTo>
                    <a:lnTo>
                      <a:pt x="10262" y="6888"/>
                    </a:lnTo>
                    <a:lnTo>
                      <a:pt x="10262" y="6529"/>
                    </a:lnTo>
                    <a:close/>
                    <a:moveTo>
                      <a:pt x="9723" y="6529"/>
                    </a:moveTo>
                    <a:lnTo>
                      <a:pt x="10082" y="6529"/>
                    </a:lnTo>
                    <a:lnTo>
                      <a:pt x="10082" y="6888"/>
                    </a:lnTo>
                    <a:lnTo>
                      <a:pt x="9723" y="6888"/>
                    </a:lnTo>
                    <a:lnTo>
                      <a:pt x="9723" y="6529"/>
                    </a:lnTo>
                    <a:close/>
                    <a:moveTo>
                      <a:pt x="8645" y="6529"/>
                    </a:moveTo>
                    <a:lnTo>
                      <a:pt x="9004" y="6529"/>
                    </a:lnTo>
                    <a:lnTo>
                      <a:pt x="9004" y="6888"/>
                    </a:lnTo>
                    <a:lnTo>
                      <a:pt x="8645" y="6888"/>
                    </a:lnTo>
                    <a:lnTo>
                      <a:pt x="8645" y="6529"/>
                    </a:lnTo>
                    <a:close/>
                    <a:moveTo>
                      <a:pt x="8106" y="6529"/>
                    </a:moveTo>
                    <a:lnTo>
                      <a:pt x="8466" y="6529"/>
                    </a:lnTo>
                    <a:lnTo>
                      <a:pt x="8466" y="6888"/>
                    </a:lnTo>
                    <a:lnTo>
                      <a:pt x="8106" y="6888"/>
                    </a:lnTo>
                    <a:lnTo>
                      <a:pt x="8106" y="6529"/>
                    </a:lnTo>
                    <a:close/>
                    <a:moveTo>
                      <a:pt x="10262" y="5948"/>
                    </a:moveTo>
                    <a:lnTo>
                      <a:pt x="10621" y="5948"/>
                    </a:lnTo>
                    <a:lnTo>
                      <a:pt x="10621" y="6308"/>
                    </a:lnTo>
                    <a:lnTo>
                      <a:pt x="10262" y="6308"/>
                    </a:lnTo>
                    <a:lnTo>
                      <a:pt x="10262" y="5948"/>
                    </a:lnTo>
                    <a:close/>
                    <a:moveTo>
                      <a:pt x="9184" y="5948"/>
                    </a:moveTo>
                    <a:lnTo>
                      <a:pt x="9543" y="5948"/>
                    </a:lnTo>
                    <a:lnTo>
                      <a:pt x="9543" y="6308"/>
                    </a:lnTo>
                    <a:lnTo>
                      <a:pt x="9184" y="6308"/>
                    </a:lnTo>
                    <a:lnTo>
                      <a:pt x="9184" y="5948"/>
                    </a:lnTo>
                    <a:close/>
                    <a:moveTo>
                      <a:pt x="8645" y="5948"/>
                    </a:moveTo>
                    <a:lnTo>
                      <a:pt x="9004" y="5948"/>
                    </a:lnTo>
                    <a:lnTo>
                      <a:pt x="9004" y="6308"/>
                    </a:lnTo>
                    <a:lnTo>
                      <a:pt x="8645" y="6308"/>
                    </a:lnTo>
                    <a:lnTo>
                      <a:pt x="8645" y="5948"/>
                    </a:lnTo>
                    <a:close/>
                    <a:moveTo>
                      <a:pt x="8106" y="5948"/>
                    </a:moveTo>
                    <a:lnTo>
                      <a:pt x="8466" y="5948"/>
                    </a:lnTo>
                    <a:lnTo>
                      <a:pt x="8466" y="6308"/>
                    </a:lnTo>
                    <a:lnTo>
                      <a:pt x="8106" y="6308"/>
                    </a:lnTo>
                    <a:lnTo>
                      <a:pt x="8106" y="5948"/>
                    </a:lnTo>
                    <a:close/>
                    <a:moveTo>
                      <a:pt x="8106" y="4786"/>
                    </a:moveTo>
                    <a:lnTo>
                      <a:pt x="8466" y="4786"/>
                    </a:lnTo>
                    <a:lnTo>
                      <a:pt x="8466" y="5145"/>
                    </a:lnTo>
                    <a:lnTo>
                      <a:pt x="8106" y="5145"/>
                    </a:lnTo>
                    <a:lnTo>
                      <a:pt x="8106" y="4786"/>
                    </a:lnTo>
                    <a:close/>
                    <a:moveTo>
                      <a:pt x="8645" y="4786"/>
                    </a:moveTo>
                    <a:lnTo>
                      <a:pt x="9004" y="4786"/>
                    </a:lnTo>
                    <a:lnTo>
                      <a:pt x="9004" y="5145"/>
                    </a:lnTo>
                    <a:lnTo>
                      <a:pt x="8645" y="5145"/>
                    </a:lnTo>
                    <a:lnTo>
                      <a:pt x="8645" y="4786"/>
                    </a:lnTo>
                    <a:close/>
                    <a:moveTo>
                      <a:pt x="9184" y="4786"/>
                    </a:moveTo>
                    <a:lnTo>
                      <a:pt x="9543" y="4786"/>
                    </a:lnTo>
                    <a:lnTo>
                      <a:pt x="9543" y="5145"/>
                    </a:lnTo>
                    <a:lnTo>
                      <a:pt x="9184" y="5145"/>
                    </a:lnTo>
                    <a:lnTo>
                      <a:pt x="9184" y="4786"/>
                    </a:lnTo>
                    <a:close/>
                    <a:moveTo>
                      <a:pt x="9723" y="4786"/>
                    </a:moveTo>
                    <a:lnTo>
                      <a:pt x="10082" y="4786"/>
                    </a:lnTo>
                    <a:lnTo>
                      <a:pt x="10082" y="5145"/>
                    </a:lnTo>
                    <a:lnTo>
                      <a:pt x="9723" y="5145"/>
                    </a:lnTo>
                    <a:lnTo>
                      <a:pt x="9723" y="4786"/>
                    </a:lnTo>
                    <a:close/>
                    <a:moveTo>
                      <a:pt x="10262" y="4786"/>
                    </a:moveTo>
                    <a:lnTo>
                      <a:pt x="10621" y="4786"/>
                    </a:lnTo>
                    <a:lnTo>
                      <a:pt x="10621" y="5145"/>
                    </a:lnTo>
                    <a:lnTo>
                      <a:pt x="10262" y="5145"/>
                    </a:lnTo>
                    <a:lnTo>
                      <a:pt x="10262" y="4786"/>
                    </a:lnTo>
                    <a:close/>
                    <a:moveTo>
                      <a:pt x="8106" y="3625"/>
                    </a:moveTo>
                    <a:lnTo>
                      <a:pt x="8466" y="3625"/>
                    </a:lnTo>
                    <a:lnTo>
                      <a:pt x="8466" y="3983"/>
                    </a:lnTo>
                    <a:lnTo>
                      <a:pt x="8106" y="3983"/>
                    </a:lnTo>
                    <a:lnTo>
                      <a:pt x="8106" y="3625"/>
                    </a:lnTo>
                    <a:close/>
                    <a:moveTo>
                      <a:pt x="8645" y="3625"/>
                    </a:moveTo>
                    <a:lnTo>
                      <a:pt x="9004" y="3625"/>
                    </a:lnTo>
                    <a:lnTo>
                      <a:pt x="9004" y="3983"/>
                    </a:lnTo>
                    <a:lnTo>
                      <a:pt x="8645" y="3983"/>
                    </a:lnTo>
                    <a:lnTo>
                      <a:pt x="8645" y="3625"/>
                    </a:lnTo>
                    <a:close/>
                    <a:moveTo>
                      <a:pt x="9184" y="3625"/>
                    </a:moveTo>
                    <a:lnTo>
                      <a:pt x="9543" y="3625"/>
                    </a:lnTo>
                    <a:lnTo>
                      <a:pt x="9543" y="3983"/>
                    </a:lnTo>
                    <a:lnTo>
                      <a:pt x="9184" y="3983"/>
                    </a:lnTo>
                    <a:lnTo>
                      <a:pt x="9184" y="3625"/>
                    </a:lnTo>
                    <a:close/>
                    <a:moveTo>
                      <a:pt x="9723" y="3625"/>
                    </a:moveTo>
                    <a:lnTo>
                      <a:pt x="10082" y="3625"/>
                    </a:lnTo>
                    <a:lnTo>
                      <a:pt x="10082" y="3983"/>
                    </a:lnTo>
                    <a:lnTo>
                      <a:pt x="9723" y="3983"/>
                    </a:lnTo>
                    <a:lnTo>
                      <a:pt x="9723" y="3625"/>
                    </a:lnTo>
                    <a:close/>
                    <a:moveTo>
                      <a:pt x="8645" y="2462"/>
                    </a:moveTo>
                    <a:lnTo>
                      <a:pt x="9004" y="2462"/>
                    </a:lnTo>
                    <a:lnTo>
                      <a:pt x="9004" y="2822"/>
                    </a:lnTo>
                    <a:lnTo>
                      <a:pt x="8645" y="2822"/>
                    </a:lnTo>
                    <a:lnTo>
                      <a:pt x="8645" y="2462"/>
                    </a:lnTo>
                    <a:close/>
                    <a:moveTo>
                      <a:pt x="9184" y="2462"/>
                    </a:moveTo>
                    <a:lnTo>
                      <a:pt x="9543" y="2462"/>
                    </a:lnTo>
                    <a:lnTo>
                      <a:pt x="9543" y="2822"/>
                    </a:lnTo>
                    <a:lnTo>
                      <a:pt x="9184" y="2822"/>
                    </a:lnTo>
                    <a:lnTo>
                      <a:pt x="9184" y="2462"/>
                    </a:lnTo>
                    <a:close/>
                    <a:moveTo>
                      <a:pt x="9723" y="2462"/>
                    </a:moveTo>
                    <a:lnTo>
                      <a:pt x="10082" y="2462"/>
                    </a:lnTo>
                    <a:lnTo>
                      <a:pt x="10082" y="2822"/>
                    </a:lnTo>
                    <a:lnTo>
                      <a:pt x="9723" y="2822"/>
                    </a:lnTo>
                    <a:lnTo>
                      <a:pt x="9723" y="2462"/>
                    </a:lnTo>
                    <a:close/>
                    <a:moveTo>
                      <a:pt x="10262" y="2462"/>
                    </a:moveTo>
                    <a:lnTo>
                      <a:pt x="10621" y="2462"/>
                    </a:lnTo>
                    <a:lnTo>
                      <a:pt x="10621" y="2822"/>
                    </a:lnTo>
                    <a:lnTo>
                      <a:pt x="10262" y="2822"/>
                    </a:lnTo>
                    <a:lnTo>
                      <a:pt x="10262" y="2462"/>
                    </a:lnTo>
                    <a:close/>
                    <a:moveTo>
                      <a:pt x="10262" y="3625"/>
                    </a:moveTo>
                    <a:lnTo>
                      <a:pt x="10621" y="3625"/>
                    </a:lnTo>
                    <a:lnTo>
                      <a:pt x="10621" y="3983"/>
                    </a:lnTo>
                    <a:lnTo>
                      <a:pt x="10262" y="3983"/>
                    </a:lnTo>
                    <a:lnTo>
                      <a:pt x="10262" y="3625"/>
                    </a:lnTo>
                    <a:close/>
                    <a:moveTo>
                      <a:pt x="12206" y="2374"/>
                    </a:moveTo>
                    <a:lnTo>
                      <a:pt x="12565" y="2374"/>
                    </a:lnTo>
                    <a:lnTo>
                      <a:pt x="12565" y="2732"/>
                    </a:lnTo>
                    <a:lnTo>
                      <a:pt x="12206" y="2732"/>
                    </a:lnTo>
                    <a:lnTo>
                      <a:pt x="12206" y="2374"/>
                    </a:lnTo>
                    <a:close/>
                    <a:moveTo>
                      <a:pt x="12206" y="7602"/>
                    </a:moveTo>
                    <a:lnTo>
                      <a:pt x="12458" y="7602"/>
                    </a:lnTo>
                    <a:lnTo>
                      <a:pt x="12565" y="7602"/>
                    </a:lnTo>
                    <a:lnTo>
                      <a:pt x="14721" y="7602"/>
                    </a:lnTo>
                    <a:lnTo>
                      <a:pt x="14721" y="7960"/>
                    </a:lnTo>
                    <a:lnTo>
                      <a:pt x="12565" y="7960"/>
                    </a:lnTo>
                    <a:lnTo>
                      <a:pt x="12458" y="7960"/>
                    </a:lnTo>
                    <a:lnTo>
                      <a:pt x="12206" y="7960"/>
                    </a:lnTo>
                    <a:lnTo>
                      <a:pt x="12206" y="7602"/>
                    </a:lnTo>
                    <a:close/>
                    <a:moveTo>
                      <a:pt x="12206" y="5277"/>
                    </a:moveTo>
                    <a:lnTo>
                      <a:pt x="12368" y="5277"/>
                    </a:lnTo>
                    <a:lnTo>
                      <a:pt x="12565" y="5277"/>
                    </a:lnTo>
                    <a:lnTo>
                      <a:pt x="14721" y="5277"/>
                    </a:lnTo>
                    <a:lnTo>
                      <a:pt x="14721" y="5637"/>
                    </a:lnTo>
                    <a:lnTo>
                      <a:pt x="12565" y="5637"/>
                    </a:lnTo>
                    <a:lnTo>
                      <a:pt x="12368" y="5637"/>
                    </a:lnTo>
                    <a:lnTo>
                      <a:pt x="12206" y="5637"/>
                    </a:lnTo>
                    <a:lnTo>
                      <a:pt x="12206" y="5277"/>
                    </a:lnTo>
                    <a:close/>
                    <a:moveTo>
                      <a:pt x="12206" y="4116"/>
                    </a:moveTo>
                    <a:lnTo>
                      <a:pt x="12458" y="4116"/>
                    </a:lnTo>
                    <a:lnTo>
                      <a:pt x="12565" y="4116"/>
                    </a:lnTo>
                    <a:lnTo>
                      <a:pt x="14721" y="4116"/>
                    </a:lnTo>
                    <a:lnTo>
                      <a:pt x="14721" y="4475"/>
                    </a:lnTo>
                    <a:lnTo>
                      <a:pt x="12565" y="4475"/>
                    </a:lnTo>
                    <a:lnTo>
                      <a:pt x="12458" y="4475"/>
                    </a:lnTo>
                    <a:lnTo>
                      <a:pt x="12206" y="4475"/>
                    </a:lnTo>
                    <a:lnTo>
                      <a:pt x="12206" y="4116"/>
                    </a:lnTo>
                    <a:close/>
                    <a:moveTo>
                      <a:pt x="13822" y="8182"/>
                    </a:moveTo>
                    <a:lnTo>
                      <a:pt x="14182" y="8182"/>
                    </a:lnTo>
                    <a:lnTo>
                      <a:pt x="14182" y="8542"/>
                    </a:lnTo>
                    <a:lnTo>
                      <a:pt x="13822" y="8542"/>
                    </a:lnTo>
                    <a:lnTo>
                      <a:pt x="13822" y="8182"/>
                    </a:lnTo>
                    <a:close/>
                    <a:moveTo>
                      <a:pt x="12745" y="8182"/>
                    </a:moveTo>
                    <a:lnTo>
                      <a:pt x="13104" y="8182"/>
                    </a:lnTo>
                    <a:lnTo>
                      <a:pt x="13104" y="8542"/>
                    </a:lnTo>
                    <a:lnTo>
                      <a:pt x="12745" y="8542"/>
                    </a:lnTo>
                    <a:lnTo>
                      <a:pt x="12745" y="8182"/>
                    </a:lnTo>
                    <a:close/>
                    <a:moveTo>
                      <a:pt x="12206" y="8182"/>
                    </a:moveTo>
                    <a:lnTo>
                      <a:pt x="12565" y="8182"/>
                    </a:lnTo>
                    <a:lnTo>
                      <a:pt x="12565" y="8542"/>
                    </a:lnTo>
                    <a:lnTo>
                      <a:pt x="12206" y="8542"/>
                    </a:lnTo>
                    <a:lnTo>
                      <a:pt x="12206" y="8182"/>
                    </a:lnTo>
                    <a:close/>
                    <a:moveTo>
                      <a:pt x="13284" y="7021"/>
                    </a:moveTo>
                    <a:lnTo>
                      <a:pt x="13643" y="7021"/>
                    </a:lnTo>
                    <a:lnTo>
                      <a:pt x="13643" y="7379"/>
                    </a:lnTo>
                    <a:lnTo>
                      <a:pt x="13284" y="7379"/>
                    </a:lnTo>
                    <a:lnTo>
                      <a:pt x="13284" y="7021"/>
                    </a:lnTo>
                    <a:close/>
                    <a:moveTo>
                      <a:pt x="12745" y="7021"/>
                    </a:moveTo>
                    <a:lnTo>
                      <a:pt x="13104" y="7021"/>
                    </a:lnTo>
                    <a:lnTo>
                      <a:pt x="13104" y="7379"/>
                    </a:lnTo>
                    <a:lnTo>
                      <a:pt x="12745" y="7379"/>
                    </a:lnTo>
                    <a:lnTo>
                      <a:pt x="12745" y="7021"/>
                    </a:lnTo>
                    <a:close/>
                    <a:moveTo>
                      <a:pt x="12206" y="7021"/>
                    </a:moveTo>
                    <a:lnTo>
                      <a:pt x="12565" y="7021"/>
                    </a:lnTo>
                    <a:lnTo>
                      <a:pt x="12565" y="7379"/>
                    </a:lnTo>
                    <a:lnTo>
                      <a:pt x="12206" y="7379"/>
                    </a:lnTo>
                    <a:lnTo>
                      <a:pt x="12206" y="7021"/>
                    </a:lnTo>
                    <a:close/>
                    <a:moveTo>
                      <a:pt x="14362" y="6440"/>
                    </a:moveTo>
                    <a:lnTo>
                      <a:pt x="14721" y="6440"/>
                    </a:lnTo>
                    <a:lnTo>
                      <a:pt x="14721" y="6799"/>
                    </a:lnTo>
                    <a:lnTo>
                      <a:pt x="14362" y="6799"/>
                    </a:lnTo>
                    <a:lnTo>
                      <a:pt x="14362" y="6440"/>
                    </a:lnTo>
                    <a:close/>
                    <a:moveTo>
                      <a:pt x="13822" y="6440"/>
                    </a:moveTo>
                    <a:lnTo>
                      <a:pt x="14182" y="6440"/>
                    </a:lnTo>
                    <a:lnTo>
                      <a:pt x="14182" y="6799"/>
                    </a:lnTo>
                    <a:lnTo>
                      <a:pt x="13822" y="6799"/>
                    </a:lnTo>
                    <a:lnTo>
                      <a:pt x="13822" y="6440"/>
                    </a:lnTo>
                    <a:close/>
                    <a:moveTo>
                      <a:pt x="12745" y="6440"/>
                    </a:moveTo>
                    <a:lnTo>
                      <a:pt x="13104" y="6440"/>
                    </a:lnTo>
                    <a:lnTo>
                      <a:pt x="13104" y="6799"/>
                    </a:lnTo>
                    <a:lnTo>
                      <a:pt x="12745" y="6799"/>
                    </a:lnTo>
                    <a:lnTo>
                      <a:pt x="12745" y="6440"/>
                    </a:lnTo>
                    <a:close/>
                    <a:moveTo>
                      <a:pt x="12206" y="6440"/>
                    </a:moveTo>
                    <a:lnTo>
                      <a:pt x="12565" y="6440"/>
                    </a:lnTo>
                    <a:lnTo>
                      <a:pt x="12565" y="6799"/>
                    </a:lnTo>
                    <a:lnTo>
                      <a:pt x="12206" y="6799"/>
                    </a:lnTo>
                    <a:lnTo>
                      <a:pt x="12206" y="6440"/>
                    </a:lnTo>
                    <a:close/>
                    <a:moveTo>
                      <a:pt x="13822" y="5859"/>
                    </a:moveTo>
                    <a:lnTo>
                      <a:pt x="14182" y="5859"/>
                    </a:lnTo>
                    <a:lnTo>
                      <a:pt x="14182" y="6218"/>
                    </a:lnTo>
                    <a:lnTo>
                      <a:pt x="13822" y="6218"/>
                    </a:lnTo>
                    <a:lnTo>
                      <a:pt x="13822" y="5859"/>
                    </a:lnTo>
                    <a:close/>
                    <a:moveTo>
                      <a:pt x="13284" y="5859"/>
                    </a:moveTo>
                    <a:lnTo>
                      <a:pt x="13643" y="5859"/>
                    </a:lnTo>
                    <a:lnTo>
                      <a:pt x="13643" y="6218"/>
                    </a:lnTo>
                    <a:lnTo>
                      <a:pt x="13284" y="6218"/>
                    </a:lnTo>
                    <a:lnTo>
                      <a:pt x="13284" y="5859"/>
                    </a:lnTo>
                    <a:close/>
                    <a:moveTo>
                      <a:pt x="12206" y="5859"/>
                    </a:moveTo>
                    <a:lnTo>
                      <a:pt x="12565" y="5859"/>
                    </a:lnTo>
                    <a:lnTo>
                      <a:pt x="12565" y="6218"/>
                    </a:lnTo>
                    <a:lnTo>
                      <a:pt x="12206" y="6218"/>
                    </a:lnTo>
                    <a:lnTo>
                      <a:pt x="12206" y="5859"/>
                    </a:lnTo>
                    <a:close/>
                    <a:moveTo>
                      <a:pt x="13822" y="4697"/>
                    </a:moveTo>
                    <a:lnTo>
                      <a:pt x="14182" y="4697"/>
                    </a:lnTo>
                    <a:lnTo>
                      <a:pt x="14182" y="5056"/>
                    </a:lnTo>
                    <a:lnTo>
                      <a:pt x="13822" y="5056"/>
                    </a:lnTo>
                    <a:lnTo>
                      <a:pt x="13822" y="4697"/>
                    </a:lnTo>
                    <a:close/>
                    <a:moveTo>
                      <a:pt x="13284" y="4697"/>
                    </a:moveTo>
                    <a:lnTo>
                      <a:pt x="13643" y="4697"/>
                    </a:lnTo>
                    <a:lnTo>
                      <a:pt x="13643" y="5056"/>
                    </a:lnTo>
                    <a:lnTo>
                      <a:pt x="13284" y="5056"/>
                    </a:lnTo>
                    <a:lnTo>
                      <a:pt x="13284" y="4697"/>
                    </a:lnTo>
                    <a:close/>
                    <a:moveTo>
                      <a:pt x="12745" y="4697"/>
                    </a:moveTo>
                    <a:lnTo>
                      <a:pt x="13104" y="4697"/>
                    </a:lnTo>
                    <a:lnTo>
                      <a:pt x="13104" y="5056"/>
                    </a:lnTo>
                    <a:lnTo>
                      <a:pt x="12745" y="5056"/>
                    </a:lnTo>
                    <a:lnTo>
                      <a:pt x="12745" y="4697"/>
                    </a:lnTo>
                    <a:close/>
                    <a:moveTo>
                      <a:pt x="12206" y="4697"/>
                    </a:moveTo>
                    <a:lnTo>
                      <a:pt x="12565" y="4697"/>
                    </a:lnTo>
                    <a:lnTo>
                      <a:pt x="12565" y="5056"/>
                    </a:lnTo>
                    <a:lnTo>
                      <a:pt x="12206" y="5056"/>
                    </a:lnTo>
                    <a:lnTo>
                      <a:pt x="12206" y="4697"/>
                    </a:lnTo>
                    <a:close/>
                    <a:moveTo>
                      <a:pt x="14362" y="3535"/>
                    </a:moveTo>
                    <a:lnTo>
                      <a:pt x="14721" y="3535"/>
                    </a:lnTo>
                    <a:lnTo>
                      <a:pt x="14721" y="3895"/>
                    </a:lnTo>
                    <a:lnTo>
                      <a:pt x="14362" y="3895"/>
                    </a:lnTo>
                    <a:lnTo>
                      <a:pt x="14362" y="3535"/>
                    </a:lnTo>
                    <a:close/>
                    <a:moveTo>
                      <a:pt x="13822" y="3535"/>
                    </a:moveTo>
                    <a:lnTo>
                      <a:pt x="14182" y="3535"/>
                    </a:lnTo>
                    <a:lnTo>
                      <a:pt x="14182" y="3895"/>
                    </a:lnTo>
                    <a:lnTo>
                      <a:pt x="13822" y="3895"/>
                    </a:lnTo>
                    <a:lnTo>
                      <a:pt x="13822" y="3535"/>
                    </a:lnTo>
                    <a:close/>
                    <a:moveTo>
                      <a:pt x="13284" y="3535"/>
                    </a:moveTo>
                    <a:lnTo>
                      <a:pt x="13643" y="3535"/>
                    </a:lnTo>
                    <a:lnTo>
                      <a:pt x="13643" y="3895"/>
                    </a:lnTo>
                    <a:lnTo>
                      <a:pt x="13284" y="3895"/>
                    </a:lnTo>
                    <a:lnTo>
                      <a:pt x="13284" y="3535"/>
                    </a:lnTo>
                    <a:close/>
                    <a:moveTo>
                      <a:pt x="12745" y="3535"/>
                    </a:moveTo>
                    <a:lnTo>
                      <a:pt x="13104" y="3535"/>
                    </a:lnTo>
                    <a:lnTo>
                      <a:pt x="13104" y="3895"/>
                    </a:lnTo>
                    <a:lnTo>
                      <a:pt x="12745" y="3895"/>
                    </a:lnTo>
                    <a:lnTo>
                      <a:pt x="12745" y="3535"/>
                    </a:lnTo>
                    <a:close/>
                    <a:moveTo>
                      <a:pt x="12206" y="3535"/>
                    </a:moveTo>
                    <a:lnTo>
                      <a:pt x="12565" y="3535"/>
                    </a:lnTo>
                    <a:lnTo>
                      <a:pt x="12565" y="3895"/>
                    </a:lnTo>
                    <a:lnTo>
                      <a:pt x="12206" y="3895"/>
                    </a:lnTo>
                    <a:lnTo>
                      <a:pt x="12206" y="3535"/>
                    </a:lnTo>
                    <a:close/>
                    <a:moveTo>
                      <a:pt x="14362" y="2374"/>
                    </a:moveTo>
                    <a:lnTo>
                      <a:pt x="14721" y="2374"/>
                    </a:lnTo>
                    <a:lnTo>
                      <a:pt x="14721" y="2732"/>
                    </a:lnTo>
                    <a:lnTo>
                      <a:pt x="14362" y="2732"/>
                    </a:lnTo>
                    <a:lnTo>
                      <a:pt x="14362" y="2374"/>
                    </a:lnTo>
                    <a:close/>
                    <a:moveTo>
                      <a:pt x="13822" y="2374"/>
                    </a:moveTo>
                    <a:lnTo>
                      <a:pt x="14182" y="2374"/>
                    </a:lnTo>
                    <a:lnTo>
                      <a:pt x="14182" y="2732"/>
                    </a:lnTo>
                    <a:lnTo>
                      <a:pt x="13822" y="2732"/>
                    </a:lnTo>
                    <a:lnTo>
                      <a:pt x="13822" y="2374"/>
                    </a:lnTo>
                    <a:close/>
                    <a:moveTo>
                      <a:pt x="13284" y="2374"/>
                    </a:moveTo>
                    <a:lnTo>
                      <a:pt x="13643" y="2374"/>
                    </a:lnTo>
                    <a:lnTo>
                      <a:pt x="13643" y="2732"/>
                    </a:lnTo>
                    <a:lnTo>
                      <a:pt x="13284" y="2732"/>
                    </a:lnTo>
                    <a:lnTo>
                      <a:pt x="13284" y="2374"/>
                    </a:lnTo>
                    <a:close/>
                    <a:moveTo>
                      <a:pt x="12745" y="2374"/>
                    </a:moveTo>
                    <a:lnTo>
                      <a:pt x="13104" y="2374"/>
                    </a:lnTo>
                    <a:lnTo>
                      <a:pt x="13104" y="2732"/>
                    </a:lnTo>
                    <a:lnTo>
                      <a:pt x="12745" y="2732"/>
                    </a:lnTo>
                    <a:lnTo>
                      <a:pt x="12745" y="2374"/>
                    </a:lnTo>
                    <a:close/>
                    <a:moveTo>
                      <a:pt x="5912" y="8673"/>
                    </a:moveTo>
                    <a:lnTo>
                      <a:pt x="6271" y="8673"/>
                    </a:lnTo>
                    <a:lnTo>
                      <a:pt x="6271" y="9033"/>
                    </a:lnTo>
                    <a:lnTo>
                      <a:pt x="5912" y="9033"/>
                    </a:lnTo>
                    <a:lnTo>
                      <a:pt x="5912" y="8673"/>
                    </a:lnTo>
                    <a:close/>
                    <a:moveTo>
                      <a:pt x="6990" y="10819"/>
                    </a:moveTo>
                    <a:lnTo>
                      <a:pt x="7349" y="10819"/>
                    </a:lnTo>
                    <a:lnTo>
                      <a:pt x="7349" y="11178"/>
                    </a:lnTo>
                    <a:lnTo>
                      <a:pt x="6990" y="11178"/>
                    </a:lnTo>
                    <a:lnTo>
                      <a:pt x="6990" y="10819"/>
                    </a:lnTo>
                    <a:close/>
                    <a:moveTo>
                      <a:pt x="6451" y="10819"/>
                    </a:moveTo>
                    <a:lnTo>
                      <a:pt x="6810" y="10819"/>
                    </a:lnTo>
                    <a:lnTo>
                      <a:pt x="6810" y="11178"/>
                    </a:lnTo>
                    <a:lnTo>
                      <a:pt x="6451" y="11178"/>
                    </a:lnTo>
                    <a:lnTo>
                      <a:pt x="6451" y="10819"/>
                    </a:lnTo>
                    <a:close/>
                    <a:moveTo>
                      <a:pt x="5912" y="10819"/>
                    </a:moveTo>
                    <a:lnTo>
                      <a:pt x="6271" y="10819"/>
                    </a:lnTo>
                    <a:lnTo>
                      <a:pt x="6271" y="11178"/>
                    </a:lnTo>
                    <a:lnTo>
                      <a:pt x="5912" y="11178"/>
                    </a:lnTo>
                    <a:lnTo>
                      <a:pt x="5912" y="10819"/>
                    </a:lnTo>
                    <a:close/>
                    <a:moveTo>
                      <a:pt x="6990" y="9746"/>
                    </a:moveTo>
                    <a:lnTo>
                      <a:pt x="7349" y="9746"/>
                    </a:lnTo>
                    <a:lnTo>
                      <a:pt x="7349" y="10106"/>
                    </a:lnTo>
                    <a:lnTo>
                      <a:pt x="6990" y="10106"/>
                    </a:lnTo>
                    <a:lnTo>
                      <a:pt x="6990" y="9746"/>
                    </a:lnTo>
                    <a:close/>
                    <a:moveTo>
                      <a:pt x="6451" y="9746"/>
                    </a:moveTo>
                    <a:lnTo>
                      <a:pt x="6810" y="9746"/>
                    </a:lnTo>
                    <a:lnTo>
                      <a:pt x="6810" y="10106"/>
                    </a:lnTo>
                    <a:lnTo>
                      <a:pt x="6451" y="10106"/>
                    </a:lnTo>
                    <a:lnTo>
                      <a:pt x="6451" y="9746"/>
                    </a:lnTo>
                    <a:close/>
                    <a:moveTo>
                      <a:pt x="5912" y="9746"/>
                    </a:moveTo>
                    <a:lnTo>
                      <a:pt x="6271" y="9746"/>
                    </a:lnTo>
                    <a:lnTo>
                      <a:pt x="6271" y="10106"/>
                    </a:lnTo>
                    <a:lnTo>
                      <a:pt x="5912" y="10106"/>
                    </a:lnTo>
                    <a:lnTo>
                      <a:pt x="5912" y="9746"/>
                    </a:lnTo>
                    <a:close/>
                    <a:moveTo>
                      <a:pt x="6990" y="8673"/>
                    </a:moveTo>
                    <a:lnTo>
                      <a:pt x="7349" y="8673"/>
                    </a:lnTo>
                    <a:lnTo>
                      <a:pt x="7349" y="9033"/>
                    </a:lnTo>
                    <a:lnTo>
                      <a:pt x="6990" y="9033"/>
                    </a:lnTo>
                    <a:lnTo>
                      <a:pt x="6990" y="8673"/>
                    </a:lnTo>
                    <a:close/>
                    <a:moveTo>
                      <a:pt x="6451" y="8673"/>
                    </a:moveTo>
                    <a:lnTo>
                      <a:pt x="6810" y="8673"/>
                    </a:lnTo>
                    <a:lnTo>
                      <a:pt x="6810" y="9033"/>
                    </a:lnTo>
                    <a:lnTo>
                      <a:pt x="6451" y="9033"/>
                    </a:lnTo>
                    <a:lnTo>
                      <a:pt x="6451" y="8673"/>
                    </a:lnTo>
                    <a:close/>
                    <a:moveTo>
                      <a:pt x="3503" y="5233"/>
                    </a:moveTo>
                    <a:lnTo>
                      <a:pt x="3861" y="5233"/>
                    </a:lnTo>
                    <a:lnTo>
                      <a:pt x="3861" y="5593"/>
                    </a:lnTo>
                    <a:lnTo>
                      <a:pt x="3503" y="5593"/>
                    </a:lnTo>
                    <a:lnTo>
                      <a:pt x="3503" y="5233"/>
                    </a:lnTo>
                    <a:close/>
                    <a:moveTo>
                      <a:pt x="1885" y="11489"/>
                    </a:moveTo>
                    <a:lnTo>
                      <a:pt x="3503" y="11489"/>
                    </a:lnTo>
                    <a:lnTo>
                      <a:pt x="3697" y="11489"/>
                    </a:lnTo>
                    <a:lnTo>
                      <a:pt x="3861" y="11489"/>
                    </a:lnTo>
                    <a:lnTo>
                      <a:pt x="3861" y="11848"/>
                    </a:lnTo>
                    <a:lnTo>
                      <a:pt x="3697" y="11848"/>
                    </a:lnTo>
                    <a:lnTo>
                      <a:pt x="3503" y="11848"/>
                    </a:lnTo>
                    <a:lnTo>
                      <a:pt x="1885" y="11848"/>
                    </a:lnTo>
                    <a:lnTo>
                      <a:pt x="1885" y="11489"/>
                    </a:lnTo>
                    <a:close/>
                    <a:moveTo>
                      <a:pt x="1885" y="10238"/>
                    </a:moveTo>
                    <a:lnTo>
                      <a:pt x="3503" y="10238"/>
                    </a:lnTo>
                    <a:lnTo>
                      <a:pt x="3638" y="10238"/>
                    </a:lnTo>
                    <a:lnTo>
                      <a:pt x="3861" y="10238"/>
                    </a:lnTo>
                    <a:lnTo>
                      <a:pt x="3861" y="10597"/>
                    </a:lnTo>
                    <a:lnTo>
                      <a:pt x="3638" y="10597"/>
                    </a:lnTo>
                    <a:lnTo>
                      <a:pt x="3503" y="10597"/>
                    </a:lnTo>
                    <a:lnTo>
                      <a:pt x="1885" y="10597"/>
                    </a:lnTo>
                    <a:lnTo>
                      <a:pt x="1885" y="10238"/>
                    </a:lnTo>
                    <a:close/>
                    <a:moveTo>
                      <a:pt x="2964" y="8361"/>
                    </a:moveTo>
                    <a:lnTo>
                      <a:pt x="3248" y="8361"/>
                    </a:lnTo>
                    <a:lnTo>
                      <a:pt x="3322" y="8361"/>
                    </a:lnTo>
                    <a:lnTo>
                      <a:pt x="3861" y="8361"/>
                    </a:lnTo>
                    <a:lnTo>
                      <a:pt x="3861" y="8720"/>
                    </a:lnTo>
                    <a:lnTo>
                      <a:pt x="3322" y="8720"/>
                    </a:lnTo>
                    <a:lnTo>
                      <a:pt x="3248" y="8720"/>
                    </a:lnTo>
                    <a:lnTo>
                      <a:pt x="2964" y="8720"/>
                    </a:lnTo>
                    <a:lnTo>
                      <a:pt x="2964" y="8361"/>
                    </a:lnTo>
                    <a:close/>
                    <a:moveTo>
                      <a:pt x="1346" y="7736"/>
                    </a:moveTo>
                    <a:lnTo>
                      <a:pt x="1571" y="7736"/>
                    </a:lnTo>
                    <a:lnTo>
                      <a:pt x="1706" y="7736"/>
                    </a:lnTo>
                    <a:lnTo>
                      <a:pt x="2245" y="7736"/>
                    </a:lnTo>
                    <a:lnTo>
                      <a:pt x="2245" y="8094"/>
                    </a:lnTo>
                    <a:lnTo>
                      <a:pt x="1706" y="8094"/>
                    </a:lnTo>
                    <a:lnTo>
                      <a:pt x="1571" y="8094"/>
                    </a:lnTo>
                    <a:lnTo>
                      <a:pt x="1346" y="8094"/>
                    </a:lnTo>
                    <a:lnTo>
                      <a:pt x="1346" y="7736"/>
                    </a:lnTo>
                    <a:close/>
                    <a:moveTo>
                      <a:pt x="1346" y="7110"/>
                    </a:moveTo>
                    <a:lnTo>
                      <a:pt x="3503" y="7110"/>
                    </a:lnTo>
                    <a:lnTo>
                      <a:pt x="3577" y="7110"/>
                    </a:lnTo>
                    <a:lnTo>
                      <a:pt x="3861" y="7110"/>
                    </a:lnTo>
                    <a:lnTo>
                      <a:pt x="3861" y="7469"/>
                    </a:lnTo>
                    <a:lnTo>
                      <a:pt x="3577" y="7469"/>
                    </a:lnTo>
                    <a:lnTo>
                      <a:pt x="3503" y="7469"/>
                    </a:lnTo>
                    <a:lnTo>
                      <a:pt x="1346" y="7469"/>
                    </a:lnTo>
                    <a:lnTo>
                      <a:pt x="1346" y="7110"/>
                    </a:lnTo>
                    <a:close/>
                    <a:moveTo>
                      <a:pt x="1346" y="5233"/>
                    </a:moveTo>
                    <a:lnTo>
                      <a:pt x="1705" y="5233"/>
                    </a:lnTo>
                    <a:lnTo>
                      <a:pt x="1705" y="5593"/>
                    </a:lnTo>
                    <a:lnTo>
                      <a:pt x="1346" y="5593"/>
                    </a:lnTo>
                    <a:lnTo>
                      <a:pt x="1346" y="5233"/>
                    </a:lnTo>
                    <a:close/>
                    <a:moveTo>
                      <a:pt x="1720" y="5233"/>
                    </a:moveTo>
                    <a:lnTo>
                      <a:pt x="1727" y="5233"/>
                    </a:lnTo>
                    <a:lnTo>
                      <a:pt x="1773" y="5233"/>
                    </a:lnTo>
                    <a:lnTo>
                      <a:pt x="1777" y="5233"/>
                    </a:lnTo>
                    <a:lnTo>
                      <a:pt x="1932" y="5233"/>
                    </a:lnTo>
                    <a:lnTo>
                      <a:pt x="2783" y="5233"/>
                    </a:lnTo>
                    <a:lnTo>
                      <a:pt x="2783" y="5593"/>
                    </a:lnTo>
                    <a:lnTo>
                      <a:pt x="1932" y="5593"/>
                    </a:lnTo>
                    <a:lnTo>
                      <a:pt x="1777" y="5593"/>
                    </a:lnTo>
                    <a:lnTo>
                      <a:pt x="1773" y="5593"/>
                    </a:lnTo>
                    <a:lnTo>
                      <a:pt x="1727" y="5593"/>
                    </a:lnTo>
                    <a:lnTo>
                      <a:pt x="1720" y="5593"/>
                    </a:lnTo>
                    <a:lnTo>
                      <a:pt x="1720" y="5233"/>
                    </a:lnTo>
                    <a:close/>
                    <a:moveTo>
                      <a:pt x="3503" y="12740"/>
                    </a:moveTo>
                    <a:lnTo>
                      <a:pt x="3861" y="12740"/>
                    </a:lnTo>
                    <a:lnTo>
                      <a:pt x="3861" y="13100"/>
                    </a:lnTo>
                    <a:lnTo>
                      <a:pt x="3503" y="13100"/>
                    </a:lnTo>
                    <a:lnTo>
                      <a:pt x="3503" y="12740"/>
                    </a:lnTo>
                    <a:close/>
                    <a:moveTo>
                      <a:pt x="2964" y="12740"/>
                    </a:moveTo>
                    <a:lnTo>
                      <a:pt x="3322" y="12740"/>
                    </a:lnTo>
                    <a:lnTo>
                      <a:pt x="3322" y="13100"/>
                    </a:lnTo>
                    <a:lnTo>
                      <a:pt x="2964" y="13100"/>
                    </a:lnTo>
                    <a:lnTo>
                      <a:pt x="2964" y="12740"/>
                    </a:lnTo>
                    <a:close/>
                    <a:moveTo>
                      <a:pt x="2424" y="12740"/>
                    </a:moveTo>
                    <a:lnTo>
                      <a:pt x="2783" y="12740"/>
                    </a:lnTo>
                    <a:lnTo>
                      <a:pt x="2783" y="13100"/>
                    </a:lnTo>
                    <a:lnTo>
                      <a:pt x="2424" y="13100"/>
                    </a:lnTo>
                    <a:lnTo>
                      <a:pt x="2424" y="12740"/>
                    </a:lnTo>
                    <a:close/>
                    <a:moveTo>
                      <a:pt x="1885" y="12740"/>
                    </a:moveTo>
                    <a:lnTo>
                      <a:pt x="2245" y="12740"/>
                    </a:lnTo>
                    <a:lnTo>
                      <a:pt x="2245" y="13100"/>
                    </a:lnTo>
                    <a:lnTo>
                      <a:pt x="1885" y="13100"/>
                    </a:lnTo>
                    <a:lnTo>
                      <a:pt x="1885" y="12740"/>
                    </a:lnTo>
                    <a:close/>
                    <a:moveTo>
                      <a:pt x="1346" y="12740"/>
                    </a:moveTo>
                    <a:lnTo>
                      <a:pt x="1706" y="12740"/>
                    </a:lnTo>
                    <a:lnTo>
                      <a:pt x="1706" y="13100"/>
                    </a:lnTo>
                    <a:lnTo>
                      <a:pt x="1346" y="13100"/>
                    </a:lnTo>
                    <a:lnTo>
                      <a:pt x="1346" y="12740"/>
                    </a:lnTo>
                    <a:close/>
                    <a:moveTo>
                      <a:pt x="2964" y="12115"/>
                    </a:moveTo>
                    <a:lnTo>
                      <a:pt x="3322" y="12115"/>
                    </a:lnTo>
                    <a:lnTo>
                      <a:pt x="3322" y="12473"/>
                    </a:lnTo>
                    <a:lnTo>
                      <a:pt x="2964" y="12473"/>
                    </a:lnTo>
                    <a:lnTo>
                      <a:pt x="2964" y="12115"/>
                    </a:lnTo>
                    <a:close/>
                    <a:moveTo>
                      <a:pt x="1885" y="12115"/>
                    </a:moveTo>
                    <a:lnTo>
                      <a:pt x="2245" y="12115"/>
                    </a:lnTo>
                    <a:lnTo>
                      <a:pt x="2245" y="12473"/>
                    </a:lnTo>
                    <a:lnTo>
                      <a:pt x="1885" y="12473"/>
                    </a:lnTo>
                    <a:lnTo>
                      <a:pt x="1885" y="12115"/>
                    </a:lnTo>
                    <a:close/>
                    <a:moveTo>
                      <a:pt x="1346" y="12115"/>
                    </a:moveTo>
                    <a:lnTo>
                      <a:pt x="1706" y="12115"/>
                    </a:lnTo>
                    <a:lnTo>
                      <a:pt x="1706" y="12473"/>
                    </a:lnTo>
                    <a:lnTo>
                      <a:pt x="1346" y="12473"/>
                    </a:lnTo>
                    <a:lnTo>
                      <a:pt x="1346" y="12115"/>
                    </a:lnTo>
                    <a:close/>
                    <a:moveTo>
                      <a:pt x="3503" y="10863"/>
                    </a:moveTo>
                    <a:lnTo>
                      <a:pt x="3861" y="10863"/>
                    </a:lnTo>
                    <a:lnTo>
                      <a:pt x="3861" y="11223"/>
                    </a:lnTo>
                    <a:lnTo>
                      <a:pt x="3503" y="11223"/>
                    </a:lnTo>
                    <a:lnTo>
                      <a:pt x="3503" y="10863"/>
                    </a:lnTo>
                    <a:close/>
                    <a:moveTo>
                      <a:pt x="2964" y="10863"/>
                    </a:moveTo>
                    <a:lnTo>
                      <a:pt x="3322" y="10863"/>
                    </a:lnTo>
                    <a:lnTo>
                      <a:pt x="3322" y="11223"/>
                    </a:lnTo>
                    <a:lnTo>
                      <a:pt x="2964" y="11223"/>
                    </a:lnTo>
                    <a:lnTo>
                      <a:pt x="2964" y="10863"/>
                    </a:lnTo>
                    <a:close/>
                    <a:moveTo>
                      <a:pt x="2424" y="10863"/>
                    </a:moveTo>
                    <a:lnTo>
                      <a:pt x="2783" y="10863"/>
                    </a:lnTo>
                    <a:lnTo>
                      <a:pt x="2783" y="11223"/>
                    </a:lnTo>
                    <a:lnTo>
                      <a:pt x="2424" y="11223"/>
                    </a:lnTo>
                    <a:lnTo>
                      <a:pt x="2424" y="10863"/>
                    </a:lnTo>
                    <a:close/>
                    <a:moveTo>
                      <a:pt x="1885" y="10863"/>
                    </a:moveTo>
                    <a:lnTo>
                      <a:pt x="2245" y="10863"/>
                    </a:lnTo>
                    <a:lnTo>
                      <a:pt x="2245" y="11223"/>
                    </a:lnTo>
                    <a:lnTo>
                      <a:pt x="1885" y="11223"/>
                    </a:lnTo>
                    <a:lnTo>
                      <a:pt x="1885" y="10863"/>
                    </a:lnTo>
                    <a:close/>
                    <a:moveTo>
                      <a:pt x="1346" y="10863"/>
                    </a:moveTo>
                    <a:lnTo>
                      <a:pt x="1706" y="10863"/>
                    </a:lnTo>
                    <a:lnTo>
                      <a:pt x="1706" y="11223"/>
                    </a:lnTo>
                    <a:lnTo>
                      <a:pt x="1346" y="11223"/>
                    </a:lnTo>
                    <a:lnTo>
                      <a:pt x="1346" y="10863"/>
                    </a:lnTo>
                    <a:close/>
                    <a:moveTo>
                      <a:pt x="3503" y="9612"/>
                    </a:moveTo>
                    <a:lnTo>
                      <a:pt x="3861" y="9612"/>
                    </a:lnTo>
                    <a:lnTo>
                      <a:pt x="3861" y="9972"/>
                    </a:lnTo>
                    <a:lnTo>
                      <a:pt x="3503" y="9972"/>
                    </a:lnTo>
                    <a:lnTo>
                      <a:pt x="3503" y="9612"/>
                    </a:lnTo>
                    <a:close/>
                    <a:moveTo>
                      <a:pt x="2964" y="9612"/>
                    </a:moveTo>
                    <a:lnTo>
                      <a:pt x="3322" y="9612"/>
                    </a:lnTo>
                    <a:lnTo>
                      <a:pt x="3322" y="9972"/>
                    </a:lnTo>
                    <a:lnTo>
                      <a:pt x="2964" y="9972"/>
                    </a:lnTo>
                    <a:lnTo>
                      <a:pt x="2964" y="9612"/>
                    </a:lnTo>
                    <a:close/>
                    <a:moveTo>
                      <a:pt x="2424" y="9612"/>
                    </a:moveTo>
                    <a:lnTo>
                      <a:pt x="2783" y="9612"/>
                    </a:lnTo>
                    <a:lnTo>
                      <a:pt x="2783" y="9972"/>
                    </a:lnTo>
                    <a:lnTo>
                      <a:pt x="2424" y="9972"/>
                    </a:lnTo>
                    <a:lnTo>
                      <a:pt x="2424" y="9612"/>
                    </a:lnTo>
                    <a:close/>
                    <a:moveTo>
                      <a:pt x="1885" y="9612"/>
                    </a:moveTo>
                    <a:lnTo>
                      <a:pt x="2245" y="9612"/>
                    </a:lnTo>
                    <a:lnTo>
                      <a:pt x="2245" y="9972"/>
                    </a:lnTo>
                    <a:lnTo>
                      <a:pt x="1885" y="9972"/>
                    </a:lnTo>
                    <a:lnTo>
                      <a:pt x="1885" y="9612"/>
                    </a:lnTo>
                    <a:close/>
                    <a:moveTo>
                      <a:pt x="1346" y="9612"/>
                    </a:moveTo>
                    <a:lnTo>
                      <a:pt x="1706" y="9612"/>
                    </a:lnTo>
                    <a:lnTo>
                      <a:pt x="1706" y="9972"/>
                    </a:lnTo>
                    <a:lnTo>
                      <a:pt x="1346" y="9972"/>
                    </a:lnTo>
                    <a:lnTo>
                      <a:pt x="1346" y="9612"/>
                    </a:lnTo>
                    <a:close/>
                    <a:moveTo>
                      <a:pt x="3503" y="8987"/>
                    </a:moveTo>
                    <a:lnTo>
                      <a:pt x="3861" y="8987"/>
                    </a:lnTo>
                    <a:lnTo>
                      <a:pt x="3861" y="9346"/>
                    </a:lnTo>
                    <a:lnTo>
                      <a:pt x="3503" y="9346"/>
                    </a:lnTo>
                    <a:lnTo>
                      <a:pt x="3503" y="8987"/>
                    </a:lnTo>
                    <a:close/>
                    <a:moveTo>
                      <a:pt x="1885" y="8987"/>
                    </a:moveTo>
                    <a:lnTo>
                      <a:pt x="2245" y="8987"/>
                    </a:lnTo>
                    <a:lnTo>
                      <a:pt x="2245" y="9346"/>
                    </a:lnTo>
                    <a:lnTo>
                      <a:pt x="1885" y="9346"/>
                    </a:lnTo>
                    <a:lnTo>
                      <a:pt x="1885" y="8987"/>
                    </a:lnTo>
                    <a:close/>
                    <a:moveTo>
                      <a:pt x="1346" y="8987"/>
                    </a:moveTo>
                    <a:lnTo>
                      <a:pt x="1706" y="8987"/>
                    </a:lnTo>
                    <a:lnTo>
                      <a:pt x="1706" y="9346"/>
                    </a:lnTo>
                    <a:lnTo>
                      <a:pt x="1346" y="9346"/>
                    </a:lnTo>
                    <a:lnTo>
                      <a:pt x="1346" y="8987"/>
                    </a:lnTo>
                    <a:close/>
                    <a:moveTo>
                      <a:pt x="2424" y="8361"/>
                    </a:moveTo>
                    <a:lnTo>
                      <a:pt x="2783" y="8361"/>
                    </a:lnTo>
                    <a:lnTo>
                      <a:pt x="2783" y="8720"/>
                    </a:lnTo>
                    <a:lnTo>
                      <a:pt x="2424" y="8720"/>
                    </a:lnTo>
                    <a:lnTo>
                      <a:pt x="2424" y="8361"/>
                    </a:lnTo>
                    <a:close/>
                    <a:moveTo>
                      <a:pt x="1885" y="8361"/>
                    </a:moveTo>
                    <a:lnTo>
                      <a:pt x="2245" y="8361"/>
                    </a:lnTo>
                    <a:lnTo>
                      <a:pt x="2245" y="8720"/>
                    </a:lnTo>
                    <a:lnTo>
                      <a:pt x="1885" y="8720"/>
                    </a:lnTo>
                    <a:lnTo>
                      <a:pt x="1885" y="8361"/>
                    </a:lnTo>
                    <a:close/>
                    <a:moveTo>
                      <a:pt x="1346" y="8361"/>
                    </a:moveTo>
                    <a:lnTo>
                      <a:pt x="1706" y="8361"/>
                    </a:lnTo>
                    <a:lnTo>
                      <a:pt x="1706" y="8720"/>
                    </a:lnTo>
                    <a:lnTo>
                      <a:pt x="1346" y="8720"/>
                    </a:lnTo>
                    <a:lnTo>
                      <a:pt x="1346" y="8361"/>
                    </a:lnTo>
                    <a:close/>
                    <a:moveTo>
                      <a:pt x="3503" y="7736"/>
                    </a:moveTo>
                    <a:lnTo>
                      <a:pt x="3861" y="7736"/>
                    </a:lnTo>
                    <a:lnTo>
                      <a:pt x="3861" y="8094"/>
                    </a:lnTo>
                    <a:lnTo>
                      <a:pt x="3503" y="8094"/>
                    </a:lnTo>
                    <a:lnTo>
                      <a:pt x="3503" y="7736"/>
                    </a:lnTo>
                    <a:close/>
                    <a:moveTo>
                      <a:pt x="2424" y="7736"/>
                    </a:moveTo>
                    <a:lnTo>
                      <a:pt x="2783" y="7736"/>
                    </a:lnTo>
                    <a:lnTo>
                      <a:pt x="2783" y="8094"/>
                    </a:lnTo>
                    <a:lnTo>
                      <a:pt x="2424" y="8094"/>
                    </a:lnTo>
                    <a:lnTo>
                      <a:pt x="2424" y="7736"/>
                    </a:lnTo>
                    <a:close/>
                    <a:moveTo>
                      <a:pt x="3503" y="6484"/>
                    </a:moveTo>
                    <a:lnTo>
                      <a:pt x="3861" y="6484"/>
                    </a:lnTo>
                    <a:lnTo>
                      <a:pt x="3861" y="6844"/>
                    </a:lnTo>
                    <a:lnTo>
                      <a:pt x="3503" y="6844"/>
                    </a:lnTo>
                    <a:lnTo>
                      <a:pt x="3503" y="6484"/>
                    </a:lnTo>
                    <a:close/>
                    <a:moveTo>
                      <a:pt x="2424" y="6484"/>
                    </a:moveTo>
                    <a:lnTo>
                      <a:pt x="2783" y="6484"/>
                    </a:lnTo>
                    <a:lnTo>
                      <a:pt x="2783" y="6844"/>
                    </a:lnTo>
                    <a:lnTo>
                      <a:pt x="2424" y="6844"/>
                    </a:lnTo>
                    <a:lnTo>
                      <a:pt x="2424" y="6484"/>
                    </a:lnTo>
                    <a:close/>
                    <a:moveTo>
                      <a:pt x="1885" y="6484"/>
                    </a:moveTo>
                    <a:lnTo>
                      <a:pt x="2245" y="6484"/>
                    </a:lnTo>
                    <a:lnTo>
                      <a:pt x="2245" y="6844"/>
                    </a:lnTo>
                    <a:lnTo>
                      <a:pt x="1885" y="6844"/>
                    </a:lnTo>
                    <a:lnTo>
                      <a:pt x="1885" y="6484"/>
                    </a:lnTo>
                    <a:close/>
                    <a:moveTo>
                      <a:pt x="1346" y="6484"/>
                    </a:moveTo>
                    <a:lnTo>
                      <a:pt x="1706" y="6484"/>
                    </a:lnTo>
                    <a:lnTo>
                      <a:pt x="1706" y="6844"/>
                    </a:lnTo>
                    <a:lnTo>
                      <a:pt x="1346" y="6844"/>
                    </a:lnTo>
                    <a:lnTo>
                      <a:pt x="1346" y="6484"/>
                    </a:lnTo>
                    <a:close/>
                    <a:moveTo>
                      <a:pt x="3503" y="5859"/>
                    </a:moveTo>
                    <a:lnTo>
                      <a:pt x="3861" y="5859"/>
                    </a:lnTo>
                    <a:lnTo>
                      <a:pt x="3861" y="6218"/>
                    </a:lnTo>
                    <a:lnTo>
                      <a:pt x="3503" y="6218"/>
                    </a:lnTo>
                    <a:lnTo>
                      <a:pt x="3503" y="5859"/>
                    </a:lnTo>
                    <a:close/>
                    <a:moveTo>
                      <a:pt x="2964" y="5859"/>
                    </a:moveTo>
                    <a:lnTo>
                      <a:pt x="3322" y="5859"/>
                    </a:lnTo>
                    <a:lnTo>
                      <a:pt x="3322" y="6218"/>
                    </a:lnTo>
                    <a:lnTo>
                      <a:pt x="2964" y="6218"/>
                    </a:lnTo>
                    <a:lnTo>
                      <a:pt x="2964" y="5859"/>
                    </a:lnTo>
                    <a:close/>
                    <a:moveTo>
                      <a:pt x="2424" y="5859"/>
                    </a:moveTo>
                    <a:lnTo>
                      <a:pt x="2783" y="5859"/>
                    </a:lnTo>
                    <a:lnTo>
                      <a:pt x="2783" y="6218"/>
                    </a:lnTo>
                    <a:lnTo>
                      <a:pt x="2424" y="6218"/>
                    </a:lnTo>
                    <a:lnTo>
                      <a:pt x="2424" y="5859"/>
                    </a:lnTo>
                    <a:close/>
                    <a:moveTo>
                      <a:pt x="1346" y="5859"/>
                    </a:moveTo>
                    <a:lnTo>
                      <a:pt x="1706" y="5859"/>
                    </a:lnTo>
                    <a:lnTo>
                      <a:pt x="1706" y="6218"/>
                    </a:lnTo>
                    <a:lnTo>
                      <a:pt x="1346" y="6218"/>
                    </a:lnTo>
                    <a:lnTo>
                      <a:pt x="1346" y="5859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" name="组合 61"/>
          <p:cNvGrpSpPr/>
          <p:nvPr/>
        </p:nvGrpSpPr>
        <p:grpSpPr>
          <a:xfrm>
            <a:off x="3184742" y="3806816"/>
            <a:ext cx="971747" cy="971747"/>
            <a:chOff x="2465059" y="3807708"/>
            <a:chExt cx="972000" cy="972000"/>
          </a:xfrm>
        </p:grpSpPr>
        <p:grpSp>
          <p:nvGrpSpPr>
            <p:cNvPr id="25" name="组合 248"/>
            <p:cNvGrpSpPr/>
            <p:nvPr/>
          </p:nvGrpSpPr>
          <p:grpSpPr>
            <a:xfrm rot="5400000">
              <a:off x="2627059" y="4095708"/>
              <a:ext cx="648000" cy="396000"/>
              <a:chOff x="3346450" y="4962525"/>
              <a:chExt cx="1174750" cy="692150"/>
            </a:xfrm>
            <a:noFill/>
          </p:grpSpPr>
          <p:sp>
            <p:nvSpPr>
              <p:cNvPr id="26" name="Freeform 36"/>
              <p:cNvSpPr>
                <a:spLocks/>
              </p:cNvSpPr>
              <p:nvPr/>
            </p:nvSpPr>
            <p:spPr bwMode="auto">
              <a:xfrm>
                <a:off x="4051300" y="5160963"/>
                <a:ext cx="304800" cy="293687"/>
              </a:xfrm>
              <a:custGeom>
                <a:avLst/>
                <a:gdLst/>
                <a:ahLst/>
                <a:cxnLst>
                  <a:cxn ang="0">
                    <a:pos x="2116" y="4069"/>
                  </a:cxn>
                  <a:cxn ang="0">
                    <a:pos x="1302" y="3906"/>
                  </a:cxn>
                  <a:cxn ang="0">
                    <a:pos x="651" y="3418"/>
                  </a:cxn>
                  <a:cxn ang="0">
                    <a:pos x="163" y="2767"/>
                  </a:cxn>
                  <a:cxn ang="0">
                    <a:pos x="0" y="1953"/>
                  </a:cxn>
                  <a:cxn ang="0">
                    <a:pos x="163" y="1140"/>
                  </a:cxn>
                  <a:cxn ang="0">
                    <a:pos x="651" y="489"/>
                  </a:cxn>
                  <a:cxn ang="0">
                    <a:pos x="1302" y="163"/>
                  </a:cxn>
                  <a:cxn ang="0">
                    <a:pos x="2116" y="0"/>
                  </a:cxn>
                  <a:cxn ang="0">
                    <a:pos x="2930" y="163"/>
                  </a:cxn>
                  <a:cxn ang="0">
                    <a:pos x="3582" y="489"/>
                  </a:cxn>
                  <a:cxn ang="0">
                    <a:pos x="4070" y="1140"/>
                  </a:cxn>
                  <a:cxn ang="0">
                    <a:pos x="4233" y="1953"/>
                  </a:cxn>
                  <a:cxn ang="0">
                    <a:pos x="4070" y="2767"/>
                  </a:cxn>
                  <a:cxn ang="0">
                    <a:pos x="3582" y="3418"/>
                  </a:cxn>
                  <a:cxn ang="0">
                    <a:pos x="2930" y="3906"/>
                  </a:cxn>
                  <a:cxn ang="0">
                    <a:pos x="2116" y="4069"/>
                  </a:cxn>
                </a:cxnLst>
                <a:rect l="0" t="0" r="r" b="b"/>
                <a:pathLst>
                  <a:path w="4233" h="4069">
                    <a:moveTo>
                      <a:pt x="2116" y="4069"/>
                    </a:moveTo>
                    <a:lnTo>
                      <a:pt x="1302" y="3906"/>
                    </a:lnTo>
                    <a:lnTo>
                      <a:pt x="651" y="3418"/>
                    </a:lnTo>
                    <a:lnTo>
                      <a:pt x="163" y="2767"/>
                    </a:lnTo>
                    <a:lnTo>
                      <a:pt x="0" y="1953"/>
                    </a:lnTo>
                    <a:lnTo>
                      <a:pt x="163" y="1140"/>
                    </a:lnTo>
                    <a:lnTo>
                      <a:pt x="651" y="489"/>
                    </a:lnTo>
                    <a:lnTo>
                      <a:pt x="1302" y="163"/>
                    </a:lnTo>
                    <a:lnTo>
                      <a:pt x="2116" y="0"/>
                    </a:lnTo>
                    <a:lnTo>
                      <a:pt x="2930" y="163"/>
                    </a:lnTo>
                    <a:lnTo>
                      <a:pt x="3582" y="489"/>
                    </a:lnTo>
                    <a:lnTo>
                      <a:pt x="4070" y="1140"/>
                    </a:lnTo>
                    <a:lnTo>
                      <a:pt x="4233" y="1953"/>
                    </a:lnTo>
                    <a:lnTo>
                      <a:pt x="4070" y="2767"/>
                    </a:lnTo>
                    <a:lnTo>
                      <a:pt x="3582" y="3418"/>
                    </a:lnTo>
                    <a:lnTo>
                      <a:pt x="2930" y="3906"/>
                    </a:lnTo>
                    <a:lnTo>
                      <a:pt x="2116" y="406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7" name="Freeform 37"/>
              <p:cNvSpPr>
                <a:spLocks noEditPoints="1"/>
              </p:cNvSpPr>
              <p:nvPr/>
            </p:nvSpPr>
            <p:spPr bwMode="auto">
              <a:xfrm>
                <a:off x="3346450" y="4962525"/>
                <a:ext cx="1174750" cy="692150"/>
              </a:xfrm>
              <a:custGeom>
                <a:avLst/>
                <a:gdLst/>
                <a:ahLst/>
                <a:cxnLst>
                  <a:cxn ang="0">
                    <a:pos x="16117" y="8464"/>
                  </a:cxn>
                  <a:cxn ang="0">
                    <a:pos x="15303" y="9440"/>
                  </a:cxn>
                  <a:cxn ang="0">
                    <a:pos x="1628" y="9603"/>
                  </a:cxn>
                  <a:cxn ang="0">
                    <a:pos x="488" y="9115"/>
                  </a:cxn>
                  <a:cxn ang="0">
                    <a:pos x="0" y="7813"/>
                  </a:cxn>
                  <a:cxn ang="0">
                    <a:pos x="163" y="977"/>
                  </a:cxn>
                  <a:cxn ang="0">
                    <a:pos x="977" y="163"/>
                  </a:cxn>
                  <a:cxn ang="0">
                    <a:pos x="14652" y="0"/>
                  </a:cxn>
                  <a:cxn ang="0">
                    <a:pos x="15792" y="489"/>
                  </a:cxn>
                  <a:cxn ang="0">
                    <a:pos x="16280" y="1791"/>
                  </a:cxn>
                  <a:cxn ang="0">
                    <a:pos x="7489" y="7813"/>
                  </a:cxn>
                  <a:cxn ang="0">
                    <a:pos x="7000" y="8301"/>
                  </a:cxn>
                  <a:cxn ang="0">
                    <a:pos x="1302" y="8138"/>
                  </a:cxn>
                  <a:cxn ang="0">
                    <a:pos x="1302" y="7487"/>
                  </a:cxn>
                  <a:cxn ang="0">
                    <a:pos x="7000" y="7487"/>
                  </a:cxn>
                  <a:cxn ang="0">
                    <a:pos x="7489" y="7813"/>
                  </a:cxn>
                  <a:cxn ang="0">
                    <a:pos x="11233" y="1791"/>
                  </a:cxn>
                  <a:cxn ang="0">
                    <a:pos x="10256" y="2279"/>
                  </a:cxn>
                  <a:cxn ang="0">
                    <a:pos x="9442" y="3093"/>
                  </a:cxn>
                  <a:cxn ang="0">
                    <a:pos x="8954" y="4232"/>
                  </a:cxn>
                  <a:cxn ang="0">
                    <a:pos x="8954" y="5371"/>
                  </a:cxn>
                  <a:cxn ang="0">
                    <a:pos x="9442" y="6511"/>
                  </a:cxn>
                  <a:cxn ang="0">
                    <a:pos x="10256" y="7324"/>
                  </a:cxn>
                  <a:cxn ang="0">
                    <a:pos x="11233" y="7813"/>
                  </a:cxn>
                  <a:cxn ang="0">
                    <a:pos x="12536" y="7813"/>
                  </a:cxn>
                  <a:cxn ang="0">
                    <a:pos x="13512" y="7324"/>
                  </a:cxn>
                  <a:cxn ang="0">
                    <a:pos x="14326" y="6511"/>
                  </a:cxn>
                  <a:cxn ang="0">
                    <a:pos x="14815" y="5371"/>
                  </a:cxn>
                  <a:cxn ang="0">
                    <a:pos x="14815" y="4232"/>
                  </a:cxn>
                  <a:cxn ang="0">
                    <a:pos x="14326" y="3093"/>
                  </a:cxn>
                  <a:cxn ang="0">
                    <a:pos x="13512" y="2279"/>
                  </a:cxn>
                  <a:cxn ang="0">
                    <a:pos x="12536" y="1791"/>
                  </a:cxn>
                  <a:cxn ang="0">
                    <a:pos x="7489" y="1628"/>
                  </a:cxn>
                  <a:cxn ang="0">
                    <a:pos x="7000" y="2116"/>
                  </a:cxn>
                  <a:cxn ang="0">
                    <a:pos x="1302" y="1954"/>
                  </a:cxn>
                  <a:cxn ang="0">
                    <a:pos x="1302" y="1465"/>
                  </a:cxn>
                  <a:cxn ang="0">
                    <a:pos x="7000" y="1302"/>
                  </a:cxn>
                  <a:cxn ang="0">
                    <a:pos x="7489" y="1628"/>
                  </a:cxn>
                  <a:cxn ang="0">
                    <a:pos x="7326" y="4069"/>
                  </a:cxn>
                  <a:cxn ang="0">
                    <a:pos x="1628" y="4232"/>
                  </a:cxn>
                  <a:cxn ang="0">
                    <a:pos x="1302" y="3744"/>
                  </a:cxn>
                  <a:cxn ang="0">
                    <a:pos x="1628" y="3256"/>
                  </a:cxn>
                  <a:cxn ang="0">
                    <a:pos x="7326" y="3418"/>
                  </a:cxn>
                  <a:cxn ang="0">
                    <a:pos x="7489" y="5860"/>
                  </a:cxn>
                  <a:cxn ang="0">
                    <a:pos x="7000" y="6185"/>
                  </a:cxn>
                  <a:cxn ang="0">
                    <a:pos x="1302" y="6022"/>
                  </a:cxn>
                  <a:cxn ang="0">
                    <a:pos x="1302" y="5534"/>
                  </a:cxn>
                  <a:cxn ang="0">
                    <a:pos x="7000" y="5371"/>
                  </a:cxn>
                  <a:cxn ang="0">
                    <a:pos x="7489" y="5860"/>
                  </a:cxn>
                </a:cxnLst>
                <a:rect l="0" t="0" r="r" b="b"/>
                <a:pathLst>
                  <a:path w="16280" h="9603">
                    <a:moveTo>
                      <a:pt x="16280" y="7813"/>
                    </a:moveTo>
                    <a:lnTo>
                      <a:pt x="16117" y="8464"/>
                    </a:lnTo>
                    <a:lnTo>
                      <a:pt x="15792" y="9115"/>
                    </a:lnTo>
                    <a:lnTo>
                      <a:pt x="15303" y="9440"/>
                    </a:lnTo>
                    <a:lnTo>
                      <a:pt x="14652" y="9603"/>
                    </a:lnTo>
                    <a:lnTo>
                      <a:pt x="1628" y="9603"/>
                    </a:lnTo>
                    <a:lnTo>
                      <a:pt x="977" y="9440"/>
                    </a:lnTo>
                    <a:lnTo>
                      <a:pt x="488" y="9115"/>
                    </a:lnTo>
                    <a:lnTo>
                      <a:pt x="163" y="8464"/>
                    </a:lnTo>
                    <a:lnTo>
                      <a:pt x="0" y="7813"/>
                    </a:lnTo>
                    <a:lnTo>
                      <a:pt x="0" y="1791"/>
                    </a:lnTo>
                    <a:lnTo>
                      <a:pt x="163" y="977"/>
                    </a:lnTo>
                    <a:lnTo>
                      <a:pt x="488" y="489"/>
                    </a:lnTo>
                    <a:lnTo>
                      <a:pt x="977" y="163"/>
                    </a:lnTo>
                    <a:lnTo>
                      <a:pt x="1628" y="0"/>
                    </a:lnTo>
                    <a:lnTo>
                      <a:pt x="14652" y="0"/>
                    </a:lnTo>
                    <a:lnTo>
                      <a:pt x="15303" y="163"/>
                    </a:lnTo>
                    <a:lnTo>
                      <a:pt x="15792" y="489"/>
                    </a:lnTo>
                    <a:lnTo>
                      <a:pt x="16117" y="977"/>
                    </a:lnTo>
                    <a:lnTo>
                      <a:pt x="16280" y="1791"/>
                    </a:lnTo>
                    <a:lnTo>
                      <a:pt x="16280" y="7813"/>
                    </a:lnTo>
                    <a:close/>
                    <a:moveTo>
                      <a:pt x="7489" y="7813"/>
                    </a:moveTo>
                    <a:lnTo>
                      <a:pt x="7326" y="8138"/>
                    </a:lnTo>
                    <a:lnTo>
                      <a:pt x="7000" y="8301"/>
                    </a:lnTo>
                    <a:lnTo>
                      <a:pt x="1628" y="8301"/>
                    </a:lnTo>
                    <a:lnTo>
                      <a:pt x="1302" y="8138"/>
                    </a:lnTo>
                    <a:lnTo>
                      <a:pt x="1302" y="7813"/>
                    </a:lnTo>
                    <a:lnTo>
                      <a:pt x="1302" y="7487"/>
                    </a:lnTo>
                    <a:lnTo>
                      <a:pt x="1628" y="7487"/>
                    </a:lnTo>
                    <a:lnTo>
                      <a:pt x="7000" y="7487"/>
                    </a:lnTo>
                    <a:lnTo>
                      <a:pt x="7326" y="7487"/>
                    </a:lnTo>
                    <a:lnTo>
                      <a:pt x="7489" y="7813"/>
                    </a:lnTo>
                    <a:close/>
                    <a:moveTo>
                      <a:pt x="11884" y="1791"/>
                    </a:moveTo>
                    <a:lnTo>
                      <a:pt x="11233" y="1791"/>
                    </a:lnTo>
                    <a:lnTo>
                      <a:pt x="10745" y="1954"/>
                    </a:lnTo>
                    <a:lnTo>
                      <a:pt x="10256" y="2279"/>
                    </a:lnTo>
                    <a:lnTo>
                      <a:pt x="9768" y="2605"/>
                    </a:lnTo>
                    <a:lnTo>
                      <a:pt x="9442" y="3093"/>
                    </a:lnTo>
                    <a:lnTo>
                      <a:pt x="9117" y="3581"/>
                    </a:lnTo>
                    <a:lnTo>
                      <a:pt x="8954" y="4232"/>
                    </a:lnTo>
                    <a:lnTo>
                      <a:pt x="8791" y="4720"/>
                    </a:lnTo>
                    <a:lnTo>
                      <a:pt x="8954" y="5371"/>
                    </a:lnTo>
                    <a:lnTo>
                      <a:pt x="9117" y="6022"/>
                    </a:lnTo>
                    <a:lnTo>
                      <a:pt x="9442" y="6511"/>
                    </a:lnTo>
                    <a:lnTo>
                      <a:pt x="9768" y="6836"/>
                    </a:lnTo>
                    <a:lnTo>
                      <a:pt x="10256" y="7324"/>
                    </a:lnTo>
                    <a:lnTo>
                      <a:pt x="10745" y="7487"/>
                    </a:lnTo>
                    <a:lnTo>
                      <a:pt x="11233" y="7813"/>
                    </a:lnTo>
                    <a:lnTo>
                      <a:pt x="11884" y="7813"/>
                    </a:lnTo>
                    <a:lnTo>
                      <a:pt x="12536" y="7813"/>
                    </a:lnTo>
                    <a:lnTo>
                      <a:pt x="13024" y="7487"/>
                    </a:lnTo>
                    <a:lnTo>
                      <a:pt x="13512" y="7324"/>
                    </a:lnTo>
                    <a:lnTo>
                      <a:pt x="14001" y="6836"/>
                    </a:lnTo>
                    <a:lnTo>
                      <a:pt x="14326" y="6511"/>
                    </a:lnTo>
                    <a:lnTo>
                      <a:pt x="14652" y="6022"/>
                    </a:lnTo>
                    <a:lnTo>
                      <a:pt x="14815" y="5371"/>
                    </a:lnTo>
                    <a:lnTo>
                      <a:pt x="14978" y="4720"/>
                    </a:lnTo>
                    <a:lnTo>
                      <a:pt x="14815" y="4232"/>
                    </a:lnTo>
                    <a:lnTo>
                      <a:pt x="14652" y="3581"/>
                    </a:lnTo>
                    <a:lnTo>
                      <a:pt x="14326" y="3093"/>
                    </a:lnTo>
                    <a:lnTo>
                      <a:pt x="14001" y="2605"/>
                    </a:lnTo>
                    <a:lnTo>
                      <a:pt x="13512" y="2279"/>
                    </a:lnTo>
                    <a:lnTo>
                      <a:pt x="13024" y="1954"/>
                    </a:lnTo>
                    <a:lnTo>
                      <a:pt x="12536" y="1791"/>
                    </a:lnTo>
                    <a:lnTo>
                      <a:pt x="11884" y="1791"/>
                    </a:lnTo>
                    <a:close/>
                    <a:moveTo>
                      <a:pt x="7489" y="1628"/>
                    </a:moveTo>
                    <a:lnTo>
                      <a:pt x="7326" y="1954"/>
                    </a:lnTo>
                    <a:lnTo>
                      <a:pt x="7000" y="2116"/>
                    </a:lnTo>
                    <a:lnTo>
                      <a:pt x="1628" y="2116"/>
                    </a:lnTo>
                    <a:lnTo>
                      <a:pt x="1302" y="1954"/>
                    </a:lnTo>
                    <a:lnTo>
                      <a:pt x="1302" y="1628"/>
                    </a:lnTo>
                    <a:lnTo>
                      <a:pt x="1302" y="1465"/>
                    </a:lnTo>
                    <a:lnTo>
                      <a:pt x="1628" y="1302"/>
                    </a:lnTo>
                    <a:lnTo>
                      <a:pt x="7000" y="1302"/>
                    </a:lnTo>
                    <a:lnTo>
                      <a:pt x="7326" y="1465"/>
                    </a:lnTo>
                    <a:lnTo>
                      <a:pt x="7489" y="1628"/>
                    </a:lnTo>
                    <a:close/>
                    <a:moveTo>
                      <a:pt x="7489" y="3744"/>
                    </a:moveTo>
                    <a:lnTo>
                      <a:pt x="7326" y="4069"/>
                    </a:lnTo>
                    <a:lnTo>
                      <a:pt x="7000" y="4232"/>
                    </a:lnTo>
                    <a:lnTo>
                      <a:pt x="1628" y="4232"/>
                    </a:lnTo>
                    <a:lnTo>
                      <a:pt x="1302" y="4069"/>
                    </a:lnTo>
                    <a:lnTo>
                      <a:pt x="1302" y="3744"/>
                    </a:lnTo>
                    <a:lnTo>
                      <a:pt x="1302" y="3418"/>
                    </a:lnTo>
                    <a:lnTo>
                      <a:pt x="1628" y="3256"/>
                    </a:lnTo>
                    <a:lnTo>
                      <a:pt x="7000" y="3256"/>
                    </a:lnTo>
                    <a:lnTo>
                      <a:pt x="7326" y="3418"/>
                    </a:lnTo>
                    <a:lnTo>
                      <a:pt x="7489" y="3744"/>
                    </a:lnTo>
                    <a:close/>
                    <a:moveTo>
                      <a:pt x="7489" y="5860"/>
                    </a:moveTo>
                    <a:lnTo>
                      <a:pt x="7326" y="6022"/>
                    </a:lnTo>
                    <a:lnTo>
                      <a:pt x="7000" y="6185"/>
                    </a:lnTo>
                    <a:lnTo>
                      <a:pt x="1628" y="6185"/>
                    </a:lnTo>
                    <a:lnTo>
                      <a:pt x="1302" y="6022"/>
                    </a:lnTo>
                    <a:lnTo>
                      <a:pt x="1302" y="5860"/>
                    </a:lnTo>
                    <a:lnTo>
                      <a:pt x="1302" y="5534"/>
                    </a:lnTo>
                    <a:lnTo>
                      <a:pt x="1628" y="5371"/>
                    </a:lnTo>
                    <a:lnTo>
                      <a:pt x="7000" y="5371"/>
                    </a:lnTo>
                    <a:lnTo>
                      <a:pt x="7326" y="5534"/>
                    </a:lnTo>
                    <a:lnTo>
                      <a:pt x="7489" y="58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8" name="组合 27"/>
            <p:cNvGrpSpPr/>
            <p:nvPr/>
          </p:nvGrpSpPr>
          <p:grpSpPr>
            <a:xfrm>
              <a:off x="2465059" y="3807708"/>
              <a:ext cx="972000" cy="972000"/>
              <a:chOff x="-931799" y="2962588"/>
              <a:chExt cx="972000" cy="972000"/>
            </a:xfrm>
          </p:grpSpPr>
          <p:sp>
            <p:nvSpPr>
              <p:cNvPr id="29" name="椭圆 28"/>
              <p:cNvSpPr/>
              <p:nvPr/>
            </p:nvSpPr>
            <p:spPr>
              <a:xfrm>
                <a:off x="-931799" y="2962588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0" name="椭圆 29"/>
              <p:cNvSpPr/>
              <p:nvPr/>
            </p:nvSpPr>
            <p:spPr>
              <a:xfrm>
                <a:off x="-832834" y="3052588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1" name="组合 60"/>
          <p:cNvGrpSpPr/>
          <p:nvPr/>
        </p:nvGrpSpPr>
        <p:grpSpPr>
          <a:xfrm>
            <a:off x="5498170" y="3806816"/>
            <a:ext cx="971747" cy="971747"/>
            <a:chOff x="4223332" y="3807708"/>
            <a:chExt cx="972000" cy="972000"/>
          </a:xfrm>
        </p:grpSpPr>
        <p:grpSp>
          <p:nvGrpSpPr>
            <p:cNvPr id="31" name="组合 758"/>
            <p:cNvGrpSpPr/>
            <p:nvPr/>
          </p:nvGrpSpPr>
          <p:grpSpPr>
            <a:xfrm>
              <a:off x="4420021" y="4045776"/>
              <a:ext cx="592914" cy="519775"/>
              <a:chOff x="7440613" y="4868863"/>
              <a:chExt cx="1019175" cy="828675"/>
            </a:xfrm>
            <a:noFill/>
          </p:grpSpPr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7832726" y="5462588"/>
                <a:ext cx="234950" cy="234950"/>
              </a:xfrm>
              <a:custGeom>
                <a:avLst/>
                <a:gdLst/>
                <a:ahLst/>
                <a:cxnLst>
                  <a:cxn ang="0">
                    <a:pos x="3281" y="680"/>
                  </a:cxn>
                  <a:cxn ang="0">
                    <a:pos x="3439" y="907"/>
                  </a:cxn>
                  <a:cxn ang="0">
                    <a:pos x="3559" y="1151"/>
                  </a:cxn>
                  <a:cxn ang="0">
                    <a:pos x="3642" y="1406"/>
                  </a:cxn>
                  <a:cxn ang="0">
                    <a:pos x="3686" y="1670"/>
                  </a:cxn>
                  <a:cxn ang="0">
                    <a:pos x="3693" y="1936"/>
                  </a:cxn>
                  <a:cxn ang="0">
                    <a:pos x="3661" y="2201"/>
                  </a:cxn>
                  <a:cxn ang="0">
                    <a:pos x="3591" y="2460"/>
                  </a:cxn>
                  <a:cxn ang="0">
                    <a:pos x="3484" y="2708"/>
                  </a:cxn>
                  <a:cxn ang="0">
                    <a:pos x="3339" y="2941"/>
                  </a:cxn>
                  <a:cxn ang="0">
                    <a:pos x="3155" y="3155"/>
                  </a:cxn>
                  <a:cxn ang="0">
                    <a:pos x="2941" y="3339"/>
                  </a:cxn>
                  <a:cxn ang="0">
                    <a:pos x="2708" y="3484"/>
                  </a:cxn>
                  <a:cxn ang="0">
                    <a:pos x="2460" y="3592"/>
                  </a:cxn>
                  <a:cxn ang="0">
                    <a:pos x="2201" y="3661"/>
                  </a:cxn>
                  <a:cxn ang="0">
                    <a:pos x="1936" y="3693"/>
                  </a:cxn>
                  <a:cxn ang="0">
                    <a:pos x="1670" y="3687"/>
                  </a:cxn>
                  <a:cxn ang="0">
                    <a:pos x="1408" y="3643"/>
                  </a:cxn>
                  <a:cxn ang="0">
                    <a:pos x="1152" y="3561"/>
                  </a:cxn>
                  <a:cxn ang="0">
                    <a:pos x="908" y="3440"/>
                  </a:cxn>
                  <a:cxn ang="0">
                    <a:pos x="680" y="3282"/>
                  </a:cxn>
                  <a:cxn ang="0">
                    <a:pos x="475" y="3086"/>
                  </a:cxn>
                  <a:cxn ang="0">
                    <a:pos x="304" y="2866"/>
                  </a:cxn>
                  <a:cxn ang="0">
                    <a:pos x="172" y="2627"/>
                  </a:cxn>
                  <a:cxn ang="0">
                    <a:pos x="76" y="2374"/>
                  </a:cxn>
                  <a:cxn ang="0">
                    <a:pos x="19" y="2114"/>
                  </a:cxn>
                  <a:cxn ang="0">
                    <a:pos x="0" y="1848"/>
                  </a:cxn>
                  <a:cxn ang="0">
                    <a:pos x="19" y="1582"/>
                  </a:cxn>
                  <a:cxn ang="0">
                    <a:pos x="76" y="1321"/>
                  </a:cxn>
                  <a:cxn ang="0">
                    <a:pos x="171" y="1069"/>
                  </a:cxn>
                  <a:cxn ang="0">
                    <a:pos x="304" y="830"/>
                  </a:cxn>
                  <a:cxn ang="0">
                    <a:pos x="475" y="609"/>
                  </a:cxn>
                  <a:cxn ang="0">
                    <a:pos x="680" y="414"/>
                  </a:cxn>
                  <a:cxn ang="0">
                    <a:pos x="907" y="255"/>
                  </a:cxn>
                  <a:cxn ang="0">
                    <a:pos x="1151" y="135"/>
                  </a:cxn>
                  <a:cxn ang="0">
                    <a:pos x="1407" y="52"/>
                  </a:cxn>
                  <a:cxn ang="0">
                    <a:pos x="1669" y="8"/>
                  </a:cxn>
                  <a:cxn ang="0">
                    <a:pos x="1936" y="2"/>
                  </a:cxn>
                  <a:cxn ang="0">
                    <a:pos x="2201" y="33"/>
                  </a:cxn>
                  <a:cxn ang="0">
                    <a:pos x="2459" y="104"/>
                  </a:cxn>
                  <a:cxn ang="0">
                    <a:pos x="2708" y="211"/>
                  </a:cxn>
                  <a:cxn ang="0">
                    <a:pos x="2940" y="356"/>
                  </a:cxn>
                  <a:cxn ang="0">
                    <a:pos x="3154" y="539"/>
                  </a:cxn>
                </a:cxnLst>
                <a:rect l="0" t="0" r="r" b="b"/>
                <a:pathLst>
                  <a:path w="3695" h="3695">
                    <a:moveTo>
                      <a:pt x="3154" y="539"/>
                    </a:moveTo>
                    <a:lnTo>
                      <a:pt x="3220" y="608"/>
                    </a:lnTo>
                    <a:lnTo>
                      <a:pt x="3281" y="680"/>
                    </a:lnTo>
                    <a:lnTo>
                      <a:pt x="3338" y="754"/>
                    </a:lnTo>
                    <a:lnTo>
                      <a:pt x="3391" y="829"/>
                    </a:lnTo>
                    <a:lnTo>
                      <a:pt x="3439" y="907"/>
                    </a:lnTo>
                    <a:lnTo>
                      <a:pt x="3483" y="987"/>
                    </a:lnTo>
                    <a:lnTo>
                      <a:pt x="3523" y="1068"/>
                    </a:lnTo>
                    <a:lnTo>
                      <a:pt x="3559" y="1151"/>
                    </a:lnTo>
                    <a:lnTo>
                      <a:pt x="3591" y="1235"/>
                    </a:lnTo>
                    <a:lnTo>
                      <a:pt x="3619" y="1320"/>
                    </a:lnTo>
                    <a:lnTo>
                      <a:pt x="3642" y="1406"/>
                    </a:lnTo>
                    <a:lnTo>
                      <a:pt x="3661" y="1493"/>
                    </a:lnTo>
                    <a:lnTo>
                      <a:pt x="3676" y="1582"/>
                    </a:lnTo>
                    <a:lnTo>
                      <a:pt x="3686" y="1670"/>
                    </a:lnTo>
                    <a:lnTo>
                      <a:pt x="3693" y="1758"/>
                    </a:lnTo>
                    <a:lnTo>
                      <a:pt x="3695" y="1847"/>
                    </a:lnTo>
                    <a:lnTo>
                      <a:pt x="3693" y="1936"/>
                    </a:lnTo>
                    <a:lnTo>
                      <a:pt x="3686" y="2024"/>
                    </a:lnTo>
                    <a:lnTo>
                      <a:pt x="3676" y="2113"/>
                    </a:lnTo>
                    <a:lnTo>
                      <a:pt x="3661" y="2201"/>
                    </a:lnTo>
                    <a:lnTo>
                      <a:pt x="3642" y="2288"/>
                    </a:lnTo>
                    <a:lnTo>
                      <a:pt x="3619" y="2374"/>
                    </a:lnTo>
                    <a:lnTo>
                      <a:pt x="3591" y="2460"/>
                    </a:lnTo>
                    <a:lnTo>
                      <a:pt x="3559" y="2544"/>
                    </a:lnTo>
                    <a:lnTo>
                      <a:pt x="3524" y="2626"/>
                    </a:lnTo>
                    <a:lnTo>
                      <a:pt x="3484" y="2708"/>
                    </a:lnTo>
                    <a:lnTo>
                      <a:pt x="3439" y="2788"/>
                    </a:lnTo>
                    <a:lnTo>
                      <a:pt x="3391" y="2865"/>
                    </a:lnTo>
                    <a:lnTo>
                      <a:pt x="3339" y="2941"/>
                    </a:lnTo>
                    <a:lnTo>
                      <a:pt x="3281" y="3015"/>
                    </a:lnTo>
                    <a:lnTo>
                      <a:pt x="3220" y="3086"/>
                    </a:lnTo>
                    <a:lnTo>
                      <a:pt x="3155" y="3155"/>
                    </a:lnTo>
                    <a:lnTo>
                      <a:pt x="3086" y="3220"/>
                    </a:lnTo>
                    <a:lnTo>
                      <a:pt x="3015" y="3282"/>
                    </a:lnTo>
                    <a:lnTo>
                      <a:pt x="2941" y="3339"/>
                    </a:lnTo>
                    <a:lnTo>
                      <a:pt x="2865" y="3391"/>
                    </a:lnTo>
                    <a:lnTo>
                      <a:pt x="2788" y="3440"/>
                    </a:lnTo>
                    <a:lnTo>
                      <a:pt x="2708" y="3484"/>
                    </a:lnTo>
                    <a:lnTo>
                      <a:pt x="2626" y="3524"/>
                    </a:lnTo>
                    <a:lnTo>
                      <a:pt x="2544" y="3560"/>
                    </a:lnTo>
                    <a:lnTo>
                      <a:pt x="2460" y="3592"/>
                    </a:lnTo>
                    <a:lnTo>
                      <a:pt x="2375" y="3619"/>
                    </a:lnTo>
                    <a:lnTo>
                      <a:pt x="2288" y="3643"/>
                    </a:lnTo>
                    <a:lnTo>
                      <a:pt x="2201" y="3661"/>
                    </a:lnTo>
                    <a:lnTo>
                      <a:pt x="2114" y="3676"/>
                    </a:lnTo>
                    <a:lnTo>
                      <a:pt x="2026" y="3687"/>
                    </a:lnTo>
                    <a:lnTo>
                      <a:pt x="1936" y="3693"/>
                    </a:lnTo>
                    <a:lnTo>
                      <a:pt x="1848" y="3695"/>
                    </a:lnTo>
                    <a:lnTo>
                      <a:pt x="1759" y="3693"/>
                    </a:lnTo>
                    <a:lnTo>
                      <a:pt x="1670" y="3687"/>
                    </a:lnTo>
                    <a:lnTo>
                      <a:pt x="1582" y="3676"/>
                    </a:lnTo>
                    <a:lnTo>
                      <a:pt x="1495" y="3662"/>
                    </a:lnTo>
                    <a:lnTo>
                      <a:pt x="1408" y="3643"/>
                    </a:lnTo>
                    <a:lnTo>
                      <a:pt x="1321" y="3620"/>
                    </a:lnTo>
                    <a:lnTo>
                      <a:pt x="1236" y="3592"/>
                    </a:lnTo>
                    <a:lnTo>
                      <a:pt x="1152" y="3561"/>
                    </a:lnTo>
                    <a:lnTo>
                      <a:pt x="1069" y="3524"/>
                    </a:lnTo>
                    <a:lnTo>
                      <a:pt x="987" y="3484"/>
                    </a:lnTo>
                    <a:lnTo>
                      <a:pt x="908" y="3440"/>
                    </a:lnTo>
                    <a:lnTo>
                      <a:pt x="830" y="3391"/>
                    </a:lnTo>
                    <a:lnTo>
                      <a:pt x="755" y="3339"/>
                    </a:lnTo>
                    <a:lnTo>
                      <a:pt x="680" y="3282"/>
                    </a:lnTo>
                    <a:lnTo>
                      <a:pt x="609" y="3220"/>
                    </a:lnTo>
                    <a:lnTo>
                      <a:pt x="541" y="3155"/>
                    </a:lnTo>
                    <a:lnTo>
                      <a:pt x="475" y="3086"/>
                    </a:lnTo>
                    <a:lnTo>
                      <a:pt x="414" y="3015"/>
                    </a:lnTo>
                    <a:lnTo>
                      <a:pt x="357" y="2941"/>
                    </a:lnTo>
                    <a:lnTo>
                      <a:pt x="304" y="2866"/>
                    </a:lnTo>
                    <a:lnTo>
                      <a:pt x="256" y="2788"/>
                    </a:lnTo>
                    <a:lnTo>
                      <a:pt x="212" y="2709"/>
                    </a:lnTo>
                    <a:lnTo>
                      <a:pt x="172" y="2627"/>
                    </a:lnTo>
                    <a:lnTo>
                      <a:pt x="136" y="2544"/>
                    </a:lnTo>
                    <a:lnTo>
                      <a:pt x="104" y="2460"/>
                    </a:lnTo>
                    <a:lnTo>
                      <a:pt x="76" y="2374"/>
                    </a:lnTo>
                    <a:lnTo>
                      <a:pt x="53" y="2288"/>
                    </a:lnTo>
                    <a:lnTo>
                      <a:pt x="34" y="2201"/>
                    </a:lnTo>
                    <a:lnTo>
                      <a:pt x="19" y="2114"/>
                    </a:lnTo>
                    <a:lnTo>
                      <a:pt x="9" y="2025"/>
                    </a:lnTo>
                    <a:lnTo>
                      <a:pt x="2" y="1937"/>
                    </a:lnTo>
                    <a:lnTo>
                      <a:pt x="0" y="1848"/>
                    </a:lnTo>
                    <a:lnTo>
                      <a:pt x="2" y="1759"/>
                    </a:lnTo>
                    <a:lnTo>
                      <a:pt x="9" y="1670"/>
                    </a:lnTo>
                    <a:lnTo>
                      <a:pt x="19" y="1582"/>
                    </a:lnTo>
                    <a:lnTo>
                      <a:pt x="34" y="1494"/>
                    </a:lnTo>
                    <a:lnTo>
                      <a:pt x="53" y="1407"/>
                    </a:lnTo>
                    <a:lnTo>
                      <a:pt x="76" y="1321"/>
                    </a:lnTo>
                    <a:lnTo>
                      <a:pt x="104" y="1236"/>
                    </a:lnTo>
                    <a:lnTo>
                      <a:pt x="136" y="1151"/>
                    </a:lnTo>
                    <a:lnTo>
                      <a:pt x="171" y="1069"/>
                    </a:lnTo>
                    <a:lnTo>
                      <a:pt x="211" y="988"/>
                    </a:lnTo>
                    <a:lnTo>
                      <a:pt x="255" y="907"/>
                    </a:lnTo>
                    <a:lnTo>
                      <a:pt x="304" y="830"/>
                    </a:lnTo>
                    <a:lnTo>
                      <a:pt x="356" y="754"/>
                    </a:lnTo>
                    <a:lnTo>
                      <a:pt x="414" y="681"/>
                    </a:lnTo>
                    <a:lnTo>
                      <a:pt x="475" y="609"/>
                    </a:lnTo>
                    <a:lnTo>
                      <a:pt x="540" y="540"/>
                    </a:lnTo>
                    <a:lnTo>
                      <a:pt x="609" y="475"/>
                    </a:lnTo>
                    <a:lnTo>
                      <a:pt x="680" y="414"/>
                    </a:lnTo>
                    <a:lnTo>
                      <a:pt x="754" y="356"/>
                    </a:lnTo>
                    <a:lnTo>
                      <a:pt x="830" y="303"/>
                    </a:lnTo>
                    <a:lnTo>
                      <a:pt x="907" y="255"/>
                    </a:lnTo>
                    <a:lnTo>
                      <a:pt x="987" y="211"/>
                    </a:lnTo>
                    <a:lnTo>
                      <a:pt x="1069" y="171"/>
                    </a:lnTo>
                    <a:lnTo>
                      <a:pt x="1151" y="135"/>
                    </a:lnTo>
                    <a:lnTo>
                      <a:pt x="1235" y="104"/>
                    </a:lnTo>
                    <a:lnTo>
                      <a:pt x="1320" y="76"/>
                    </a:lnTo>
                    <a:lnTo>
                      <a:pt x="1407" y="52"/>
                    </a:lnTo>
                    <a:lnTo>
                      <a:pt x="1494" y="33"/>
                    </a:lnTo>
                    <a:lnTo>
                      <a:pt x="1581" y="19"/>
                    </a:lnTo>
                    <a:lnTo>
                      <a:pt x="1669" y="8"/>
                    </a:lnTo>
                    <a:lnTo>
                      <a:pt x="1759" y="2"/>
                    </a:lnTo>
                    <a:lnTo>
                      <a:pt x="1847" y="0"/>
                    </a:lnTo>
                    <a:lnTo>
                      <a:pt x="1936" y="2"/>
                    </a:lnTo>
                    <a:lnTo>
                      <a:pt x="2025" y="8"/>
                    </a:lnTo>
                    <a:lnTo>
                      <a:pt x="2113" y="19"/>
                    </a:lnTo>
                    <a:lnTo>
                      <a:pt x="2201" y="33"/>
                    </a:lnTo>
                    <a:lnTo>
                      <a:pt x="2287" y="52"/>
                    </a:lnTo>
                    <a:lnTo>
                      <a:pt x="2374" y="76"/>
                    </a:lnTo>
                    <a:lnTo>
                      <a:pt x="2459" y="104"/>
                    </a:lnTo>
                    <a:lnTo>
                      <a:pt x="2543" y="135"/>
                    </a:lnTo>
                    <a:lnTo>
                      <a:pt x="2626" y="171"/>
                    </a:lnTo>
                    <a:lnTo>
                      <a:pt x="2708" y="211"/>
                    </a:lnTo>
                    <a:lnTo>
                      <a:pt x="2787" y="255"/>
                    </a:lnTo>
                    <a:lnTo>
                      <a:pt x="2865" y="303"/>
                    </a:lnTo>
                    <a:lnTo>
                      <a:pt x="2940" y="356"/>
                    </a:lnTo>
                    <a:lnTo>
                      <a:pt x="3015" y="413"/>
                    </a:lnTo>
                    <a:lnTo>
                      <a:pt x="3086" y="474"/>
                    </a:lnTo>
                    <a:lnTo>
                      <a:pt x="3154" y="53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3" name="Freeform 16"/>
              <p:cNvSpPr>
                <a:spLocks noEditPoints="1"/>
              </p:cNvSpPr>
              <p:nvPr/>
            </p:nvSpPr>
            <p:spPr bwMode="auto">
              <a:xfrm>
                <a:off x="7440613" y="4868863"/>
                <a:ext cx="1019175" cy="544513"/>
              </a:xfrm>
              <a:custGeom>
                <a:avLst/>
                <a:gdLst/>
                <a:ahLst/>
                <a:cxnLst>
                  <a:cxn ang="0">
                    <a:pos x="16025" y="3351"/>
                  </a:cxn>
                  <a:cxn ang="0">
                    <a:pos x="14975" y="4351"/>
                  </a:cxn>
                  <a:cxn ang="0">
                    <a:pos x="14184" y="3632"/>
                  </a:cxn>
                  <a:cxn ang="0">
                    <a:pos x="12564" y="2563"/>
                  </a:cxn>
                  <a:cxn ang="0">
                    <a:pos x="10805" y="1850"/>
                  </a:cxn>
                  <a:cxn ang="0">
                    <a:pos x="8960" y="1494"/>
                  </a:cxn>
                  <a:cxn ang="0">
                    <a:pos x="7087" y="1494"/>
                  </a:cxn>
                  <a:cxn ang="0">
                    <a:pos x="5243" y="1851"/>
                  </a:cxn>
                  <a:cxn ang="0">
                    <a:pos x="3483" y="2564"/>
                  </a:cxn>
                  <a:cxn ang="0">
                    <a:pos x="1864" y="3634"/>
                  </a:cxn>
                  <a:cxn ang="0">
                    <a:pos x="1075" y="4353"/>
                  </a:cxn>
                  <a:cxn ang="0">
                    <a:pos x="24" y="3353"/>
                  </a:cxn>
                  <a:cxn ang="0">
                    <a:pos x="516" y="2880"/>
                  </a:cxn>
                  <a:cxn ang="0">
                    <a:pos x="2325" y="1549"/>
                  </a:cxn>
                  <a:cxn ang="0">
                    <a:pos x="4312" y="627"/>
                  </a:cxn>
                  <a:cxn ang="0">
                    <a:pos x="6413" y="115"/>
                  </a:cxn>
                  <a:cxn ang="0">
                    <a:pos x="8562" y="13"/>
                  </a:cxn>
                  <a:cxn ang="0">
                    <a:pos x="10694" y="319"/>
                  </a:cxn>
                  <a:cxn ang="0">
                    <a:pos x="12747" y="1036"/>
                  </a:cxn>
                  <a:cxn ang="0">
                    <a:pos x="14654" y="2160"/>
                  </a:cxn>
                  <a:cxn ang="0">
                    <a:pos x="14055" y="5373"/>
                  </a:cxn>
                  <a:cxn ang="0">
                    <a:pos x="12871" y="6404"/>
                  </a:cxn>
                  <a:cxn ang="0">
                    <a:pos x="12058" y="5702"/>
                  </a:cxn>
                  <a:cxn ang="0">
                    <a:pos x="10898" y="5017"/>
                  </a:cxn>
                  <a:cxn ang="0">
                    <a:pos x="9649" y="4582"/>
                  </a:cxn>
                  <a:cxn ang="0">
                    <a:pos x="8352" y="4395"/>
                  </a:cxn>
                  <a:cxn ang="0">
                    <a:pos x="7044" y="4457"/>
                  </a:cxn>
                  <a:cxn ang="0">
                    <a:pos x="5767" y="4769"/>
                  </a:cxn>
                  <a:cxn ang="0">
                    <a:pos x="4558" y="5329"/>
                  </a:cxn>
                  <a:cxn ang="0">
                    <a:pos x="3457" y="6139"/>
                  </a:cxn>
                  <a:cxn ang="0">
                    <a:pos x="3129" y="6456"/>
                  </a:cxn>
                  <a:cxn ang="0">
                    <a:pos x="2045" y="5322"/>
                  </a:cxn>
                  <a:cxn ang="0">
                    <a:pos x="2731" y="4697"/>
                  </a:cxn>
                  <a:cxn ang="0">
                    <a:pos x="4122" y="3779"/>
                  </a:cxn>
                  <a:cxn ang="0">
                    <a:pos x="5635" y="3166"/>
                  </a:cxn>
                  <a:cxn ang="0">
                    <a:pos x="7219" y="2859"/>
                  </a:cxn>
                  <a:cxn ang="0">
                    <a:pos x="8829" y="2859"/>
                  </a:cxn>
                  <a:cxn ang="0">
                    <a:pos x="10413" y="3165"/>
                  </a:cxn>
                  <a:cxn ang="0">
                    <a:pos x="11926" y="3777"/>
                  </a:cxn>
                  <a:cxn ang="0">
                    <a:pos x="13318" y="4696"/>
                  </a:cxn>
                  <a:cxn ang="0">
                    <a:pos x="14005" y="5321"/>
                  </a:cxn>
                  <a:cxn ang="0">
                    <a:pos x="10854" y="8576"/>
                  </a:cxn>
                  <a:cxn ang="0">
                    <a:pos x="10754" y="8472"/>
                  </a:cxn>
                  <a:cxn ang="0">
                    <a:pos x="10150" y="7980"/>
                  </a:cxn>
                  <a:cxn ang="0">
                    <a:pos x="9479" y="7627"/>
                  </a:cxn>
                  <a:cxn ang="0">
                    <a:pos x="8762" y="7416"/>
                  </a:cxn>
                  <a:cxn ang="0">
                    <a:pos x="8025" y="7345"/>
                  </a:cxn>
                  <a:cxn ang="0">
                    <a:pos x="7287" y="7416"/>
                  </a:cxn>
                  <a:cxn ang="0">
                    <a:pos x="6571" y="7627"/>
                  </a:cxn>
                  <a:cxn ang="0">
                    <a:pos x="5900" y="7980"/>
                  </a:cxn>
                  <a:cxn ang="0">
                    <a:pos x="5297" y="8473"/>
                  </a:cxn>
                  <a:cxn ang="0">
                    <a:pos x="5198" y="8576"/>
                  </a:cxn>
                  <a:cxn ang="0">
                    <a:pos x="4197" y="7425"/>
                  </a:cxn>
                  <a:cxn ang="0">
                    <a:pos x="4843" y="6865"/>
                  </a:cxn>
                  <a:cxn ang="0">
                    <a:pos x="5758" y="6325"/>
                  </a:cxn>
                  <a:cxn ang="0">
                    <a:pos x="6743" y="5981"/>
                  </a:cxn>
                  <a:cxn ang="0">
                    <a:pos x="7766" y="5833"/>
                  </a:cxn>
                  <a:cxn ang="0">
                    <a:pos x="8797" y="5882"/>
                  </a:cxn>
                  <a:cxn ang="0">
                    <a:pos x="9806" y="6127"/>
                  </a:cxn>
                  <a:cxn ang="0">
                    <a:pos x="10760" y="6570"/>
                  </a:cxn>
                  <a:cxn ang="0">
                    <a:pos x="11627" y="7208"/>
                  </a:cxn>
                  <a:cxn ang="0">
                    <a:pos x="11903" y="7475"/>
                  </a:cxn>
                </a:cxnLst>
                <a:rect l="0" t="0" r="r" b="b"/>
                <a:pathLst>
                  <a:path w="16050" h="8576">
                    <a:moveTo>
                      <a:pt x="15950" y="3273"/>
                    </a:moveTo>
                    <a:lnTo>
                      <a:pt x="15975" y="3299"/>
                    </a:lnTo>
                    <a:lnTo>
                      <a:pt x="16000" y="3324"/>
                    </a:lnTo>
                    <a:lnTo>
                      <a:pt x="16025" y="3351"/>
                    </a:lnTo>
                    <a:lnTo>
                      <a:pt x="16050" y="3377"/>
                    </a:lnTo>
                    <a:lnTo>
                      <a:pt x="15025" y="4402"/>
                    </a:lnTo>
                    <a:lnTo>
                      <a:pt x="15000" y="4377"/>
                    </a:lnTo>
                    <a:lnTo>
                      <a:pt x="14975" y="4351"/>
                    </a:lnTo>
                    <a:lnTo>
                      <a:pt x="14950" y="4325"/>
                    </a:lnTo>
                    <a:lnTo>
                      <a:pt x="14923" y="4300"/>
                    </a:lnTo>
                    <a:lnTo>
                      <a:pt x="14560" y="3955"/>
                    </a:lnTo>
                    <a:lnTo>
                      <a:pt x="14184" y="3632"/>
                    </a:lnTo>
                    <a:lnTo>
                      <a:pt x="13796" y="3330"/>
                    </a:lnTo>
                    <a:lnTo>
                      <a:pt x="13396" y="3053"/>
                    </a:lnTo>
                    <a:lnTo>
                      <a:pt x="12984" y="2797"/>
                    </a:lnTo>
                    <a:lnTo>
                      <a:pt x="12564" y="2563"/>
                    </a:lnTo>
                    <a:lnTo>
                      <a:pt x="12136" y="2351"/>
                    </a:lnTo>
                    <a:lnTo>
                      <a:pt x="11698" y="2161"/>
                    </a:lnTo>
                    <a:lnTo>
                      <a:pt x="11254" y="1995"/>
                    </a:lnTo>
                    <a:lnTo>
                      <a:pt x="10805" y="1850"/>
                    </a:lnTo>
                    <a:lnTo>
                      <a:pt x="10349" y="1728"/>
                    </a:lnTo>
                    <a:lnTo>
                      <a:pt x="9889" y="1628"/>
                    </a:lnTo>
                    <a:lnTo>
                      <a:pt x="9426" y="1549"/>
                    </a:lnTo>
                    <a:lnTo>
                      <a:pt x="8960" y="1494"/>
                    </a:lnTo>
                    <a:lnTo>
                      <a:pt x="8492" y="1461"/>
                    </a:lnTo>
                    <a:lnTo>
                      <a:pt x="8024" y="1450"/>
                    </a:lnTo>
                    <a:lnTo>
                      <a:pt x="7556" y="1461"/>
                    </a:lnTo>
                    <a:lnTo>
                      <a:pt x="7087" y="1494"/>
                    </a:lnTo>
                    <a:lnTo>
                      <a:pt x="6622" y="1550"/>
                    </a:lnTo>
                    <a:lnTo>
                      <a:pt x="6158" y="1629"/>
                    </a:lnTo>
                    <a:lnTo>
                      <a:pt x="5699" y="1729"/>
                    </a:lnTo>
                    <a:lnTo>
                      <a:pt x="5243" y="1851"/>
                    </a:lnTo>
                    <a:lnTo>
                      <a:pt x="4793" y="1996"/>
                    </a:lnTo>
                    <a:lnTo>
                      <a:pt x="4350" y="2163"/>
                    </a:lnTo>
                    <a:lnTo>
                      <a:pt x="3912" y="2352"/>
                    </a:lnTo>
                    <a:lnTo>
                      <a:pt x="3483" y="2564"/>
                    </a:lnTo>
                    <a:lnTo>
                      <a:pt x="3064" y="2799"/>
                    </a:lnTo>
                    <a:lnTo>
                      <a:pt x="2652" y="3055"/>
                    </a:lnTo>
                    <a:lnTo>
                      <a:pt x="2253" y="3332"/>
                    </a:lnTo>
                    <a:lnTo>
                      <a:pt x="1864" y="3634"/>
                    </a:lnTo>
                    <a:lnTo>
                      <a:pt x="1488" y="3957"/>
                    </a:lnTo>
                    <a:lnTo>
                      <a:pt x="1125" y="4302"/>
                    </a:lnTo>
                    <a:lnTo>
                      <a:pt x="1099" y="4327"/>
                    </a:lnTo>
                    <a:lnTo>
                      <a:pt x="1075" y="4353"/>
                    </a:lnTo>
                    <a:lnTo>
                      <a:pt x="1050" y="4378"/>
                    </a:lnTo>
                    <a:lnTo>
                      <a:pt x="1025" y="4404"/>
                    </a:lnTo>
                    <a:lnTo>
                      <a:pt x="0" y="3378"/>
                    </a:lnTo>
                    <a:lnTo>
                      <a:pt x="24" y="3353"/>
                    </a:lnTo>
                    <a:lnTo>
                      <a:pt x="49" y="3326"/>
                    </a:lnTo>
                    <a:lnTo>
                      <a:pt x="74" y="3301"/>
                    </a:lnTo>
                    <a:lnTo>
                      <a:pt x="99" y="3276"/>
                    </a:lnTo>
                    <a:lnTo>
                      <a:pt x="516" y="2880"/>
                    </a:lnTo>
                    <a:lnTo>
                      <a:pt x="948" y="2509"/>
                    </a:lnTo>
                    <a:lnTo>
                      <a:pt x="1394" y="2162"/>
                    </a:lnTo>
                    <a:lnTo>
                      <a:pt x="1854" y="1843"/>
                    </a:lnTo>
                    <a:lnTo>
                      <a:pt x="2325" y="1549"/>
                    </a:lnTo>
                    <a:lnTo>
                      <a:pt x="2808" y="1280"/>
                    </a:lnTo>
                    <a:lnTo>
                      <a:pt x="3301" y="1037"/>
                    </a:lnTo>
                    <a:lnTo>
                      <a:pt x="3803" y="820"/>
                    </a:lnTo>
                    <a:lnTo>
                      <a:pt x="4312" y="627"/>
                    </a:lnTo>
                    <a:lnTo>
                      <a:pt x="4830" y="461"/>
                    </a:lnTo>
                    <a:lnTo>
                      <a:pt x="5353" y="320"/>
                    </a:lnTo>
                    <a:lnTo>
                      <a:pt x="5881" y="205"/>
                    </a:lnTo>
                    <a:lnTo>
                      <a:pt x="6413" y="115"/>
                    </a:lnTo>
                    <a:lnTo>
                      <a:pt x="6949" y="51"/>
                    </a:lnTo>
                    <a:lnTo>
                      <a:pt x="7485" y="13"/>
                    </a:lnTo>
                    <a:lnTo>
                      <a:pt x="8024" y="0"/>
                    </a:lnTo>
                    <a:lnTo>
                      <a:pt x="8562" y="13"/>
                    </a:lnTo>
                    <a:lnTo>
                      <a:pt x="9099" y="51"/>
                    </a:lnTo>
                    <a:lnTo>
                      <a:pt x="9634" y="115"/>
                    </a:lnTo>
                    <a:lnTo>
                      <a:pt x="10167" y="205"/>
                    </a:lnTo>
                    <a:lnTo>
                      <a:pt x="10694" y="319"/>
                    </a:lnTo>
                    <a:lnTo>
                      <a:pt x="11218" y="460"/>
                    </a:lnTo>
                    <a:lnTo>
                      <a:pt x="11735" y="626"/>
                    </a:lnTo>
                    <a:lnTo>
                      <a:pt x="12245" y="818"/>
                    </a:lnTo>
                    <a:lnTo>
                      <a:pt x="12747" y="1036"/>
                    </a:lnTo>
                    <a:lnTo>
                      <a:pt x="13239" y="1278"/>
                    </a:lnTo>
                    <a:lnTo>
                      <a:pt x="13722" y="1547"/>
                    </a:lnTo>
                    <a:lnTo>
                      <a:pt x="14194" y="1841"/>
                    </a:lnTo>
                    <a:lnTo>
                      <a:pt x="14654" y="2160"/>
                    </a:lnTo>
                    <a:lnTo>
                      <a:pt x="15100" y="2506"/>
                    </a:lnTo>
                    <a:lnTo>
                      <a:pt x="15532" y="2877"/>
                    </a:lnTo>
                    <a:lnTo>
                      <a:pt x="15950" y="3273"/>
                    </a:lnTo>
                    <a:close/>
                    <a:moveTo>
                      <a:pt x="14055" y="5373"/>
                    </a:moveTo>
                    <a:lnTo>
                      <a:pt x="12946" y="6481"/>
                    </a:lnTo>
                    <a:lnTo>
                      <a:pt x="12921" y="6456"/>
                    </a:lnTo>
                    <a:lnTo>
                      <a:pt x="12897" y="6430"/>
                    </a:lnTo>
                    <a:lnTo>
                      <a:pt x="12871" y="6404"/>
                    </a:lnTo>
                    <a:lnTo>
                      <a:pt x="12846" y="6379"/>
                    </a:lnTo>
                    <a:lnTo>
                      <a:pt x="12592" y="6137"/>
                    </a:lnTo>
                    <a:lnTo>
                      <a:pt x="12329" y="5912"/>
                    </a:lnTo>
                    <a:lnTo>
                      <a:pt x="12058" y="5702"/>
                    </a:lnTo>
                    <a:lnTo>
                      <a:pt x="11778" y="5507"/>
                    </a:lnTo>
                    <a:lnTo>
                      <a:pt x="11491" y="5328"/>
                    </a:lnTo>
                    <a:lnTo>
                      <a:pt x="11198" y="5165"/>
                    </a:lnTo>
                    <a:lnTo>
                      <a:pt x="10898" y="5017"/>
                    </a:lnTo>
                    <a:lnTo>
                      <a:pt x="10592" y="4885"/>
                    </a:lnTo>
                    <a:lnTo>
                      <a:pt x="10282" y="4768"/>
                    </a:lnTo>
                    <a:lnTo>
                      <a:pt x="9967" y="4667"/>
                    </a:lnTo>
                    <a:lnTo>
                      <a:pt x="9649" y="4582"/>
                    </a:lnTo>
                    <a:lnTo>
                      <a:pt x="9328" y="4512"/>
                    </a:lnTo>
                    <a:lnTo>
                      <a:pt x="9004" y="4457"/>
                    </a:lnTo>
                    <a:lnTo>
                      <a:pt x="8679" y="4418"/>
                    </a:lnTo>
                    <a:lnTo>
                      <a:pt x="8352" y="4395"/>
                    </a:lnTo>
                    <a:lnTo>
                      <a:pt x="8024" y="4387"/>
                    </a:lnTo>
                    <a:lnTo>
                      <a:pt x="7697" y="4395"/>
                    </a:lnTo>
                    <a:lnTo>
                      <a:pt x="7370" y="4418"/>
                    </a:lnTo>
                    <a:lnTo>
                      <a:pt x="7044" y="4457"/>
                    </a:lnTo>
                    <a:lnTo>
                      <a:pt x="6721" y="4512"/>
                    </a:lnTo>
                    <a:lnTo>
                      <a:pt x="6399" y="4582"/>
                    </a:lnTo>
                    <a:lnTo>
                      <a:pt x="6081" y="4668"/>
                    </a:lnTo>
                    <a:lnTo>
                      <a:pt x="5767" y="4769"/>
                    </a:lnTo>
                    <a:lnTo>
                      <a:pt x="5457" y="4886"/>
                    </a:lnTo>
                    <a:lnTo>
                      <a:pt x="5151" y="5018"/>
                    </a:lnTo>
                    <a:lnTo>
                      <a:pt x="4851" y="5166"/>
                    </a:lnTo>
                    <a:lnTo>
                      <a:pt x="4558" y="5329"/>
                    </a:lnTo>
                    <a:lnTo>
                      <a:pt x="4271" y="5509"/>
                    </a:lnTo>
                    <a:lnTo>
                      <a:pt x="3991" y="5703"/>
                    </a:lnTo>
                    <a:lnTo>
                      <a:pt x="3720" y="5913"/>
                    </a:lnTo>
                    <a:lnTo>
                      <a:pt x="3457" y="6139"/>
                    </a:lnTo>
                    <a:lnTo>
                      <a:pt x="3203" y="6380"/>
                    </a:lnTo>
                    <a:lnTo>
                      <a:pt x="3178" y="6406"/>
                    </a:lnTo>
                    <a:lnTo>
                      <a:pt x="3154" y="6431"/>
                    </a:lnTo>
                    <a:lnTo>
                      <a:pt x="3129" y="6456"/>
                    </a:lnTo>
                    <a:lnTo>
                      <a:pt x="3104" y="6482"/>
                    </a:lnTo>
                    <a:lnTo>
                      <a:pt x="1996" y="5374"/>
                    </a:lnTo>
                    <a:lnTo>
                      <a:pt x="2020" y="5348"/>
                    </a:lnTo>
                    <a:lnTo>
                      <a:pt x="2045" y="5322"/>
                    </a:lnTo>
                    <a:lnTo>
                      <a:pt x="2069" y="5297"/>
                    </a:lnTo>
                    <a:lnTo>
                      <a:pt x="2095" y="5272"/>
                    </a:lnTo>
                    <a:lnTo>
                      <a:pt x="2406" y="4975"/>
                    </a:lnTo>
                    <a:lnTo>
                      <a:pt x="2731" y="4697"/>
                    </a:lnTo>
                    <a:lnTo>
                      <a:pt x="3065" y="4439"/>
                    </a:lnTo>
                    <a:lnTo>
                      <a:pt x="3408" y="4199"/>
                    </a:lnTo>
                    <a:lnTo>
                      <a:pt x="3761" y="3980"/>
                    </a:lnTo>
                    <a:lnTo>
                      <a:pt x="4122" y="3779"/>
                    </a:lnTo>
                    <a:lnTo>
                      <a:pt x="4491" y="3596"/>
                    </a:lnTo>
                    <a:lnTo>
                      <a:pt x="4866" y="3434"/>
                    </a:lnTo>
                    <a:lnTo>
                      <a:pt x="5247" y="3290"/>
                    </a:lnTo>
                    <a:lnTo>
                      <a:pt x="5635" y="3166"/>
                    </a:lnTo>
                    <a:lnTo>
                      <a:pt x="6026" y="3061"/>
                    </a:lnTo>
                    <a:lnTo>
                      <a:pt x="6421" y="2974"/>
                    </a:lnTo>
                    <a:lnTo>
                      <a:pt x="6819" y="2907"/>
                    </a:lnTo>
                    <a:lnTo>
                      <a:pt x="7219" y="2859"/>
                    </a:lnTo>
                    <a:lnTo>
                      <a:pt x="7622" y="2831"/>
                    </a:lnTo>
                    <a:lnTo>
                      <a:pt x="8024" y="2821"/>
                    </a:lnTo>
                    <a:lnTo>
                      <a:pt x="8427" y="2831"/>
                    </a:lnTo>
                    <a:lnTo>
                      <a:pt x="8829" y="2859"/>
                    </a:lnTo>
                    <a:lnTo>
                      <a:pt x="9229" y="2907"/>
                    </a:lnTo>
                    <a:lnTo>
                      <a:pt x="9627" y="2973"/>
                    </a:lnTo>
                    <a:lnTo>
                      <a:pt x="10022" y="3060"/>
                    </a:lnTo>
                    <a:lnTo>
                      <a:pt x="10413" y="3165"/>
                    </a:lnTo>
                    <a:lnTo>
                      <a:pt x="10801" y="3289"/>
                    </a:lnTo>
                    <a:lnTo>
                      <a:pt x="11182" y="3433"/>
                    </a:lnTo>
                    <a:lnTo>
                      <a:pt x="11558" y="3595"/>
                    </a:lnTo>
                    <a:lnTo>
                      <a:pt x="11926" y="3777"/>
                    </a:lnTo>
                    <a:lnTo>
                      <a:pt x="12287" y="3978"/>
                    </a:lnTo>
                    <a:lnTo>
                      <a:pt x="12640" y="4198"/>
                    </a:lnTo>
                    <a:lnTo>
                      <a:pt x="12984" y="4437"/>
                    </a:lnTo>
                    <a:lnTo>
                      <a:pt x="13318" y="4696"/>
                    </a:lnTo>
                    <a:lnTo>
                      <a:pt x="13641" y="4973"/>
                    </a:lnTo>
                    <a:lnTo>
                      <a:pt x="13954" y="5270"/>
                    </a:lnTo>
                    <a:lnTo>
                      <a:pt x="13980" y="5295"/>
                    </a:lnTo>
                    <a:lnTo>
                      <a:pt x="14005" y="5321"/>
                    </a:lnTo>
                    <a:lnTo>
                      <a:pt x="14030" y="5347"/>
                    </a:lnTo>
                    <a:lnTo>
                      <a:pt x="14055" y="5373"/>
                    </a:lnTo>
                    <a:close/>
                    <a:moveTo>
                      <a:pt x="11928" y="7501"/>
                    </a:moveTo>
                    <a:lnTo>
                      <a:pt x="10854" y="8576"/>
                    </a:lnTo>
                    <a:lnTo>
                      <a:pt x="10829" y="8549"/>
                    </a:lnTo>
                    <a:lnTo>
                      <a:pt x="10805" y="8523"/>
                    </a:lnTo>
                    <a:lnTo>
                      <a:pt x="10780" y="8498"/>
                    </a:lnTo>
                    <a:lnTo>
                      <a:pt x="10754" y="8472"/>
                    </a:lnTo>
                    <a:lnTo>
                      <a:pt x="10610" y="8336"/>
                    </a:lnTo>
                    <a:lnTo>
                      <a:pt x="10462" y="8208"/>
                    </a:lnTo>
                    <a:lnTo>
                      <a:pt x="10307" y="8089"/>
                    </a:lnTo>
                    <a:lnTo>
                      <a:pt x="10150" y="7980"/>
                    </a:lnTo>
                    <a:lnTo>
                      <a:pt x="9987" y="7878"/>
                    </a:lnTo>
                    <a:lnTo>
                      <a:pt x="9821" y="7785"/>
                    </a:lnTo>
                    <a:lnTo>
                      <a:pt x="9651" y="7702"/>
                    </a:lnTo>
                    <a:lnTo>
                      <a:pt x="9479" y="7627"/>
                    </a:lnTo>
                    <a:lnTo>
                      <a:pt x="9303" y="7561"/>
                    </a:lnTo>
                    <a:lnTo>
                      <a:pt x="9124" y="7504"/>
                    </a:lnTo>
                    <a:lnTo>
                      <a:pt x="8945" y="7456"/>
                    </a:lnTo>
                    <a:lnTo>
                      <a:pt x="8762" y="7416"/>
                    </a:lnTo>
                    <a:lnTo>
                      <a:pt x="8580" y="7384"/>
                    </a:lnTo>
                    <a:lnTo>
                      <a:pt x="8395" y="7362"/>
                    </a:lnTo>
                    <a:lnTo>
                      <a:pt x="8210" y="7349"/>
                    </a:lnTo>
                    <a:lnTo>
                      <a:pt x="8025" y="7345"/>
                    </a:lnTo>
                    <a:lnTo>
                      <a:pt x="7839" y="7349"/>
                    </a:lnTo>
                    <a:lnTo>
                      <a:pt x="7655" y="7363"/>
                    </a:lnTo>
                    <a:lnTo>
                      <a:pt x="7470" y="7385"/>
                    </a:lnTo>
                    <a:lnTo>
                      <a:pt x="7287" y="7416"/>
                    </a:lnTo>
                    <a:lnTo>
                      <a:pt x="7105" y="7456"/>
                    </a:lnTo>
                    <a:lnTo>
                      <a:pt x="6926" y="7504"/>
                    </a:lnTo>
                    <a:lnTo>
                      <a:pt x="6747" y="7561"/>
                    </a:lnTo>
                    <a:lnTo>
                      <a:pt x="6571" y="7627"/>
                    </a:lnTo>
                    <a:lnTo>
                      <a:pt x="6399" y="7703"/>
                    </a:lnTo>
                    <a:lnTo>
                      <a:pt x="6229" y="7786"/>
                    </a:lnTo>
                    <a:lnTo>
                      <a:pt x="6063" y="7878"/>
                    </a:lnTo>
                    <a:lnTo>
                      <a:pt x="5900" y="7980"/>
                    </a:lnTo>
                    <a:lnTo>
                      <a:pt x="5742" y="8090"/>
                    </a:lnTo>
                    <a:lnTo>
                      <a:pt x="5588" y="8209"/>
                    </a:lnTo>
                    <a:lnTo>
                      <a:pt x="5440" y="8337"/>
                    </a:lnTo>
                    <a:lnTo>
                      <a:pt x="5297" y="8473"/>
                    </a:lnTo>
                    <a:lnTo>
                      <a:pt x="5271" y="8498"/>
                    </a:lnTo>
                    <a:lnTo>
                      <a:pt x="5246" y="8524"/>
                    </a:lnTo>
                    <a:lnTo>
                      <a:pt x="5222" y="8550"/>
                    </a:lnTo>
                    <a:lnTo>
                      <a:pt x="5198" y="8576"/>
                    </a:lnTo>
                    <a:lnTo>
                      <a:pt x="4123" y="7501"/>
                    </a:lnTo>
                    <a:lnTo>
                      <a:pt x="4147" y="7476"/>
                    </a:lnTo>
                    <a:lnTo>
                      <a:pt x="4172" y="7450"/>
                    </a:lnTo>
                    <a:lnTo>
                      <a:pt x="4197" y="7425"/>
                    </a:lnTo>
                    <a:lnTo>
                      <a:pt x="4222" y="7399"/>
                    </a:lnTo>
                    <a:lnTo>
                      <a:pt x="4422" y="7209"/>
                    </a:lnTo>
                    <a:lnTo>
                      <a:pt x="4629" y="7030"/>
                    </a:lnTo>
                    <a:lnTo>
                      <a:pt x="4843" y="6865"/>
                    </a:lnTo>
                    <a:lnTo>
                      <a:pt x="5064" y="6711"/>
                    </a:lnTo>
                    <a:lnTo>
                      <a:pt x="5290" y="6571"/>
                    </a:lnTo>
                    <a:lnTo>
                      <a:pt x="5522" y="6441"/>
                    </a:lnTo>
                    <a:lnTo>
                      <a:pt x="5758" y="6325"/>
                    </a:lnTo>
                    <a:lnTo>
                      <a:pt x="6000" y="6220"/>
                    </a:lnTo>
                    <a:lnTo>
                      <a:pt x="6243" y="6128"/>
                    </a:lnTo>
                    <a:lnTo>
                      <a:pt x="6492" y="6048"/>
                    </a:lnTo>
                    <a:lnTo>
                      <a:pt x="6743" y="5981"/>
                    </a:lnTo>
                    <a:lnTo>
                      <a:pt x="6997" y="5925"/>
                    </a:lnTo>
                    <a:lnTo>
                      <a:pt x="7252" y="5882"/>
                    </a:lnTo>
                    <a:lnTo>
                      <a:pt x="7508" y="5851"/>
                    </a:lnTo>
                    <a:lnTo>
                      <a:pt x="7766" y="5833"/>
                    </a:lnTo>
                    <a:lnTo>
                      <a:pt x="8025" y="5827"/>
                    </a:lnTo>
                    <a:lnTo>
                      <a:pt x="8283" y="5833"/>
                    </a:lnTo>
                    <a:lnTo>
                      <a:pt x="8541" y="5851"/>
                    </a:lnTo>
                    <a:lnTo>
                      <a:pt x="8797" y="5882"/>
                    </a:lnTo>
                    <a:lnTo>
                      <a:pt x="9053" y="5925"/>
                    </a:lnTo>
                    <a:lnTo>
                      <a:pt x="9306" y="5981"/>
                    </a:lnTo>
                    <a:lnTo>
                      <a:pt x="9557" y="6048"/>
                    </a:lnTo>
                    <a:lnTo>
                      <a:pt x="9806" y="6127"/>
                    </a:lnTo>
                    <a:lnTo>
                      <a:pt x="10050" y="6219"/>
                    </a:lnTo>
                    <a:lnTo>
                      <a:pt x="10291" y="6324"/>
                    </a:lnTo>
                    <a:lnTo>
                      <a:pt x="10528" y="6440"/>
                    </a:lnTo>
                    <a:lnTo>
                      <a:pt x="10760" y="6570"/>
                    </a:lnTo>
                    <a:lnTo>
                      <a:pt x="10985" y="6710"/>
                    </a:lnTo>
                    <a:lnTo>
                      <a:pt x="11206" y="6864"/>
                    </a:lnTo>
                    <a:lnTo>
                      <a:pt x="11421" y="7029"/>
                    </a:lnTo>
                    <a:lnTo>
                      <a:pt x="11627" y="7208"/>
                    </a:lnTo>
                    <a:lnTo>
                      <a:pt x="11828" y="7398"/>
                    </a:lnTo>
                    <a:lnTo>
                      <a:pt x="11853" y="7424"/>
                    </a:lnTo>
                    <a:lnTo>
                      <a:pt x="11878" y="7449"/>
                    </a:lnTo>
                    <a:lnTo>
                      <a:pt x="11903" y="7475"/>
                    </a:lnTo>
                    <a:lnTo>
                      <a:pt x="11928" y="750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6" name="组合 45"/>
            <p:cNvGrpSpPr/>
            <p:nvPr/>
          </p:nvGrpSpPr>
          <p:grpSpPr>
            <a:xfrm>
              <a:off x="4223332" y="3807708"/>
              <a:ext cx="972000" cy="972000"/>
              <a:chOff x="-931799" y="2962588"/>
              <a:chExt cx="972000" cy="972000"/>
            </a:xfrm>
          </p:grpSpPr>
          <p:sp>
            <p:nvSpPr>
              <p:cNvPr id="47" name="椭圆 46"/>
              <p:cNvSpPr/>
              <p:nvPr/>
            </p:nvSpPr>
            <p:spPr>
              <a:xfrm>
                <a:off x="-931799" y="2962588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8" name="椭圆 47"/>
              <p:cNvSpPr/>
              <p:nvPr/>
            </p:nvSpPr>
            <p:spPr>
              <a:xfrm>
                <a:off x="-832834" y="3052588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0" name="组合 59"/>
          <p:cNvGrpSpPr/>
          <p:nvPr/>
        </p:nvGrpSpPr>
        <p:grpSpPr>
          <a:xfrm>
            <a:off x="7811597" y="3806816"/>
            <a:ext cx="971747" cy="971747"/>
            <a:chOff x="5911051" y="3807708"/>
            <a:chExt cx="972000" cy="972000"/>
          </a:xfrm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6133970" y="4060763"/>
              <a:ext cx="509377" cy="465891"/>
            </a:xfrm>
            <a:custGeom>
              <a:avLst/>
              <a:gdLst/>
              <a:ahLst/>
              <a:cxnLst>
                <a:cxn ang="0">
                  <a:pos x="13474" y="5453"/>
                </a:cxn>
                <a:cxn ang="0">
                  <a:pos x="12317" y="4601"/>
                </a:cxn>
                <a:cxn ang="0">
                  <a:pos x="11412" y="4426"/>
                </a:cxn>
                <a:cxn ang="0">
                  <a:pos x="4848" y="9576"/>
                </a:cxn>
                <a:cxn ang="0">
                  <a:pos x="5783" y="10159"/>
                </a:cxn>
                <a:cxn ang="0">
                  <a:pos x="6029" y="10586"/>
                </a:cxn>
                <a:cxn ang="0">
                  <a:pos x="5871" y="11449"/>
                </a:cxn>
                <a:cxn ang="0">
                  <a:pos x="5269" y="11440"/>
                </a:cxn>
                <a:cxn ang="0">
                  <a:pos x="4824" y="10607"/>
                </a:cxn>
                <a:cxn ang="0">
                  <a:pos x="4838" y="9638"/>
                </a:cxn>
                <a:cxn ang="0">
                  <a:pos x="3536" y="8751"/>
                </a:cxn>
                <a:cxn ang="0">
                  <a:pos x="4283" y="9174"/>
                </a:cxn>
                <a:cxn ang="0">
                  <a:pos x="4127" y="9883"/>
                </a:cxn>
                <a:cxn ang="0">
                  <a:pos x="4481" y="11467"/>
                </a:cxn>
                <a:cxn ang="0">
                  <a:pos x="5571" y="12255"/>
                </a:cxn>
                <a:cxn ang="0">
                  <a:pos x="6393" y="11776"/>
                </a:cxn>
                <a:cxn ang="0">
                  <a:pos x="6623" y="11327"/>
                </a:cxn>
                <a:cxn ang="0">
                  <a:pos x="6593" y="10954"/>
                </a:cxn>
                <a:cxn ang="0">
                  <a:pos x="7001" y="12029"/>
                </a:cxn>
                <a:cxn ang="0">
                  <a:pos x="6605" y="13157"/>
                </a:cxn>
                <a:cxn ang="0">
                  <a:pos x="5384" y="13849"/>
                </a:cxn>
                <a:cxn ang="0">
                  <a:pos x="4005" y="13316"/>
                </a:cxn>
                <a:cxn ang="0">
                  <a:pos x="2966" y="11875"/>
                </a:cxn>
                <a:cxn ang="0">
                  <a:pos x="2611" y="10263"/>
                </a:cxn>
                <a:cxn ang="0">
                  <a:pos x="2657" y="9067"/>
                </a:cxn>
                <a:cxn ang="0">
                  <a:pos x="2906" y="8446"/>
                </a:cxn>
                <a:cxn ang="0">
                  <a:pos x="2108" y="8756"/>
                </a:cxn>
                <a:cxn ang="0">
                  <a:pos x="1951" y="10042"/>
                </a:cxn>
                <a:cxn ang="0">
                  <a:pos x="2244" y="11405"/>
                </a:cxn>
                <a:cxn ang="0">
                  <a:pos x="1800" y="11462"/>
                </a:cxn>
                <a:cxn ang="0">
                  <a:pos x="514" y="10430"/>
                </a:cxn>
                <a:cxn ang="0">
                  <a:pos x="0" y="8981"/>
                </a:cxn>
                <a:cxn ang="0">
                  <a:pos x="814" y="8147"/>
                </a:cxn>
                <a:cxn ang="0">
                  <a:pos x="2055" y="8130"/>
                </a:cxn>
                <a:cxn ang="0">
                  <a:pos x="13652" y="11178"/>
                </a:cxn>
                <a:cxn ang="0">
                  <a:pos x="13281" y="11893"/>
                </a:cxn>
                <a:cxn ang="0">
                  <a:pos x="12680" y="12371"/>
                </a:cxn>
                <a:cxn ang="0">
                  <a:pos x="11525" y="12547"/>
                </a:cxn>
                <a:cxn ang="0">
                  <a:pos x="11812" y="11849"/>
                </a:cxn>
                <a:cxn ang="0">
                  <a:pos x="7899" y="11652"/>
                </a:cxn>
                <a:cxn ang="0">
                  <a:pos x="8996" y="12019"/>
                </a:cxn>
                <a:cxn ang="0">
                  <a:pos x="10612" y="11876"/>
                </a:cxn>
                <a:cxn ang="0">
                  <a:pos x="10925" y="12290"/>
                </a:cxn>
                <a:cxn ang="0">
                  <a:pos x="10585" y="12853"/>
                </a:cxn>
                <a:cxn ang="0">
                  <a:pos x="9821" y="13182"/>
                </a:cxn>
                <a:cxn ang="0">
                  <a:pos x="6649" y="14004"/>
                </a:cxn>
                <a:cxn ang="0">
                  <a:pos x="7422" y="12934"/>
                </a:cxn>
                <a:cxn ang="0">
                  <a:pos x="7677" y="12066"/>
                </a:cxn>
                <a:cxn ang="0">
                  <a:pos x="14396" y="10218"/>
                </a:cxn>
                <a:cxn ang="0">
                  <a:pos x="14321" y="8192"/>
                </a:cxn>
                <a:cxn ang="0">
                  <a:pos x="12918" y="5928"/>
                </a:cxn>
                <a:cxn ang="0">
                  <a:pos x="11740" y="5209"/>
                </a:cxn>
                <a:cxn ang="0">
                  <a:pos x="10623" y="5077"/>
                </a:cxn>
                <a:cxn ang="0">
                  <a:pos x="9280" y="5224"/>
                </a:cxn>
                <a:cxn ang="0">
                  <a:pos x="1229" y="7366"/>
                </a:cxn>
                <a:cxn ang="0">
                  <a:pos x="2849" y="7799"/>
                </a:cxn>
                <a:cxn ang="0">
                  <a:pos x="5581" y="9338"/>
                </a:cxn>
                <a:cxn ang="0">
                  <a:pos x="7851" y="10919"/>
                </a:cxn>
                <a:cxn ang="0">
                  <a:pos x="9572" y="11341"/>
                </a:cxn>
                <a:cxn ang="0">
                  <a:pos x="10600" y="11241"/>
                </a:cxn>
                <a:cxn ang="0">
                  <a:pos x="13760" y="10423"/>
                </a:cxn>
              </a:cxnLst>
              <a:rect l="0" t="0" r="r" b="b"/>
              <a:pathLst>
                <a:path w="16170" h="14014">
                  <a:moveTo>
                    <a:pt x="11178" y="2724"/>
                  </a:moveTo>
                  <a:lnTo>
                    <a:pt x="14087" y="2724"/>
                  </a:lnTo>
                  <a:lnTo>
                    <a:pt x="14087" y="6276"/>
                  </a:lnTo>
                  <a:lnTo>
                    <a:pt x="14080" y="6265"/>
                  </a:lnTo>
                  <a:lnTo>
                    <a:pt x="14060" y="6231"/>
                  </a:lnTo>
                  <a:lnTo>
                    <a:pt x="14025" y="6177"/>
                  </a:lnTo>
                  <a:lnTo>
                    <a:pt x="13979" y="6106"/>
                  </a:lnTo>
                  <a:lnTo>
                    <a:pt x="13920" y="6022"/>
                  </a:lnTo>
                  <a:lnTo>
                    <a:pt x="13852" y="5923"/>
                  </a:lnTo>
                  <a:lnTo>
                    <a:pt x="13812" y="5870"/>
                  </a:lnTo>
                  <a:lnTo>
                    <a:pt x="13771" y="5815"/>
                  </a:lnTo>
                  <a:lnTo>
                    <a:pt x="13727" y="5758"/>
                  </a:lnTo>
                  <a:lnTo>
                    <a:pt x="13682" y="5698"/>
                  </a:lnTo>
                  <a:lnTo>
                    <a:pt x="13632" y="5639"/>
                  </a:lnTo>
                  <a:lnTo>
                    <a:pt x="13582" y="5577"/>
                  </a:lnTo>
                  <a:lnTo>
                    <a:pt x="13529" y="5515"/>
                  </a:lnTo>
                  <a:lnTo>
                    <a:pt x="13474" y="5453"/>
                  </a:lnTo>
                  <a:lnTo>
                    <a:pt x="13417" y="5390"/>
                  </a:lnTo>
                  <a:lnTo>
                    <a:pt x="13357" y="5328"/>
                  </a:lnTo>
                  <a:lnTo>
                    <a:pt x="13297" y="5266"/>
                  </a:lnTo>
                  <a:lnTo>
                    <a:pt x="13234" y="5204"/>
                  </a:lnTo>
                  <a:lnTo>
                    <a:pt x="13169" y="5145"/>
                  </a:lnTo>
                  <a:lnTo>
                    <a:pt x="13104" y="5085"/>
                  </a:lnTo>
                  <a:lnTo>
                    <a:pt x="13036" y="5029"/>
                  </a:lnTo>
                  <a:lnTo>
                    <a:pt x="12967" y="4973"/>
                  </a:lnTo>
                  <a:lnTo>
                    <a:pt x="12897" y="4919"/>
                  </a:lnTo>
                  <a:lnTo>
                    <a:pt x="12825" y="4869"/>
                  </a:lnTo>
                  <a:lnTo>
                    <a:pt x="12752" y="4822"/>
                  </a:lnTo>
                  <a:lnTo>
                    <a:pt x="12678" y="4776"/>
                  </a:lnTo>
                  <a:lnTo>
                    <a:pt x="12604" y="4735"/>
                  </a:lnTo>
                  <a:lnTo>
                    <a:pt x="12531" y="4697"/>
                  </a:lnTo>
                  <a:lnTo>
                    <a:pt x="12458" y="4662"/>
                  </a:lnTo>
                  <a:lnTo>
                    <a:pt x="12387" y="4630"/>
                  </a:lnTo>
                  <a:lnTo>
                    <a:pt x="12317" y="4601"/>
                  </a:lnTo>
                  <a:lnTo>
                    <a:pt x="12250" y="4575"/>
                  </a:lnTo>
                  <a:lnTo>
                    <a:pt x="12182" y="4551"/>
                  </a:lnTo>
                  <a:lnTo>
                    <a:pt x="12117" y="4530"/>
                  </a:lnTo>
                  <a:lnTo>
                    <a:pt x="12054" y="4511"/>
                  </a:lnTo>
                  <a:lnTo>
                    <a:pt x="11991" y="4495"/>
                  </a:lnTo>
                  <a:lnTo>
                    <a:pt x="11930" y="4480"/>
                  </a:lnTo>
                  <a:lnTo>
                    <a:pt x="11873" y="4468"/>
                  </a:lnTo>
                  <a:lnTo>
                    <a:pt x="11816" y="4458"/>
                  </a:lnTo>
                  <a:lnTo>
                    <a:pt x="11762" y="4449"/>
                  </a:lnTo>
                  <a:lnTo>
                    <a:pt x="11709" y="4442"/>
                  </a:lnTo>
                  <a:lnTo>
                    <a:pt x="11660" y="4436"/>
                  </a:lnTo>
                  <a:lnTo>
                    <a:pt x="11612" y="4432"/>
                  </a:lnTo>
                  <a:lnTo>
                    <a:pt x="11567" y="4429"/>
                  </a:lnTo>
                  <a:lnTo>
                    <a:pt x="11524" y="4427"/>
                  </a:lnTo>
                  <a:lnTo>
                    <a:pt x="11484" y="4425"/>
                  </a:lnTo>
                  <a:lnTo>
                    <a:pt x="11446" y="4425"/>
                  </a:lnTo>
                  <a:lnTo>
                    <a:pt x="11412" y="4426"/>
                  </a:lnTo>
                  <a:lnTo>
                    <a:pt x="11380" y="4427"/>
                  </a:lnTo>
                  <a:lnTo>
                    <a:pt x="11351" y="4428"/>
                  </a:lnTo>
                  <a:lnTo>
                    <a:pt x="11303" y="4432"/>
                  </a:lnTo>
                  <a:lnTo>
                    <a:pt x="11267" y="4435"/>
                  </a:lnTo>
                  <a:lnTo>
                    <a:pt x="11246" y="4439"/>
                  </a:lnTo>
                  <a:lnTo>
                    <a:pt x="11239" y="4440"/>
                  </a:lnTo>
                  <a:lnTo>
                    <a:pt x="11178" y="2724"/>
                  </a:lnTo>
                  <a:close/>
                  <a:moveTo>
                    <a:pt x="9156" y="0"/>
                  </a:moveTo>
                  <a:lnTo>
                    <a:pt x="16170" y="0"/>
                  </a:lnTo>
                  <a:lnTo>
                    <a:pt x="16170" y="1256"/>
                  </a:lnTo>
                  <a:lnTo>
                    <a:pt x="13383" y="1256"/>
                  </a:lnTo>
                  <a:lnTo>
                    <a:pt x="13383" y="2174"/>
                  </a:lnTo>
                  <a:lnTo>
                    <a:pt x="11820" y="2174"/>
                  </a:lnTo>
                  <a:lnTo>
                    <a:pt x="11820" y="1256"/>
                  </a:lnTo>
                  <a:lnTo>
                    <a:pt x="9156" y="1256"/>
                  </a:lnTo>
                  <a:lnTo>
                    <a:pt x="9156" y="0"/>
                  </a:lnTo>
                  <a:close/>
                  <a:moveTo>
                    <a:pt x="4848" y="9576"/>
                  </a:moveTo>
                  <a:lnTo>
                    <a:pt x="4855" y="9581"/>
                  </a:lnTo>
                  <a:lnTo>
                    <a:pt x="4877" y="9595"/>
                  </a:lnTo>
                  <a:lnTo>
                    <a:pt x="4912" y="9615"/>
                  </a:lnTo>
                  <a:lnTo>
                    <a:pt x="4958" y="9642"/>
                  </a:lnTo>
                  <a:lnTo>
                    <a:pt x="5013" y="9675"/>
                  </a:lnTo>
                  <a:lnTo>
                    <a:pt x="5075" y="9713"/>
                  </a:lnTo>
                  <a:lnTo>
                    <a:pt x="5143" y="9754"/>
                  </a:lnTo>
                  <a:lnTo>
                    <a:pt x="5216" y="9798"/>
                  </a:lnTo>
                  <a:lnTo>
                    <a:pt x="5291" y="9843"/>
                  </a:lnTo>
                  <a:lnTo>
                    <a:pt x="5366" y="9890"/>
                  </a:lnTo>
                  <a:lnTo>
                    <a:pt x="5441" y="9936"/>
                  </a:lnTo>
                  <a:lnTo>
                    <a:pt x="5514" y="9981"/>
                  </a:lnTo>
                  <a:lnTo>
                    <a:pt x="5583" y="10025"/>
                  </a:lnTo>
                  <a:lnTo>
                    <a:pt x="5644" y="10064"/>
                  </a:lnTo>
                  <a:lnTo>
                    <a:pt x="5699" y="10101"/>
                  </a:lnTo>
                  <a:lnTo>
                    <a:pt x="5744" y="10131"/>
                  </a:lnTo>
                  <a:lnTo>
                    <a:pt x="5783" y="10159"/>
                  </a:lnTo>
                  <a:lnTo>
                    <a:pt x="5817" y="10186"/>
                  </a:lnTo>
                  <a:lnTo>
                    <a:pt x="5849" y="10214"/>
                  </a:lnTo>
                  <a:lnTo>
                    <a:pt x="5878" y="10241"/>
                  </a:lnTo>
                  <a:lnTo>
                    <a:pt x="5903" y="10266"/>
                  </a:lnTo>
                  <a:lnTo>
                    <a:pt x="5926" y="10292"/>
                  </a:lnTo>
                  <a:lnTo>
                    <a:pt x="5946" y="10315"/>
                  </a:lnTo>
                  <a:lnTo>
                    <a:pt x="5963" y="10336"/>
                  </a:lnTo>
                  <a:lnTo>
                    <a:pt x="5978" y="10356"/>
                  </a:lnTo>
                  <a:lnTo>
                    <a:pt x="5990" y="10374"/>
                  </a:lnTo>
                  <a:lnTo>
                    <a:pt x="6000" y="10391"/>
                  </a:lnTo>
                  <a:lnTo>
                    <a:pt x="6008" y="10404"/>
                  </a:lnTo>
                  <a:lnTo>
                    <a:pt x="6018" y="10423"/>
                  </a:lnTo>
                  <a:lnTo>
                    <a:pt x="6021" y="10430"/>
                  </a:lnTo>
                  <a:lnTo>
                    <a:pt x="6022" y="10441"/>
                  </a:lnTo>
                  <a:lnTo>
                    <a:pt x="6024" y="10472"/>
                  </a:lnTo>
                  <a:lnTo>
                    <a:pt x="6027" y="10522"/>
                  </a:lnTo>
                  <a:lnTo>
                    <a:pt x="6029" y="10586"/>
                  </a:lnTo>
                  <a:lnTo>
                    <a:pt x="6029" y="10662"/>
                  </a:lnTo>
                  <a:lnTo>
                    <a:pt x="6028" y="10749"/>
                  </a:lnTo>
                  <a:lnTo>
                    <a:pt x="6026" y="10796"/>
                  </a:lnTo>
                  <a:lnTo>
                    <a:pt x="6024" y="10843"/>
                  </a:lnTo>
                  <a:lnTo>
                    <a:pt x="6021" y="10893"/>
                  </a:lnTo>
                  <a:lnTo>
                    <a:pt x="6016" y="10942"/>
                  </a:lnTo>
                  <a:lnTo>
                    <a:pt x="6011" y="10992"/>
                  </a:lnTo>
                  <a:lnTo>
                    <a:pt x="6004" y="11042"/>
                  </a:lnTo>
                  <a:lnTo>
                    <a:pt x="5996" y="11093"/>
                  </a:lnTo>
                  <a:lnTo>
                    <a:pt x="5986" y="11142"/>
                  </a:lnTo>
                  <a:lnTo>
                    <a:pt x="5975" y="11192"/>
                  </a:lnTo>
                  <a:lnTo>
                    <a:pt x="5963" y="11239"/>
                  </a:lnTo>
                  <a:lnTo>
                    <a:pt x="5948" y="11286"/>
                  </a:lnTo>
                  <a:lnTo>
                    <a:pt x="5931" y="11330"/>
                  </a:lnTo>
                  <a:lnTo>
                    <a:pt x="5913" y="11372"/>
                  </a:lnTo>
                  <a:lnTo>
                    <a:pt x="5893" y="11412"/>
                  </a:lnTo>
                  <a:lnTo>
                    <a:pt x="5871" y="11449"/>
                  </a:lnTo>
                  <a:lnTo>
                    <a:pt x="5846" y="11484"/>
                  </a:lnTo>
                  <a:lnTo>
                    <a:pt x="5819" y="11514"/>
                  </a:lnTo>
                  <a:lnTo>
                    <a:pt x="5790" y="11541"/>
                  </a:lnTo>
                  <a:lnTo>
                    <a:pt x="5758" y="11563"/>
                  </a:lnTo>
                  <a:lnTo>
                    <a:pt x="5723" y="11582"/>
                  </a:lnTo>
                  <a:lnTo>
                    <a:pt x="5687" y="11596"/>
                  </a:lnTo>
                  <a:lnTo>
                    <a:pt x="5649" y="11603"/>
                  </a:lnTo>
                  <a:lnTo>
                    <a:pt x="5612" y="11606"/>
                  </a:lnTo>
                  <a:lnTo>
                    <a:pt x="5574" y="11604"/>
                  </a:lnTo>
                  <a:lnTo>
                    <a:pt x="5535" y="11598"/>
                  </a:lnTo>
                  <a:lnTo>
                    <a:pt x="5497" y="11587"/>
                  </a:lnTo>
                  <a:lnTo>
                    <a:pt x="5458" y="11571"/>
                  </a:lnTo>
                  <a:lnTo>
                    <a:pt x="5420" y="11552"/>
                  </a:lnTo>
                  <a:lnTo>
                    <a:pt x="5382" y="11529"/>
                  </a:lnTo>
                  <a:lnTo>
                    <a:pt x="5344" y="11503"/>
                  </a:lnTo>
                  <a:lnTo>
                    <a:pt x="5306" y="11473"/>
                  </a:lnTo>
                  <a:lnTo>
                    <a:pt x="5269" y="11440"/>
                  </a:lnTo>
                  <a:lnTo>
                    <a:pt x="5233" y="11404"/>
                  </a:lnTo>
                  <a:lnTo>
                    <a:pt x="5197" y="11365"/>
                  </a:lnTo>
                  <a:lnTo>
                    <a:pt x="5162" y="11324"/>
                  </a:lnTo>
                  <a:lnTo>
                    <a:pt x="5128" y="11280"/>
                  </a:lnTo>
                  <a:lnTo>
                    <a:pt x="5095" y="11235"/>
                  </a:lnTo>
                  <a:lnTo>
                    <a:pt x="5063" y="11188"/>
                  </a:lnTo>
                  <a:lnTo>
                    <a:pt x="5033" y="11139"/>
                  </a:lnTo>
                  <a:lnTo>
                    <a:pt x="5004" y="11089"/>
                  </a:lnTo>
                  <a:lnTo>
                    <a:pt x="4975" y="11037"/>
                  </a:lnTo>
                  <a:lnTo>
                    <a:pt x="4950" y="10985"/>
                  </a:lnTo>
                  <a:lnTo>
                    <a:pt x="4926" y="10931"/>
                  </a:lnTo>
                  <a:lnTo>
                    <a:pt x="4904" y="10876"/>
                  </a:lnTo>
                  <a:lnTo>
                    <a:pt x="4883" y="10823"/>
                  </a:lnTo>
                  <a:lnTo>
                    <a:pt x="4865" y="10768"/>
                  </a:lnTo>
                  <a:lnTo>
                    <a:pt x="4849" y="10714"/>
                  </a:lnTo>
                  <a:lnTo>
                    <a:pt x="4835" y="10660"/>
                  </a:lnTo>
                  <a:lnTo>
                    <a:pt x="4824" y="10607"/>
                  </a:lnTo>
                  <a:lnTo>
                    <a:pt x="4815" y="10553"/>
                  </a:lnTo>
                  <a:lnTo>
                    <a:pt x="4809" y="10502"/>
                  </a:lnTo>
                  <a:lnTo>
                    <a:pt x="4806" y="10451"/>
                  </a:lnTo>
                  <a:lnTo>
                    <a:pt x="4804" y="10402"/>
                  </a:lnTo>
                  <a:lnTo>
                    <a:pt x="4801" y="10353"/>
                  </a:lnTo>
                  <a:lnTo>
                    <a:pt x="4801" y="10307"/>
                  </a:lnTo>
                  <a:lnTo>
                    <a:pt x="4800" y="10260"/>
                  </a:lnTo>
                  <a:lnTo>
                    <a:pt x="4801" y="10172"/>
                  </a:lnTo>
                  <a:lnTo>
                    <a:pt x="4802" y="10090"/>
                  </a:lnTo>
                  <a:lnTo>
                    <a:pt x="4806" y="10012"/>
                  </a:lnTo>
                  <a:lnTo>
                    <a:pt x="4810" y="9940"/>
                  </a:lnTo>
                  <a:lnTo>
                    <a:pt x="4814" y="9874"/>
                  </a:lnTo>
                  <a:lnTo>
                    <a:pt x="4819" y="9814"/>
                  </a:lnTo>
                  <a:lnTo>
                    <a:pt x="4824" y="9760"/>
                  </a:lnTo>
                  <a:lnTo>
                    <a:pt x="4829" y="9713"/>
                  </a:lnTo>
                  <a:lnTo>
                    <a:pt x="4834" y="9672"/>
                  </a:lnTo>
                  <a:lnTo>
                    <a:pt x="4838" y="9638"/>
                  </a:lnTo>
                  <a:lnTo>
                    <a:pt x="4842" y="9612"/>
                  </a:lnTo>
                  <a:lnTo>
                    <a:pt x="4845" y="9593"/>
                  </a:lnTo>
                  <a:lnTo>
                    <a:pt x="4847" y="9580"/>
                  </a:lnTo>
                  <a:lnTo>
                    <a:pt x="4848" y="9576"/>
                  </a:lnTo>
                  <a:close/>
                  <a:moveTo>
                    <a:pt x="2906" y="8446"/>
                  </a:moveTo>
                  <a:lnTo>
                    <a:pt x="2912" y="8449"/>
                  </a:lnTo>
                  <a:lnTo>
                    <a:pt x="2930" y="8458"/>
                  </a:lnTo>
                  <a:lnTo>
                    <a:pt x="2959" y="8472"/>
                  </a:lnTo>
                  <a:lnTo>
                    <a:pt x="2999" y="8491"/>
                  </a:lnTo>
                  <a:lnTo>
                    <a:pt x="3046" y="8515"/>
                  </a:lnTo>
                  <a:lnTo>
                    <a:pt x="3102" y="8542"/>
                  </a:lnTo>
                  <a:lnTo>
                    <a:pt x="3163" y="8572"/>
                  </a:lnTo>
                  <a:lnTo>
                    <a:pt x="3231" y="8606"/>
                  </a:lnTo>
                  <a:lnTo>
                    <a:pt x="3303" y="8641"/>
                  </a:lnTo>
                  <a:lnTo>
                    <a:pt x="3379" y="8677"/>
                  </a:lnTo>
                  <a:lnTo>
                    <a:pt x="3456" y="8714"/>
                  </a:lnTo>
                  <a:lnTo>
                    <a:pt x="3536" y="8751"/>
                  </a:lnTo>
                  <a:lnTo>
                    <a:pt x="3615" y="8789"/>
                  </a:lnTo>
                  <a:lnTo>
                    <a:pt x="3694" y="8826"/>
                  </a:lnTo>
                  <a:lnTo>
                    <a:pt x="3771" y="8860"/>
                  </a:lnTo>
                  <a:lnTo>
                    <a:pt x="3844" y="8893"/>
                  </a:lnTo>
                  <a:lnTo>
                    <a:pt x="3880" y="8910"/>
                  </a:lnTo>
                  <a:lnTo>
                    <a:pt x="3913" y="8926"/>
                  </a:lnTo>
                  <a:lnTo>
                    <a:pt x="3944" y="8941"/>
                  </a:lnTo>
                  <a:lnTo>
                    <a:pt x="3975" y="8956"/>
                  </a:lnTo>
                  <a:lnTo>
                    <a:pt x="4030" y="8986"/>
                  </a:lnTo>
                  <a:lnTo>
                    <a:pt x="4080" y="9016"/>
                  </a:lnTo>
                  <a:lnTo>
                    <a:pt x="4123" y="9044"/>
                  </a:lnTo>
                  <a:lnTo>
                    <a:pt x="4162" y="9070"/>
                  </a:lnTo>
                  <a:lnTo>
                    <a:pt x="4195" y="9095"/>
                  </a:lnTo>
                  <a:lnTo>
                    <a:pt x="4223" y="9118"/>
                  </a:lnTo>
                  <a:lnTo>
                    <a:pt x="4248" y="9139"/>
                  </a:lnTo>
                  <a:lnTo>
                    <a:pt x="4267" y="9157"/>
                  </a:lnTo>
                  <a:lnTo>
                    <a:pt x="4283" y="9174"/>
                  </a:lnTo>
                  <a:lnTo>
                    <a:pt x="4295" y="9187"/>
                  </a:lnTo>
                  <a:lnTo>
                    <a:pt x="4309" y="9207"/>
                  </a:lnTo>
                  <a:lnTo>
                    <a:pt x="4314" y="9214"/>
                  </a:lnTo>
                  <a:lnTo>
                    <a:pt x="4308" y="9226"/>
                  </a:lnTo>
                  <a:lnTo>
                    <a:pt x="4292" y="9261"/>
                  </a:lnTo>
                  <a:lnTo>
                    <a:pt x="4281" y="9288"/>
                  </a:lnTo>
                  <a:lnTo>
                    <a:pt x="4269" y="9320"/>
                  </a:lnTo>
                  <a:lnTo>
                    <a:pt x="4256" y="9356"/>
                  </a:lnTo>
                  <a:lnTo>
                    <a:pt x="4241" y="9398"/>
                  </a:lnTo>
                  <a:lnTo>
                    <a:pt x="4225" y="9444"/>
                  </a:lnTo>
                  <a:lnTo>
                    <a:pt x="4210" y="9495"/>
                  </a:lnTo>
                  <a:lnTo>
                    <a:pt x="4194" y="9549"/>
                  </a:lnTo>
                  <a:lnTo>
                    <a:pt x="4179" y="9609"/>
                  </a:lnTo>
                  <a:lnTo>
                    <a:pt x="4165" y="9672"/>
                  </a:lnTo>
                  <a:lnTo>
                    <a:pt x="4151" y="9739"/>
                  </a:lnTo>
                  <a:lnTo>
                    <a:pt x="4139" y="9810"/>
                  </a:lnTo>
                  <a:lnTo>
                    <a:pt x="4127" y="9883"/>
                  </a:lnTo>
                  <a:lnTo>
                    <a:pt x="4118" y="9960"/>
                  </a:lnTo>
                  <a:lnTo>
                    <a:pt x="4111" y="10040"/>
                  </a:lnTo>
                  <a:lnTo>
                    <a:pt x="4107" y="10123"/>
                  </a:lnTo>
                  <a:lnTo>
                    <a:pt x="4106" y="10209"/>
                  </a:lnTo>
                  <a:lnTo>
                    <a:pt x="4107" y="10297"/>
                  </a:lnTo>
                  <a:lnTo>
                    <a:pt x="4112" y="10387"/>
                  </a:lnTo>
                  <a:lnTo>
                    <a:pt x="4121" y="10478"/>
                  </a:lnTo>
                  <a:lnTo>
                    <a:pt x="4134" y="10572"/>
                  </a:lnTo>
                  <a:lnTo>
                    <a:pt x="4152" y="10668"/>
                  </a:lnTo>
                  <a:lnTo>
                    <a:pt x="4173" y="10765"/>
                  </a:lnTo>
                  <a:lnTo>
                    <a:pt x="4200" y="10864"/>
                  </a:lnTo>
                  <a:lnTo>
                    <a:pt x="4232" y="10963"/>
                  </a:lnTo>
                  <a:lnTo>
                    <a:pt x="4270" y="11064"/>
                  </a:lnTo>
                  <a:lnTo>
                    <a:pt x="4314" y="11165"/>
                  </a:lnTo>
                  <a:lnTo>
                    <a:pt x="4364" y="11266"/>
                  </a:lnTo>
                  <a:lnTo>
                    <a:pt x="4420" y="11368"/>
                  </a:lnTo>
                  <a:lnTo>
                    <a:pt x="4481" y="11467"/>
                  </a:lnTo>
                  <a:lnTo>
                    <a:pt x="4544" y="11559"/>
                  </a:lnTo>
                  <a:lnTo>
                    <a:pt x="4605" y="11645"/>
                  </a:lnTo>
                  <a:lnTo>
                    <a:pt x="4669" y="11724"/>
                  </a:lnTo>
                  <a:lnTo>
                    <a:pt x="4734" y="11798"/>
                  </a:lnTo>
                  <a:lnTo>
                    <a:pt x="4798" y="11864"/>
                  </a:lnTo>
                  <a:lnTo>
                    <a:pt x="4864" y="11926"/>
                  </a:lnTo>
                  <a:lnTo>
                    <a:pt x="4930" y="11982"/>
                  </a:lnTo>
                  <a:lnTo>
                    <a:pt x="4996" y="12031"/>
                  </a:lnTo>
                  <a:lnTo>
                    <a:pt x="5061" y="12075"/>
                  </a:lnTo>
                  <a:lnTo>
                    <a:pt x="5127" y="12115"/>
                  </a:lnTo>
                  <a:lnTo>
                    <a:pt x="5192" y="12149"/>
                  </a:lnTo>
                  <a:lnTo>
                    <a:pt x="5256" y="12179"/>
                  </a:lnTo>
                  <a:lnTo>
                    <a:pt x="5321" y="12203"/>
                  </a:lnTo>
                  <a:lnTo>
                    <a:pt x="5385" y="12223"/>
                  </a:lnTo>
                  <a:lnTo>
                    <a:pt x="5448" y="12238"/>
                  </a:lnTo>
                  <a:lnTo>
                    <a:pt x="5510" y="12249"/>
                  </a:lnTo>
                  <a:lnTo>
                    <a:pt x="5571" y="12255"/>
                  </a:lnTo>
                  <a:lnTo>
                    <a:pt x="5630" y="12258"/>
                  </a:lnTo>
                  <a:lnTo>
                    <a:pt x="5689" y="12256"/>
                  </a:lnTo>
                  <a:lnTo>
                    <a:pt x="5746" y="12251"/>
                  </a:lnTo>
                  <a:lnTo>
                    <a:pt x="5801" y="12242"/>
                  </a:lnTo>
                  <a:lnTo>
                    <a:pt x="5855" y="12230"/>
                  </a:lnTo>
                  <a:lnTo>
                    <a:pt x="5907" y="12215"/>
                  </a:lnTo>
                  <a:lnTo>
                    <a:pt x="5957" y="12196"/>
                  </a:lnTo>
                  <a:lnTo>
                    <a:pt x="6004" y="12173"/>
                  </a:lnTo>
                  <a:lnTo>
                    <a:pt x="6049" y="12149"/>
                  </a:lnTo>
                  <a:lnTo>
                    <a:pt x="6091" y="12122"/>
                  </a:lnTo>
                  <a:lnTo>
                    <a:pt x="6131" y="12092"/>
                  </a:lnTo>
                  <a:lnTo>
                    <a:pt x="6169" y="12059"/>
                  </a:lnTo>
                  <a:lnTo>
                    <a:pt x="6203" y="12024"/>
                  </a:lnTo>
                  <a:lnTo>
                    <a:pt x="6236" y="11988"/>
                  </a:lnTo>
                  <a:lnTo>
                    <a:pt x="6292" y="11913"/>
                  </a:lnTo>
                  <a:lnTo>
                    <a:pt x="6346" y="11843"/>
                  </a:lnTo>
                  <a:lnTo>
                    <a:pt x="6393" y="11776"/>
                  </a:lnTo>
                  <a:lnTo>
                    <a:pt x="6437" y="11714"/>
                  </a:lnTo>
                  <a:lnTo>
                    <a:pt x="6456" y="11684"/>
                  </a:lnTo>
                  <a:lnTo>
                    <a:pt x="6475" y="11654"/>
                  </a:lnTo>
                  <a:lnTo>
                    <a:pt x="6492" y="11626"/>
                  </a:lnTo>
                  <a:lnTo>
                    <a:pt x="6508" y="11599"/>
                  </a:lnTo>
                  <a:lnTo>
                    <a:pt x="6524" y="11572"/>
                  </a:lnTo>
                  <a:lnTo>
                    <a:pt x="6538" y="11546"/>
                  </a:lnTo>
                  <a:lnTo>
                    <a:pt x="6551" y="11521"/>
                  </a:lnTo>
                  <a:lnTo>
                    <a:pt x="6563" y="11497"/>
                  </a:lnTo>
                  <a:lnTo>
                    <a:pt x="6574" y="11473"/>
                  </a:lnTo>
                  <a:lnTo>
                    <a:pt x="6584" y="11450"/>
                  </a:lnTo>
                  <a:lnTo>
                    <a:pt x="6593" y="11428"/>
                  </a:lnTo>
                  <a:lnTo>
                    <a:pt x="6600" y="11407"/>
                  </a:lnTo>
                  <a:lnTo>
                    <a:pt x="6607" y="11386"/>
                  </a:lnTo>
                  <a:lnTo>
                    <a:pt x="6614" y="11365"/>
                  </a:lnTo>
                  <a:lnTo>
                    <a:pt x="6619" y="11346"/>
                  </a:lnTo>
                  <a:lnTo>
                    <a:pt x="6623" y="11327"/>
                  </a:lnTo>
                  <a:lnTo>
                    <a:pt x="6625" y="11309"/>
                  </a:lnTo>
                  <a:lnTo>
                    <a:pt x="6627" y="11292"/>
                  </a:lnTo>
                  <a:lnTo>
                    <a:pt x="6628" y="11274"/>
                  </a:lnTo>
                  <a:lnTo>
                    <a:pt x="6629" y="11258"/>
                  </a:lnTo>
                  <a:lnTo>
                    <a:pt x="6628" y="11242"/>
                  </a:lnTo>
                  <a:lnTo>
                    <a:pt x="6626" y="11227"/>
                  </a:lnTo>
                  <a:lnTo>
                    <a:pt x="6623" y="11212"/>
                  </a:lnTo>
                  <a:lnTo>
                    <a:pt x="6620" y="11198"/>
                  </a:lnTo>
                  <a:lnTo>
                    <a:pt x="6613" y="11170"/>
                  </a:lnTo>
                  <a:lnTo>
                    <a:pt x="6606" y="11142"/>
                  </a:lnTo>
                  <a:lnTo>
                    <a:pt x="6601" y="11115"/>
                  </a:lnTo>
                  <a:lnTo>
                    <a:pt x="6598" y="11089"/>
                  </a:lnTo>
                  <a:lnTo>
                    <a:pt x="6595" y="11062"/>
                  </a:lnTo>
                  <a:lnTo>
                    <a:pt x="6594" y="11038"/>
                  </a:lnTo>
                  <a:lnTo>
                    <a:pt x="6593" y="11015"/>
                  </a:lnTo>
                  <a:lnTo>
                    <a:pt x="6592" y="10993"/>
                  </a:lnTo>
                  <a:lnTo>
                    <a:pt x="6593" y="10954"/>
                  </a:lnTo>
                  <a:lnTo>
                    <a:pt x="6595" y="10925"/>
                  </a:lnTo>
                  <a:lnTo>
                    <a:pt x="6597" y="10906"/>
                  </a:lnTo>
                  <a:lnTo>
                    <a:pt x="6598" y="10899"/>
                  </a:lnTo>
                  <a:lnTo>
                    <a:pt x="7004" y="11176"/>
                  </a:lnTo>
                  <a:lnTo>
                    <a:pt x="7005" y="11190"/>
                  </a:lnTo>
                  <a:lnTo>
                    <a:pt x="7008" y="11226"/>
                  </a:lnTo>
                  <a:lnTo>
                    <a:pt x="7011" y="11286"/>
                  </a:lnTo>
                  <a:lnTo>
                    <a:pt x="7015" y="11363"/>
                  </a:lnTo>
                  <a:lnTo>
                    <a:pt x="7018" y="11457"/>
                  </a:lnTo>
                  <a:lnTo>
                    <a:pt x="7020" y="11567"/>
                  </a:lnTo>
                  <a:lnTo>
                    <a:pt x="7019" y="11626"/>
                  </a:lnTo>
                  <a:lnTo>
                    <a:pt x="7018" y="11689"/>
                  </a:lnTo>
                  <a:lnTo>
                    <a:pt x="7017" y="11753"/>
                  </a:lnTo>
                  <a:lnTo>
                    <a:pt x="7015" y="11819"/>
                  </a:lnTo>
                  <a:lnTo>
                    <a:pt x="7011" y="11888"/>
                  </a:lnTo>
                  <a:lnTo>
                    <a:pt x="7006" y="11957"/>
                  </a:lnTo>
                  <a:lnTo>
                    <a:pt x="7001" y="12029"/>
                  </a:lnTo>
                  <a:lnTo>
                    <a:pt x="6994" y="12101"/>
                  </a:lnTo>
                  <a:lnTo>
                    <a:pt x="6984" y="12173"/>
                  </a:lnTo>
                  <a:lnTo>
                    <a:pt x="6974" y="12246"/>
                  </a:lnTo>
                  <a:lnTo>
                    <a:pt x="6963" y="12319"/>
                  </a:lnTo>
                  <a:lnTo>
                    <a:pt x="6949" y="12392"/>
                  </a:lnTo>
                  <a:lnTo>
                    <a:pt x="6934" y="12463"/>
                  </a:lnTo>
                  <a:lnTo>
                    <a:pt x="6917" y="12535"/>
                  </a:lnTo>
                  <a:lnTo>
                    <a:pt x="6898" y="12605"/>
                  </a:lnTo>
                  <a:lnTo>
                    <a:pt x="6877" y="12674"/>
                  </a:lnTo>
                  <a:lnTo>
                    <a:pt x="6853" y="12740"/>
                  </a:lnTo>
                  <a:lnTo>
                    <a:pt x="6828" y="12805"/>
                  </a:lnTo>
                  <a:lnTo>
                    <a:pt x="6799" y="12866"/>
                  </a:lnTo>
                  <a:lnTo>
                    <a:pt x="6769" y="12926"/>
                  </a:lnTo>
                  <a:lnTo>
                    <a:pt x="6735" y="12985"/>
                  </a:lnTo>
                  <a:lnTo>
                    <a:pt x="6695" y="13042"/>
                  </a:lnTo>
                  <a:lnTo>
                    <a:pt x="6653" y="13100"/>
                  </a:lnTo>
                  <a:lnTo>
                    <a:pt x="6605" y="13157"/>
                  </a:lnTo>
                  <a:lnTo>
                    <a:pt x="6555" y="13215"/>
                  </a:lnTo>
                  <a:lnTo>
                    <a:pt x="6500" y="13271"/>
                  </a:lnTo>
                  <a:lnTo>
                    <a:pt x="6443" y="13325"/>
                  </a:lnTo>
                  <a:lnTo>
                    <a:pt x="6381" y="13379"/>
                  </a:lnTo>
                  <a:lnTo>
                    <a:pt x="6317" y="13431"/>
                  </a:lnTo>
                  <a:lnTo>
                    <a:pt x="6251" y="13481"/>
                  </a:lnTo>
                  <a:lnTo>
                    <a:pt x="6181" y="13529"/>
                  </a:lnTo>
                  <a:lnTo>
                    <a:pt x="6109" y="13575"/>
                  </a:lnTo>
                  <a:lnTo>
                    <a:pt x="6034" y="13618"/>
                  </a:lnTo>
                  <a:lnTo>
                    <a:pt x="5959" y="13659"/>
                  </a:lnTo>
                  <a:lnTo>
                    <a:pt x="5880" y="13697"/>
                  </a:lnTo>
                  <a:lnTo>
                    <a:pt x="5800" y="13731"/>
                  </a:lnTo>
                  <a:lnTo>
                    <a:pt x="5719" y="13762"/>
                  </a:lnTo>
                  <a:lnTo>
                    <a:pt x="5636" y="13791"/>
                  </a:lnTo>
                  <a:lnTo>
                    <a:pt x="5552" y="13814"/>
                  </a:lnTo>
                  <a:lnTo>
                    <a:pt x="5468" y="13834"/>
                  </a:lnTo>
                  <a:lnTo>
                    <a:pt x="5384" y="13849"/>
                  </a:lnTo>
                  <a:lnTo>
                    <a:pt x="5299" y="13860"/>
                  </a:lnTo>
                  <a:lnTo>
                    <a:pt x="5213" y="13867"/>
                  </a:lnTo>
                  <a:lnTo>
                    <a:pt x="5127" y="13869"/>
                  </a:lnTo>
                  <a:lnTo>
                    <a:pt x="5041" y="13864"/>
                  </a:lnTo>
                  <a:lnTo>
                    <a:pt x="4956" y="13855"/>
                  </a:lnTo>
                  <a:lnTo>
                    <a:pt x="4871" y="13840"/>
                  </a:lnTo>
                  <a:lnTo>
                    <a:pt x="4787" y="13819"/>
                  </a:lnTo>
                  <a:lnTo>
                    <a:pt x="4704" y="13793"/>
                  </a:lnTo>
                  <a:lnTo>
                    <a:pt x="4623" y="13759"/>
                  </a:lnTo>
                  <a:lnTo>
                    <a:pt x="4543" y="13719"/>
                  </a:lnTo>
                  <a:lnTo>
                    <a:pt x="4464" y="13673"/>
                  </a:lnTo>
                  <a:lnTo>
                    <a:pt x="4386" y="13621"/>
                  </a:lnTo>
                  <a:lnTo>
                    <a:pt x="4308" y="13566"/>
                  </a:lnTo>
                  <a:lnTo>
                    <a:pt x="4231" y="13508"/>
                  </a:lnTo>
                  <a:lnTo>
                    <a:pt x="4156" y="13447"/>
                  </a:lnTo>
                  <a:lnTo>
                    <a:pt x="4080" y="13383"/>
                  </a:lnTo>
                  <a:lnTo>
                    <a:pt x="4005" y="13316"/>
                  </a:lnTo>
                  <a:lnTo>
                    <a:pt x="3932" y="13247"/>
                  </a:lnTo>
                  <a:lnTo>
                    <a:pt x="3860" y="13175"/>
                  </a:lnTo>
                  <a:lnTo>
                    <a:pt x="3788" y="13101"/>
                  </a:lnTo>
                  <a:lnTo>
                    <a:pt x="3718" y="13024"/>
                  </a:lnTo>
                  <a:lnTo>
                    <a:pt x="3649" y="12945"/>
                  </a:lnTo>
                  <a:lnTo>
                    <a:pt x="3582" y="12864"/>
                  </a:lnTo>
                  <a:lnTo>
                    <a:pt x="3516" y="12782"/>
                  </a:lnTo>
                  <a:lnTo>
                    <a:pt x="3452" y="12698"/>
                  </a:lnTo>
                  <a:lnTo>
                    <a:pt x="3390" y="12611"/>
                  </a:lnTo>
                  <a:lnTo>
                    <a:pt x="3330" y="12523"/>
                  </a:lnTo>
                  <a:lnTo>
                    <a:pt x="3271" y="12434"/>
                  </a:lnTo>
                  <a:lnTo>
                    <a:pt x="3215" y="12343"/>
                  </a:lnTo>
                  <a:lnTo>
                    <a:pt x="3160" y="12252"/>
                  </a:lnTo>
                  <a:lnTo>
                    <a:pt x="3108" y="12159"/>
                  </a:lnTo>
                  <a:lnTo>
                    <a:pt x="3058" y="12065"/>
                  </a:lnTo>
                  <a:lnTo>
                    <a:pt x="3011" y="11970"/>
                  </a:lnTo>
                  <a:lnTo>
                    <a:pt x="2966" y="11875"/>
                  </a:lnTo>
                  <a:lnTo>
                    <a:pt x="2924" y="11780"/>
                  </a:lnTo>
                  <a:lnTo>
                    <a:pt x="2884" y="11684"/>
                  </a:lnTo>
                  <a:lnTo>
                    <a:pt x="2848" y="11587"/>
                  </a:lnTo>
                  <a:lnTo>
                    <a:pt x="2814" y="11490"/>
                  </a:lnTo>
                  <a:lnTo>
                    <a:pt x="2783" y="11393"/>
                  </a:lnTo>
                  <a:lnTo>
                    <a:pt x="2755" y="11296"/>
                  </a:lnTo>
                  <a:lnTo>
                    <a:pt x="2731" y="11199"/>
                  </a:lnTo>
                  <a:lnTo>
                    <a:pt x="2709" y="11102"/>
                  </a:lnTo>
                  <a:lnTo>
                    <a:pt x="2692" y="11006"/>
                  </a:lnTo>
                  <a:lnTo>
                    <a:pt x="2677" y="10910"/>
                  </a:lnTo>
                  <a:lnTo>
                    <a:pt x="2663" y="10815"/>
                  </a:lnTo>
                  <a:lnTo>
                    <a:pt x="2651" y="10721"/>
                  </a:lnTo>
                  <a:lnTo>
                    <a:pt x="2641" y="10627"/>
                  </a:lnTo>
                  <a:lnTo>
                    <a:pt x="2631" y="10535"/>
                  </a:lnTo>
                  <a:lnTo>
                    <a:pt x="2624" y="10443"/>
                  </a:lnTo>
                  <a:lnTo>
                    <a:pt x="2617" y="10353"/>
                  </a:lnTo>
                  <a:lnTo>
                    <a:pt x="2611" y="10263"/>
                  </a:lnTo>
                  <a:lnTo>
                    <a:pt x="2607" y="10176"/>
                  </a:lnTo>
                  <a:lnTo>
                    <a:pt x="2604" y="10091"/>
                  </a:lnTo>
                  <a:lnTo>
                    <a:pt x="2602" y="10006"/>
                  </a:lnTo>
                  <a:lnTo>
                    <a:pt x="2601" y="9924"/>
                  </a:lnTo>
                  <a:lnTo>
                    <a:pt x="2601" y="9843"/>
                  </a:lnTo>
                  <a:lnTo>
                    <a:pt x="2602" y="9764"/>
                  </a:lnTo>
                  <a:lnTo>
                    <a:pt x="2604" y="9687"/>
                  </a:lnTo>
                  <a:lnTo>
                    <a:pt x="2606" y="9614"/>
                  </a:lnTo>
                  <a:lnTo>
                    <a:pt x="2609" y="9542"/>
                  </a:lnTo>
                  <a:lnTo>
                    <a:pt x="2613" y="9472"/>
                  </a:lnTo>
                  <a:lnTo>
                    <a:pt x="2619" y="9406"/>
                  </a:lnTo>
                  <a:lnTo>
                    <a:pt x="2624" y="9342"/>
                  </a:lnTo>
                  <a:lnTo>
                    <a:pt x="2630" y="9280"/>
                  </a:lnTo>
                  <a:lnTo>
                    <a:pt x="2636" y="9223"/>
                  </a:lnTo>
                  <a:lnTo>
                    <a:pt x="2643" y="9167"/>
                  </a:lnTo>
                  <a:lnTo>
                    <a:pt x="2650" y="9116"/>
                  </a:lnTo>
                  <a:lnTo>
                    <a:pt x="2657" y="9067"/>
                  </a:lnTo>
                  <a:lnTo>
                    <a:pt x="2665" y="9022"/>
                  </a:lnTo>
                  <a:lnTo>
                    <a:pt x="2673" y="8980"/>
                  </a:lnTo>
                  <a:lnTo>
                    <a:pt x="2681" y="8942"/>
                  </a:lnTo>
                  <a:lnTo>
                    <a:pt x="2689" y="8909"/>
                  </a:lnTo>
                  <a:lnTo>
                    <a:pt x="2697" y="8878"/>
                  </a:lnTo>
                  <a:lnTo>
                    <a:pt x="2705" y="8852"/>
                  </a:lnTo>
                  <a:lnTo>
                    <a:pt x="2714" y="8830"/>
                  </a:lnTo>
                  <a:lnTo>
                    <a:pt x="2730" y="8790"/>
                  </a:lnTo>
                  <a:lnTo>
                    <a:pt x="2746" y="8752"/>
                  </a:lnTo>
                  <a:lnTo>
                    <a:pt x="2763" y="8715"/>
                  </a:lnTo>
                  <a:lnTo>
                    <a:pt x="2779" y="8679"/>
                  </a:lnTo>
                  <a:lnTo>
                    <a:pt x="2812" y="8615"/>
                  </a:lnTo>
                  <a:lnTo>
                    <a:pt x="2842" y="8557"/>
                  </a:lnTo>
                  <a:lnTo>
                    <a:pt x="2867" y="8511"/>
                  </a:lnTo>
                  <a:lnTo>
                    <a:pt x="2887" y="8475"/>
                  </a:lnTo>
                  <a:lnTo>
                    <a:pt x="2900" y="8453"/>
                  </a:lnTo>
                  <a:lnTo>
                    <a:pt x="2906" y="8446"/>
                  </a:lnTo>
                  <a:close/>
                  <a:moveTo>
                    <a:pt x="2372" y="8211"/>
                  </a:moveTo>
                  <a:lnTo>
                    <a:pt x="2368" y="8217"/>
                  </a:lnTo>
                  <a:lnTo>
                    <a:pt x="2356" y="8233"/>
                  </a:lnTo>
                  <a:lnTo>
                    <a:pt x="2338" y="8260"/>
                  </a:lnTo>
                  <a:lnTo>
                    <a:pt x="2314" y="8298"/>
                  </a:lnTo>
                  <a:lnTo>
                    <a:pt x="2300" y="8322"/>
                  </a:lnTo>
                  <a:lnTo>
                    <a:pt x="2286" y="8348"/>
                  </a:lnTo>
                  <a:lnTo>
                    <a:pt x="2270" y="8376"/>
                  </a:lnTo>
                  <a:lnTo>
                    <a:pt x="2254" y="8408"/>
                  </a:lnTo>
                  <a:lnTo>
                    <a:pt x="2237" y="8442"/>
                  </a:lnTo>
                  <a:lnTo>
                    <a:pt x="2219" y="8478"/>
                  </a:lnTo>
                  <a:lnTo>
                    <a:pt x="2201" y="8519"/>
                  </a:lnTo>
                  <a:lnTo>
                    <a:pt x="2183" y="8560"/>
                  </a:lnTo>
                  <a:lnTo>
                    <a:pt x="2164" y="8606"/>
                  </a:lnTo>
                  <a:lnTo>
                    <a:pt x="2146" y="8653"/>
                  </a:lnTo>
                  <a:lnTo>
                    <a:pt x="2126" y="8703"/>
                  </a:lnTo>
                  <a:lnTo>
                    <a:pt x="2108" y="8756"/>
                  </a:lnTo>
                  <a:lnTo>
                    <a:pt x="2090" y="8812"/>
                  </a:lnTo>
                  <a:lnTo>
                    <a:pt x="2072" y="8869"/>
                  </a:lnTo>
                  <a:lnTo>
                    <a:pt x="2055" y="8931"/>
                  </a:lnTo>
                  <a:lnTo>
                    <a:pt x="2038" y="8993"/>
                  </a:lnTo>
                  <a:lnTo>
                    <a:pt x="2023" y="9060"/>
                  </a:lnTo>
                  <a:lnTo>
                    <a:pt x="2008" y="9129"/>
                  </a:lnTo>
                  <a:lnTo>
                    <a:pt x="1994" y="9201"/>
                  </a:lnTo>
                  <a:lnTo>
                    <a:pt x="1982" y="9274"/>
                  </a:lnTo>
                  <a:lnTo>
                    <a:pt x="1970" y="9352"/>
                  </a:lnTo>
                  <a:lnTo>
                    <a:pt x="1961" y="9431"/>
                  </a:lnTo>
                  <a:lnTo>
                    <a:pt x="1952" y="9513"/>
                  </a:lnTo>
                  <a:lnTo>
                    <a:pt x="1945" y="9598"/>
                  </a:lnTo>
                  <a:lnTo>
                    <a:pt x="1940" y="9684"/>
                  </a:lnTo>
                  <a:lnTo>
                    <a:pt x="1939" y="9772"/>
                  </a:lnTo>
                  <a:lnTo>
                    <a:pt x="1940" y="9862"/>
                  </a:lnTo>
                  <a:lnTo>
                    <a:pt x="1944" y="9952"/>
                  </a:lnTo>
                  <a:lnTo>
                    <a:pt x="1951" y="10042"/>
                  </a:lnTo>
                  <a:lnTo>
                    <a:pt x="1959" y="10133"/>
                  </a:lnTo>
                  <a:lnTo>
                    <a:pt x="1969" y="10224"/>
                  </a:lnTo>
                  <a:lnTo>
                    <a:pt x="1981" y="10315"/>
                  </a:lnTo>
                  <a:lnTo>
                    <a:pt x="1995" y="10405"/>
                  </a:lnTo>
                  <a:lnTo>
                    <a:pt x="2010" y="10495"/>
                  </a:lnTo>
                  <a:lnTo>
                    <a:pt x="2027" y="10582"/>
                  </a:lnTo>
                  <a:lnTo>
                    <a:pt x="2046" y="10669"/>
                  </a:lnTo>
                  <a:lnTo>
                    <a:pt x="2064" y="10754"/>
                  </a:lnTo>
                  <a:lnTo>
                    <a:pt x="2083" y="10838"/>
                  </a:lnTo>
                  <a:lnTo>
                    <a:pt x="2103" y="10919"/>
                  </a:lnTo>
                  <a:lnTo>
                    <a:pt x="2123" y="10998"/>
                  </a:lnTo>
                  <a:lnTo>
                    <a:pt x="2145" y="11074"/>
                  </a:lnTo>
                  <a:lnTo>
                    <a:pt x="2165" y="11147"/>
                  </a:lnTo>
                  <a:lnTo>
                    <a:pt x="2185" y="11217"/>
                  </a:lnTo>
                  <a:lnTo>
                    <a:pt x="2205" y="11284"/>
                  </a:lnTo>
                  <a:lnTo>
                    <a:pt x="2224" y="11346"/>
                  </a:lnTo>
                  <a:lnTo>
                    <a:pt x="2244" y="11405"/>
                  </a:lnTo>
                  <a:lnTo>
                    <a:pt x="2261" y="11459"/>
                  </a:lnTo>
                  <a:lnTo>
                    <a:pt x="2278" y="11509"/>
                  </a:lnTo>
                  <a:lnTo>
                    <a:pt x="2307" y="11594"/>
                  </a:lnTo>
                  <a:lnTo>
                    <a:pt x="2331" y="11656"/>
                  </a:lnTo>
                  <a:lnTo>
                    <a:pt x="2346" y="11697"/>
                  </a:lnTo>
                  <a:lnTo>
                    <a:pt x="2351" y="11710"/>
                  </a:lnTo>
                  <a:lnTo>
                    <a:pt x="2335" y="11704"/>
                  </a:lnTo>
                  <a:lnTo>
                    <a:pt x="2288" y="11686"/>
                  </a:lnTo>
                  <a:lnTo>
                    <a:pt x="2255" y="11672"/>
                  </a:lnTo>
                  <a:lnTo>
                    <a:pt x="2215" y="11656"/>
                  </a:lnTo>
                  <a:lnTo>
                    <a:pt x="2170" y="11637"/>
                  </a:lnTo>
                  <a:lnTo>
                    <a:pt x="2119" y="11615"/>
                  </a:lnTo>
                  <a:lnTo>
                    <a:pt x="2064" y="11591"/>
                  </a:lnTo>
                  <a:lnTo>
                    <a:pt x="2003" y="11562"/>
                  </a:lnTo>
                  <a:lnTo>
                    <a:pt x="1938" y="11532"/>
                  </a:lnTo>
                  <a:lnTo>
                    <a:pt x="1871" y="11499"/>
                  </a:lnTo>
                  <a:lnTo>
                    <a:pt x="1800" y="11462"/>
                  </a:lnTo>
                  <a:lnTo>
                    <a:pt x="1726" y="11423"/>
                  </a:lnTo>
                  <a:lnTo>
                    <a:pt x="1649" y="11382"/>
                  </a:lnTo>
                  <a:lnTo>
                    <a:pt x="1572" y="11336"/>
                  </a:lnTo>
                  <a:lnTo>
                    <a:pt x="1492" y="11290"/>
                  </a:lnTo>
                  <a:lnTo>
                    <a:pt x="1411" y="11239"/>
                  </a:lnTo>
                  <a:lnTo>
                    <a:pt x="1329" y="11187"/>
                  </a:lnTo>
                  <a:lnTo>
                    <a:pt x="1248" y="11131"/>
                  </a:lnTo>
                  <a:lnTo>
                    <a:pt x="1166" y="11072"/>
                  </a:lnTo>
                  <a:lnTo>
                    <a:pt x="1085" y="11012"/>
                  </a:lnTo>
                  <a:lnTo>
                    <a:pt x="1006" y="10948"/>
                  </a:lnTo>
                  <a:lnTo>
                    <a:pt x="928" y="10881"/>
                  </a:lnTo>
                  <a:lnTo>
                    <a:pt x="851" y="10813"/>
                  </a:lnTo>
                  <a:lnTo>
                    <a:pt x="777" y="10742"/>
                  </a:lnTo>
                  <a:lnTo>
                    <a:pt x="706" y="10667"/>
                  </a:lnTo>
                  <a:lnTo>
                    <a:pt x="639" y="10591"/>
                  </a:lnTo>
                  <a:lnTo>
                    <a:pt x="574" y="10512"/>
                  </a:lnTo>
                  <a:lnTo>
                    <a:pt x="514" y="10430"/>
                  </a:lnTo>
                  <a:lnTo>
                    <a:pt x="459" y="10346"/>
                  </a:lnTo>
                  <a:lnTo>
                    <a:pt x="408" y="10259"/>
                  </a:lnTo>
                  <a:lnTo>
                    <a:pt x="361" y="10171"/>
                  </a:lnTo>
                  <a:lnTo>
                    <a:pt x="316" y="10082"/>
                  </a:lnTo>
                  <a:lnTo>
                    <a:pt x="273" y="9994"/>
                  </a:lnTo>
                  <a:lnTo>
                    <a:pt x="232" y="9905"/>
                  </a:lnTo>
                  <a:lnTo>
                    <a:pt x="195" y="9817"/>
                  </a:lnTo>
                  <a:lnTo>
                    <a:pt x="160" y="9728"/>
                  </a:lnTo>
                  <a:lnTo>
                    <a:pt x="128" y="9641"/>
                  </a:lnTo>
                  <a:lnTo>
                    <a:pt x="99" y="9554"/>
                  </a:lnTo>
                  <a:lnTo>
                    <a:pt x="74" y="9468"/>
                  </a:lnTo>
                  <a:lnTo>
                    <a:pt x="52" y="9383"/>
                  </a:lnTo>
                  <a:lnTo>
                    <a:pt x="33" y="9300"/>
                  </a:lnTo>
                  <a:lnTo>
                    <a:pt x="18" y="9218"/>
                  </a:lnTo>
                  <a:lnTo>
                    <a:pt x="8" y="9137"/>
                  </a:lnTo>
                  <a:lnTo>
                    <a:pt x="2" y="9058"/>
                  </a:lnTo>
                  <a:lnTo>
                    <a:pt x="0" y="8981"/>
                  </a:lnTo>
                  <a:lnTo>
                    <a:pt x="3" y="8907"/>
                  </a:lnTo>
                  <a:lnTo>
                    <a:pt x="10" y="8835"/>
                  </a:lnTo>
                  <a:lnTo>
                    <a:pt x="22" y="8765"/>
                  </a:lnTo>
                  <a:lnTo>
                    <a:pt x="39" y="8698"/>
                  </a:lnTo>
                  <a:lnTo>
                    <a:pt x="63" y="8633"/>
                  </a:lnTo>
                  <a:lnTo>
                    <a:pt x="91" y="8572"/>
                  </a:lnTo>
                  <a:lnTo>
                    <a:pt x="124" y="8514"/>
                  </a:lnTo>
                  <a:lnTo>
                    <a:pt x="165" y="8459"/>
                  </a:lnTo>
                  <a:lnTo>
                    <a:pt x="210" y="8408"/>
                  </a:lnTo>
                  <a:lnTo>
                    <a:pt x="262" y="8360"/>
                  </a:lnTo>
                  <a:lnTo>
                    <a:pt x="320" y="8317"/>
                  </a:lnTo>
                  <a:lnTo>
                    <a:pt x="385" y="8277"/>
                  </a:lnTo>
                  <a:lnTo>
                    <a:pt x="457" y="8242"/>
                  </a:lnTo>
                  <a:lnTo>
                    <a:pt x="535" y="8212"/>
                  </a:lnTo>
                  <a:lnTo>
                    <a:pt x="621" y="8185"/>
                  </a:lnTo>
                  <a:lnTo>
                    <a:pt x="714" y="8163"/>
                  </a:lnTo>
                  <a:lnTo>
                    <a:pt x="814" y="8147"/>
                  </a:lnTo>
                  <a:lnTo>
                    <a:pt x="916" y="8134"/>
                  </a:lnTo>
                  <a:lnTo>
                    <a:pt x="1014" y="8123"/>
                  </a:lnTo>
                  <a:lnTo>
                    <a:pt x="1109" y="8114"/>
                  </a:lnTo>
                  <a:lnTo>
                    <a:pt x="1200" y="8107"/>
                  </a:lnTo>
                  <a:lnTo>
                    <a:pt x="1287" y="8102"/>
                  </a:lnTo>
                  <a:lnTo>
                    <a:pt x="1369" y="8097"/>
                  </a:lnTo>
                  <a:lnTo>
                    <a:pt x="1449" y="8095"/>
                  </a:lnTo>
                  <a:lnTo>
                    <a:pt x="1525" y="8093"/>
                  </a:lnTo>
                  <a:lnTo>
                    <a:pt x="1598" y="8094"/>
                  </a:lnTo>
                  <a:lnTo>
                    <a:pt x="1667" y="8095"/>
                  </a:lnTo>
                  <a:lnTo>
                    <a:pt x="1732" y="8098"/>
                  </a:lnTo>
                  <a:lnTo>
                    <a:pt x="1795" y="8102"/>
                  </a:lnTo>
                  <a:lnTo>
                    <a:pt x="1852" y="8106"/>
                  </a:lnTo>
                  <a:lnTo>
                    <a:pt x="1908" y="8111"/>
                  </a:lnTo>
                  <a:lnTo>
                    <a:pt x="1961" y="8117"/>
                  </a:lnTo>
                  <a:lnTo>
                    <a:pt x="2009" y="8123"/>
                  </a:lnTo>
                  <a:lnTo>
                    <a:pt x="2055" y="8130"/>
                  </a:lnTo>
                  <a:lnTo>
                    <a:pt x="2096" y="8137"/>
                  </a:lnTo>
                  <a:lnTo>
                    <a:pt x="2135" y="8144"/>
                  </a:lnTo>
                  <a:lnTo>
                    <a:pt x="2172" y="8151"/>
                  </a:lnTo>
                  <a:lnTo>
                    <a:pt x="2204" y="8159"/>
                  </a:lnTo>
                  <a:lnTo>
                    <a:pt x="2233" y="8166"/>
                  </a:lnTo>
                  <a:lnTo>
                    <a:pt x="2261" y="8173"/>
                  </a:lnTo>
                  <a:lnTo>
                    <a:pt x="2284" y="8180"/>
                  </a:lnTo>
                  <a:lnTo>
                    <a:pt x="2323" y="8192"/>
                  </a:lnTo>
                  <a:lnTo>
                    <a:pt x="2351" y="8203"/>
                  </a:lnTo>
                  <a:lnTo>
                    <a:pt x="2367" y="8209"/>
                  </a:lnTo>
                  <a:lnTo>
                    <a:pt x="2372" y="8211"/>
                  </a:lnTo>
                  <a:close/>
                  <a:moveTo>
                    <a:pt x="11913" y="11560"/>
                  </a:moveTo>
                  <a:lnTo>
                    <a:pt x="13685" y="11069"/>
                  </a:lnTo>
                  <a:lnTo>
                    <a:pt x="13682" y="11077"/>
                  </a:lnTo>
                  <a:lnTo>
                    <a:pt x="13676" y="11099"/>
                  </a:lnTo>
                  <a:lnTo>
                    <a:pt x="13666" y="11133"/>
                  </a:lnTo>
                  <a:lnTo>
                    <a:pt x="13652" y="11178"/>
                  </a:lnTo>
                  <a:lnTo>
                    <a:pt x="13632" y="11234"/>
                  </a:lnTo>
                  <a:lnTo>
                    <a:pt x="13609" y="11297"/>
                  </a:lnTo>
                  <a:lnTo>
                    <a:pt x="13596" y="11332"/>
                  </a:lnTo>
                  <a:lnTo>
                    <a:pt x="13581" y="11367"/>
                  </a:lnTo>
                  <a:lnTo>
                    <a:pt x="13566" y="11405"/>
                  </a:lnTo>
                  <a:lnTo>
                    <a:pt x="13548" y="11443"/>
                  </a:lnTo>
                  <a:lnTo>
                    <a:pt x="13530" y="11483"/>
                  </a:lnTo>
                  <a:lnTo>
                    <a:pt x="13511" y="11523"/>
                  </a:lnTo>
                  <a:lnTo>
                    <a:pt x="13490" y="11564"/>
                  </a:lnTo>
                  <a:lnTo>
                    <a:pt x="13469" y="11606"/>
                  </a:lnTo>
                  <a:lnTo>
                    <a:pt x="13445" y="11647"/>
                  </a:lnTo>
                  <a:lnTo>
                    <a:pt x="13421" y="11689"/>
                  </a:lnTo>
                  <a:lnTo>
                    <a:pt x="13396" y="11730"/>
                  </a:lnTo>
                  <a:lnTo>
                    <a:pt x="13370" y="11771"/>
                  </a:lnTo>
                  <a:lnTo>
                    <a:pt x="13341" y="11813"/>
                  </a:lnTo>
                  <a:lnTo>
                    <a:pt x="13312" y="11853"/>
                  </a:lnTo>
                  <a:lnTo>
                    <a:pt x="13281" y="11893"/>
                  </a:lnTo>
                  <a:lnTo>
                    <a:pt x="13249" y="11932"/>
                  </a:lnTo>
                  <a:lnTo>
                    <a:pt x="13216" y="11969"/>
                  </a:lnTo>
                  <a:lnTo>
                    <a:pt x="13182" y="12005"/>
                  </a:lnTo>
                  <a:lnTo>
                    <a:pt x="13145" y="12040"/>
                  </a:lnTo>
                  <a:lnTo>
                    <a:pt x="13108" y="12072"/>
                  </a:lnTo>
                  <a:lnTo>
                    <a:pt x="13070" y="12104"/>
                  </a:lnTo>
                  <a:lnTo>
                    <a:pt x="13032" y="12134"/>
                  </a:lnTo>
                  <a:lnTo>
                    <a:pt x="12995" y="12163"/>
                  </a:lnTo>
                  <a:lnTo>
                    <a:pt x="12957" y="12191"/>
                  </a:lnTo>
                  <a:lnTo>
                    <a:pt x="12921" y="12218"/>
                  </a:lnTo>
                  <a:lnTo>
                    <a:pt x="12884" y="12243"/>
                  </a:lnTo>
                  <a:lnTo>
                    <a:pt x="12849" y="12267"/>
                  </a:lnTo>
                  <a:lnTo>
                    <a:pt x="12814" y="12290"/>
                  </a:lnTo>
                  <a:lnTo>
                    <a:pt x="12779" y="12312"/>
                  </a:lnTo>
                  <a:lnTo>
                    <a:pt x="12745" y="12333"/>
                  </a:lnTo>
                  <a:lnTo>
                    <a:pt x="12712" y="12352"/>
                  </a:lnTo>
                  <a:lnTo>
                    <a:pt x="12680" y="12371"/>
                  </a:lnTo>
                  <a:lnTo>
                    <a:pt x="12619" y="12405"/>
                  </a:lnTo>
                  <a:lnTo>
                    <a:pt x="12561" y="12435"/>
                  </a:lnTo>
                  <a:lnTo>
                    <a:pt x="12509" y="12461"/>
                  </a:lnTo>
                  <a:lnTo>
                    <a:pt x="12461" y="12484"/>
                  </a:lnTo>
                  <a:lnTo>
                    <a:pt x="12420" y="12502"/>
                  </a:lnTo>
                  <a:lnTo>
                    <a:pt x="12384" y="12517"/>
                  </a:lnTo>
                  <a:lnTo>
                    <a:pt x="12356" y="12528"/>
                  </a:lnTo>
                  <a:lnTo>
                    <a:pt x="12336" y="12536"/>
                  </a:lnTo>
                  <a:lnTo>
                    <a:pt x="12323" y="12540"/>
                  </a:lnTo>
                  <a:lnTo>
                    <a:pt x="12319" y="12542"/>
                  </a:lnTo>
                  <a:lnTo>
                    <a:pt x="11422" y="12734"/>
                  </a:lnTo>
                  <a:lnTo>
                    <a:pt x="11425" y="12728"/>
                  </a:lnTo>
                  <a:lnTo>
                    <a:pt x="11435" y="12710"/>
                  </a:lnTo>
                  <a:lnTo>
                    <a:pt x="11451" y="12682"/>
                  </a:lnTo>
                  <a:lnTo>
                    <a:pt x="11473" y="12644"/>
                  </a:lnTo>
                  <a:lnTo>
                    <a:pt x="11498" y="12599"/>
                  </a:lnTo>
                  <a:lnTo>
                    <a:pt x="11525" y="12547"/>
                  </a:lnTo>
                  <a:lnTo>
                    <a:pt x="11555" y="12491"/>
                  </a:lnTo>
                  <a:lnTo>
                    <a:pt x="11588" y="12430"/>
                  </a:lnTo>
                  <a:lnTo>
                    <a:pt x="11619" y="12367"/>
                  </a:lnTo>
                  <a:lnTo>
                    <a:pt x="11651" y="12303"/>
                  </a:lnTo>
                  <a:lnTo>
                    <a:pt x="11682" y="12239"/>
                  </a:lnTo>
                  <a:lnTo>
                    <a:pt x="11710" y="12176"/>
                  </a:lnTo>
                  <a:lnTo>
                    <a:pt x="11723" y="12145"/>
                  </a:lnTo>
                  <a:lnTo>
                    <a:pt x="11735" y="12116"/>
                  </a:lnTo>
                  <a:lnTo>
                    <a:pt x="11746" y="12088"/>
                  </a:lnTo>
                  <a:lnTo>
                    <a:pt x="11757" y="12060"/>
                  </a:lnTo>
                  <a:lnTo>
                    <a:pt x="11766" y="12034"/>
                  </a:lnTo>
                  <a:lnTo>
                    <a:pt x="11774" y="12010"/>
                  </a:lnTo>
                  <a:lnTo>
                    <a:pt x="11780" y="11987"/>
                  </a:lnTo>
                  <a:lnTo>
                    <a:pt x="11785" y="11965"/>
                  </a:lnTo>
                  <a:lnTo>
                    <a:pt x="11793" y="11926"/>
                  </a:lnTo>
                  <a:lnTo>
                    <a:pt x="11802" y="11888"/>
                  </a:lnTo>
                  <a:lnTo>
                    <a:pt x="11812" y="11849"/>
                  </a:lnTo>
                  <a:lnTo>
                    <a:pt x="11822" y="11813"/>
                  </a:lnTo>
                  <a:lnTo>
                    <a:pt x="11833" y="11777"/>
                  </a:lnTo>
                  <a:lnTo>
                    <a:pt x="11844" y="11744"/>
                  </a:lnTo>
                  <a:lnTo>
                    <a:pt x="11855" y="11713"/>
                  </a:lnTo>
                  <a:lnTo>
                    <a:pt x="11865" y="11684"/>
                  </a:lnTo>
                  <a:lnTo>
                    <a:pt x="11884" y="11633"/>
                  </a:lnTo>
                  <a:lnTo>
                    <a:pt x="11899" y="11594"/>
                  </a:lnTo>
                  <a:lnTo>
                    <a:pt x="11909" y="11569"/>
                  </a:lnTo>
                  <a:lnTo>
                    <a:pt x="11913" y="11560"/>
                  </a:lnTo>
                  <a:close/>
                  <a:moveTo>
                    <a:pt x="7622" y="11497"/>
                  </a:moveTo>
                  <a:lnTo>
                    <a:pt x="7633" y="11503"/>
                  </a:lnTo>
                  <a:lnTo>
                    <a:pt x="7663" y="11521"/>
                  </a:lnTo>
                  <a:lnTo>
                    <a:pt x="7710" y="11549"/>
                  </a:lnTo>
                  <a:lnTo>
                    <a:pt x="7775" y="11586"/>
                  </a:lnTo>
                  <a:lnTo>
                    <a:pt x="7812" y="11607"/>
                  </a:lnTo>
                  <a:lnTo>
                    <a:pt x="7854" y="11629"/>
                  </a:lnTo>
                  <a:lnTo>
                    <a:pt x="7899" y="11652"/>
                  </a:lnTo>
                  <a:lnTo>
                    <a:pt x="7947" y="11676"/>
                  </a:lnTo>
                  <a:lnTo>
                    <a:pt x="7998" y="11702"/>
                  </a:lnTo>
                  <a:lnTo>
                    <a:pt x="8052" y="11727"/>
                  </a:lnTo>
                  <a:lnTo>
                    <a:pt x="8108" y="11753"/>
                  </a:lnTo>
                  <a:lnTo>
                    <a:pt x="8167" y="11780"/>
                  </a:lnTo>
                  <a:lnTo>
                    <a:pt x="8227" y="11805"/>
                  </a:lnTo>
                  <a:lnTo>
                    <a:pt x="8291" y="11831"/>
                  </a:lnTo>
                  <a:lnTo>
                    <a:pt x="8356" y="11855"/>
                  </a:lnTo>
                  <a:lnTo>
                    <a:pt x="8423" y="11880"/>
                  </a:lnTo>
                  <a:lnTo>
                    <a:pt x="8491" y="11903"/>
                  </a:lnTo>
                  <a:lnTo>
                    <a:pt x="8561" y="11925"/>
                  </a:lnTo>
                  <a:lnTo>
                    <a:pt x="8632" y="11946"/>
                  </a:lnTo>
                  <a:lnTo>
                    <a:pt x="8704" y="11964"/>
                  </a:lnTo>
                  <a:lnTo>
                    <a:pt x="8775" y="11982"/>
                  </a:lnTo>
                  <a:lnTo>
                    <a:pt x="8848" y="11997"/>
                  </a:lnTo>
                  <a:lnTo>
                    <a:pt x="8922" y="12009"/>
                  </a:lnTo>
                  <a:lnTo>
                    <a:pt x="8996" y="12019"/>
                  </a:lnTo>
                  <a:lnTo>
                    <a:pt x="9068" y="12027"/>
                  </a:lnTo>
                  <a:lnTo>
                    <a:pt x="9142" y="12031"/>
                  </a:lnTo>
                  <a:lnTo>
                    <a:pt x="9215" y="12032"/>
                  </a:lnTo>
                  <a:lnTo>
                    <a:pt x="9288" y="12030"/>
                  </a:lnTo>
                  <a:lnTo>
                    <a:pt x="9360" y="12025"/>
                  </a:lnTo>
                  <a:lnTo>
                    <a:pt x="9434" y="12020"/>
                  </a:lnTo>
                  <a:lnTo>
                    <a:pt x="9510" y="12014"/>
                  </a:lnTo>
                  <a:lnTo>
                    <a:pt x="9586" y="12008"/>
                  </a:lnTo>
                  <a:lnTo>
                    <a:pt x="9663" y="12001"/>
                  </a:lnTo>
                  <a:lnTo>
                    <a:pt x="9740" y="11993"/>
                  </a:lnTo>
                  <a:lnTo>
                    <a:pt x="9817" y="11985"/>
                  </a:lnTo>
                  <a:lnTo>
                    <a:pt x="9895" y="11975"/>
                  </a:lnTo>
                  <a:lnTo>
                    <a:pt x="10049" y="11956"/>
                  </a:lnTo>
                  <a:lnTo>
                    <a:pt x="10199" y="11937"/>
                  </a:lnTo>
                  <a:lnTo>
                    <a:pt x="10345" y="11917"/>
                  </a:lnTo>
                  <a:lnTo>
                    <a:pt x="10483" y="11897"/>
                  </a:lnTo>
                  <a:lnTo>
                    <a:pt x="10612" y="11876"/>
                  </a:lnTo>
                  <a:lnTo>
                    <a:pt x="10730" y="11858"/>
                  </a:lnTo>
                  <a:lnTo>
                    <a:pt x="10836" y="11841"/>
                  </a:lnTo>
                  <a:lnTo>
                    <a:pt x="10926" y="11826"/>
                  </a:lnTo>
                  <a:lnTo>
                    <a:pt x="11000" y="11813"/>
                  </a:lnTo>
                  <a:lnTo>
                    <a:pt x="11055" y="11804"/>
                  </a:lnTo>
                  <a:lnTo>
                    <a:pt x="11090" y="11798"/>
                  </a:lnTo>
                  <a:lnTo>
                    <a:pt x="11102" y="11795"/>
                  </a:lnTo>
                  <a:lnTo>
                    <a:pt x="11100" y="11803"/>
                  </a:lnTo>
                  <a:lnTo>
                    <a:pt x="11093" y="11823"/>
                  </a:lnTo>
                  <a:lnTo>
                    <a:pt x="11082" y="11856"/>
                  </a:lnTo>
                  <a:lnTo>
                    <a:pt x="11066" y="11899"/>
                  </a:lnTo>
                  <a:lnTo>
                    <a:pt x="11048" y="11951"/>
                  </a:lnTo>
                  <a:lnTo>
                    <a:pt x="11027" y="12010"/>
                  </a:lnTo>
                  <a:lnTo>
                    <a:pt x="11004" y="12075"/>
                  </a:lnTo>
                  <a:lnTo>
                    <a:pt x="10979" y="12144"/>
                  </a:lnTo>
                  <a:lnTo>
                    <a:pt x="10952" y="12217"/>
                  </a:lnTo>
                  <a:lnTo>
                    <a:pt x="10925" y="12290"/>
                  </a:lnTo>
                  <a:lnTo>
                    <a:pt x="10897" y="12363"/>
                  </a:lnTo>
                  <a:lnTo>
                    <a:pt x="10867" y="12434"/>
                  </a:lnTo>
                  <a:lnTo>
                    <a:pt x="10839" y="12502"/>
                  </a:lnTo>
                  <a:lnTo>
                    <a:pt x="10812" y="12565"/>
                  </a:lnTo>
                  <a:lnTo>
                    <a:pt x="10799" y="12595"/>
                  </a:lnTo>
                  <a:lnTo>
                    <a:pt x="10785" y="12621"/>
                  </a:lnTo>
                  <a:lnTo>
                    <a:pt x="10772" y="12647"/>
                  </a:lnTo>
                  <a:lnTo>
                    <a:pt x="10760" y="12669"/>
                  </a:lnTo>
                  <a:lnTo>
                    <a:pt x="10747" y="12692"/>
                  </a:lnTo>
                  <a:lnTo>
                    <a:pt x="10733" y="12713"/>
                  </a:lnTo>
                  <a:lnTo>
                    <a:pt x="10716" y="12734"/>
                  </a:lnTo>
                  <a:lnTo>
                    <a:pt x="10697" y="12755"/>
                  </a:lnTo>
                  <a:lnTo>
                    <a:pt x="10678" y="12776"/>
                  </a:lnTo>
                  <a:lnTo>
                    <a:pt x="10657" y="12796"/>
                  </a:lnTo>
                  <a:lnTo>
                    <a:pt x="10635" y="12815"/>
                  </a:lnTo>
                  <a:lnTo>
                    <a:pt x="10611" y="12834"/>
                  </a:lnTo>
                  <a:lnTo>
                    <a:pt x="10585" y="12853"/>
                  </a:lnTo>
                  <a:lnTo>
                    <a:pt x="10559" y="12872"/>
                  </a:lnTo>
                  <a:lnTo>
                    <a:pt x="10531" y="12890"/>
                  </a:lnTo>
                  <a:lnTo>
                    <a:pt x="10502" y="12907"/>
                  </a:lnTo>
                  <a:lnTo>
                    <a:pt x="10473" y="12924"/>
                  </a:lnTo>
                  <a:lnTo>
                    <a:pt x="10442" y="12941"/>
                  </a:lnTo>
                  <a:lnTo>
                    <a:pt x="10410" y="12957"/>
                  </a:lnTo>
                  <a:lnTo>
                    <a:pt x="10379" y="12974"/>
                  </a:lnTo>
                  <a:lnTo>
                    <a:pt x="10346" y="12990"/>
                  </a:lnTo>
                  <a:lnTo>
                    <a:pt x="10312" y="13005"/>
                  </a:lnTo>
                  <a:lnTo>
                    <a:pt x="10278" y="13020"/>
                  </a:lnTo>
                  <a:lnTo>
                    <a:pt x="10244" y="13035"/>
                  </a:lnTo>
                  <a:lnTo>
                    <a:pt x="10174" y="13063"/>
                  </a:lnTo>
                  <a:lnTo>
                    <a:pt x="10103" y="13090"/>
                  </a:lnTo>
                  <a:lnTo>
                    <a:pt x="10031" y="13115"/>
                  </a:lnTo>
                  <a:lnTo>
                    <a:pt x="9961" y="13139"/>
                  </a:lnTo>
                  <a:lnTo>
                    <a:pt x="9890" y="13161"/>
                  </a:lnTo>
                  <a:lnTo>
                    <a:pt x="9821" y="13182"/>
                  </a:lnTo>
                  <a:lnTo>
                    <a:pt x="9725" y="13209"/>
                  </a:lnTo>
                  <a:lnTo>
                    <a:pt x="9580" y="13248"/>
                  </a:lnTo>
                  <a:lnTo>
                    <a:pt x="9393" y="13299"/>
                  </a:lnTo>
                  <a:lnTo>
                    <a:pt x="9171" y="13357"/>
                  </a:lnTo>
                  <a:lnTo>
                    <a:pt x="8923" y="13422"/>
                  </a:lnTo>
                  <a:lnTo>
                    <a:pt x="8655" y="13492"/>
                  </a:lnTo>
                  <a:lnTo>
                    <a:pt x="8377" y="13564"/>
                  </a:lnTo>
                  <a:lnTo>
                    <a:pt x="8095" y="13638"/>
                  </a:lnTo>
                  <a:lnTo>
                    <a:pt x="7817" y="13710"/>
                  </a:lnTo>
                  <a:lnTo>
                    <a:pt x="7551" y="13779"/>
                  </a:lnTo>
                  <a:lnTo>
                    <a:pt x="7305" y="13842"/>
                  </a:lnTo>
                  <a:lnTo>
                    <a:pt x="7087" y="13899"/>
                  </a:lnTo>
                  <a:lnTo>
                    <a:pt x="6903" y="13946"/>
                  </a:lnTo>
                  <a:lnTo>
                    <a:pt x="6762" y="13983"/>
                  </a:lnTo>
                  <a:lnTo>
                    <a:pt x="6672" y="14006"/>
                  </a:lnTo>
                  <a:lnTo>
                    <a:pt x="6641" y="14014"/>
                  </a:lnTo>
                  <a:lnTo>
                    <a:pt x="6649" y="14004"/>
                  </a:lnTo>
                  <a:lnTo>
                    <a:pt x="6673" y="13976"/>
                  </a:lnTo>
                  <a:lnTo>
                    <a:pt x="6711" y="13930"/>
                  </a:lnTo>
                  <a:lnTo>
                    <a:pt x="6760" y="13869"/>
                  </a:lnTo>
                  <a:lnTo>
                    <a:pt x="6820" y="13795"/>
                  </a:lnTo>
                  <a:lnTo>
                    <a:pt x="6887" y="13709"/>
                  </a:lnTo>
                  <a:lnTo>
                    <a:pt x="6960" y="13614"/>
                  </a:lnTo>
                  <a:lnTo>
                    <a:pt x="7038" y="13510"/>
                  </a:lnTo>
                  <a:lnTo>
                    <a:pt x="7078" y="13455"/>
                  </a:lnTo>
                  <a:lnTo>
                    <a:pt x="7118" y="13400"/>
                  </a:lnTo>
                  <a:lnTo>
                    <a:pt x="7158" y="13343"/>
                  </a:lnTo>
                  <a:lnTo>
                    <a:pt x="7199" y="13286"/>
                  </a:lnTo>
                  <a:lnTo>
                    <a:pt x="7238" y="13228"/>
                  </a:lnTo>
                  <a:lnTo>
                    <a:pt x="7277" y="13168"/>
                  </a:lnTo>
                  <a:lnTo>
                    <a:pt x="7315" y="13110"/>
                  </a:lnTo>
                  <a:lnTo>
                    <a:pt x="7352" y="13051"/>
                  </a:lnTo>
                  <a:lnTo>
                    <a:pt x="7388" y="12993"/>
                  </a:lnTo>
                  <a:lnTo>
                    <a:pt x="7422" y="12934"/>
                  </a:lnTo>
                  <a:lnTo>
                    <a:pt x="7454" y="12877"/>
                  </a:lnTo>
                  <a:lnTo>
                    <a:pt x="7485" y="12820"/>
                  </a:lnTo>
                  <a:lnTo>
                    <a:pt x="7512" y="12764"/>
                  </a:lnTo>
                  <a:lnTo>
                    <a:pt x="7537" y="12710"/>
                  </a:lnTo>
                  <a:lnTo>
                    <a:pt x="7560" y="12657"/>
                  </a:lnTo>
                  <a:lnTo>
                    <a:pt x="7580" y="12606"/>
                  </a:lnTo>
                  <a:lnTo>
                    <a:pt x="7597" y="12556"/>
                  </a:lnTo>
                  <a:lnTo>
                    <a:pt x="7612" y="12506"/>
                  </a:lnTo>
                  <a:lnTo>
                    <a:pt x="7625" y="12455"/>
                  </a:lnTo>
                  <a:lnTo>
                    <a:pt x="7637" y="12405"/>
                  </a:lnTo>
                  <a:lnTo>
                    <a:pt x="7646" y="12355"/>
                  </a:lnTo>
                  <a:lnTo>
                    <a:pt x="7654" y="12306"/>
                  </a:lnTo>
                  <a:lnTo>
                    <a:pt x="7662" y="12256"/>
                  </a:lnTo>
                  <a:lnTo>
                    <a:pt x="7668" y="12208"/>
                  </a:lnTo>
                  <a:lnTo>
                    <a:pt x="7672" y="12159"/>
                  </a:lnTo>
                  <a:lnTo>
                    <a:pt x="7675" y="12113"/>
                  </a:lnTo>
                  <a:lnTo>
                    <a:pt x="7677" y="12066"/>
                  </a:lnTo>
                  <a:lnTo>
                    <a:pt x="7678" y="12021"/>
                  </a:lnTo>
                  <a:lnTo>
                    <a:pt x="7678" y="11976"/>
                  </a:lnTo>
                  <a:lnTo>
                    <a:pt x="7677" y="11933"/>
                  </a:lnTo>
                  <a:lnTo>
                    <a:pt x="7676" y="11892"/>
                  </a:lnTo>
                  <a:lnTo>
                    <a:pt x="7674" y="11851"/>
                  </a:lnTo>
                  <a:lnTo>
                    <a:pt x="7671" y="11813"/>
                  </a:lnTo>
                  <a:lnTo>
                    <a:pt x="7668" y="11775"/>
                  </a:lnTo>
                  <a:lnTo>
                    <a:pt x="7664" y="11740"/>
                  </a:lnTo>
                  <a:lnTo>
                    <a:pt x="7660" y="11707"/>
                  </a:lnTo>
                  <a:lnTo>
                    <a:pt x="7651" y="11646"/>
                  </a:lnTo>
                  <a:lnTo>
                    <a:pt x="7643" y="11595"/>
                  </a:lnTo>
                  <a:lnTo>
                    <a:pt x="7635" y="11553"/>
                  </a:lnTo>
                  <a:lnTo>
                    <a:pt x="7628" y="11522"/>
                  </a:lnTo>
                  <a:lnTo>
                    <a:pt x="7624" y="11503"/>
                  </a:lnTo>
                  <a:lnTo>
                    <a:pt x="7622" y="11497"/>
                  </a:lnTo>
                  <a:close/>
                  <a:moveTo>
                    <a:pt x="14393" y="10247"/>
                  </a:moveTo>
                  <a:lnTo>
                    <a:pt x="14396" y="10218"/>
                  </a:lnTo>
                  <a:lnTo>
                    <a:pt x="14405" y="10135"/>
                  </a:lnTo>
                  <a:lnTo>
                    <a:pt x="14412" y="10074"/>
                  </a:lnTo>
                  <a:lnTo>
                    <a:pt x="14418" y="10003"/>
                  </a:lnTo>
                  <a:lnTo>
                    <a:pt x="14423" y="9921"/>
                  </a:lnTo>
                  <a:lnTo>
                    <a:pt x="14429" y="9828"/>
                  </a:lnTo>
                  <a:lnTo>
                    <a:pt x="14433" y="9727"/>
                  </a:lnTo>
                  <a:lnTo>
                    <a:pt x="14436" y="9616"/>
                  </a:lnTo>
                  <a:lnTo>
                    <a:pt x="14438" y="9498"/>
                  </a:lnTo>
                  <a:lnTo>
                    <a:pt x="14437" y="9372"/>
                  </a:lnTo>
                  <a:lnTo>
                    <a:pt x="14435" y="9240"/>
                  </a:lnTo>
                  <a:lnTo>
                    <a:pt x="14429" y="9103"/>
                  </a:lnTo>
                  <a:lnTo>
                    <a:pt x="14421" y="8960"/>
                  </a:lnTo>
                  <a:lnTo>
                    <a:pt x="14408" y="8812"/>
                  </a:lnTo>
                  <a:lnTo>
                    <a:pt x="14393" y="8661"/>
                  </a:lnTo>
                  <a:lnTo>
                    <a:pt x="14373" y="8508"/>
                  </a:lnTo>
                  <a:lnTo>
                    <a:pt x="14349" y="8351"/>
                  </a:lnTo>
                  <a:lnTo>
                    <a:pt x="14321" y="8192"/>
                  </a:lnTo>
                  <a:lnTo>
                    <a:pt x="14286" y="8034"/>
                  </a:lnTo>
                  <a:lnTo>
                    <a:pt x="14246" y="7875"/>
                  </a:lnTo>
                  <a:lnTo>
                    <a:pt x="14200" y="7717"/>
                  </a:lnTo>
                  <a:lnTo>
                    <a:pt x="14148" y="7559"/>
                  </a:lnTo>
                  <a:lnTo>
                    <a:pt x="14089" y="7404"/>
                  </a:lnTo>
                  <a:lnTo>
                    <a:pt x="14022" y="7251"/>
                  </a:lnTo>
                  <a:lnTo>
                    <a:pt x="13949" y="7101"/>
                  </a:lnTo>
                  <a:lnTo>
                    <a:pt x="13868" y="6956"/>
                  </a:lnTo>
                  <a:lnTo>
                    <a:pt x="13779" y="6816"/>
                  </a:lnTo>
                  <a:lnTo>
                    <a:pt x="13681" y="6680"/>
                  </a:lnTo>
                  <a:lnTo>
                    <a:pt x="13574" y="6552"/>
                  </a:lnTo>
                  <a:lnTo>
                    <a:pt x="13457" y="6429"/>
                  </a:lnTo>
                  <a:lnTo>
                    <a:pt x="13339" y="6315"/>
                  </a:lnTo>
                  <a:lnTo>
                    <a:pt x="13226" y="6207"/>
                  </a:lnTo>
                  <a:lnTo>
                    <a:pt x="13119" y="6107"/>
                  </a:lnTo>
                  <a:lnTo>
                    <a:pt x="13016" y="6014"/>
                  </a:lnTo>
                  <a:lnTo>
                    <a:pt x="12918" y="5928"/>
                  </a:lnTo>
                  <a:lnTo>
                    <a:pt x="12825" y="5847"/>
                  </a:lnTo>
                  <a:lnTo>
                    <a:pt x="12735" y="5773"/>
                  </a:lnTo>
                  <a:lnTo>
                    <a:pt x="12650" y="5704"/>
                  </a:lnTo>
                  <a:lnTo>
                    <a:pt x="12568" y="5642"/>
                  </a:lnTo>
                  <a:lnTo>
                    <a:pt x="12490" y="5585"/>
                  </a:lnTo>
                  <a:lnTo>
                    <a:pt x="12416" y="5533"/>
                  </a:lnTo>
                  <a:lnTo>
                    <a:pt x="12344" y="5484"/>
                  </a:lnTo>
                  <a:lnTo>
                    <a:pt x="12274" y="5442"/>
                  </a:lnTo>
                  <a:lnTo>
                    <a:pt x="12208" y="5402"/>
                  </a:lnTo>
                  <a:lnTo>
                    <a:pt x="12144" y="5367"/>
                  </a:lnTo>
                  <a:lnTo>
                    <a:pt x="12082" y="5336"/>
                  </a:lnTo>
                  <a:lnTo>
                    <a:pt x="12021" y="5308"/>
                  </a:lnTo>
                  <a:lnTo>
                    <a:pt x="11963" y="5283"/>
                  </a:lnTo>
                  <a:lnTo>
                    <a:pt x="11906" y="5261"/>
                  </a:lnTo>
                  <a:lnTo>
                    <a:pt x="11850" y="5242"/>
                  </a:lnTo>
                  <a:lnTo>
                    <a:pt x="11795" y="5225"/>
                  </a:lnTo>
                  <a:lnTo>
                    <a:pt x="11740" y="5209"/>
                  </a:lnTo>
                  <a:lnTo>
                    <a:pt x="11687" y="5196"/>
                  </a:lnTo>
                  <a:lnTo>
                    <a:pt x="11632" y="5185"/>
                  </a:lnTo>
                  <a:lnTo>
                    <a:pt x="11579" y="5175"/>
                  </a:lnTo>
                  <a:lnTo>
                    <a:pt x="11524" y="5165"/>
                  </a:lnTo>
                  <a:lnTo>
                    <a:pt x="11470" y="5157"/>
                  </a:lnTo>
                  <a:lnTo>
                    <a:pt x="11415" y="5149"/>
                  </a:lnTo>
                  <a:lnTo>
                    <a:pt x="11301" y="5133"/>
                  </a:lnTo>
                  <a:lnTo>
                    <a:pt x="11182" y="5114"/>
                  </a:lnTo>
                  <a:lnTo>
                    <a:pt x="11119" y="5105"/>
                  </a:lnTo>
                  <a:lnTo>
                    <a:pt x="11057" y="5098"/>
                  </a:lnTo>
                  <a:lnTo>
                    <a:pt x="10995" y="5092"/>
                  </a:lnTo>
                  <a:lnTo>
                    <a:pt x="10933" y="5087"/>
                  </a:lnTo>
                  <a:lnTo>
                    <a:pt x="10870" y="5083"/>
                  </a:lnTo>
                  <a:lnTo>
                    <a:pt x="10808" y="5080"/>
                  </a:lnTo>
                  <a:lnTo>
                    <a:pt x="10746" y="5078"/>
                  </a:lnTo>
                  <a:lnTo>
                    <a:pt x="10684" y="5077"/>
                  </a:lnTo>
                  <a:lnTo>
                    <a:pt x="10623" y="5077"/>
                  </a:lnTo>
                  <a:lnTo>
                    <a:pt x="10561" y="5077"/>
                  </a:lnTo>
                  <a:lnTo>
                    <a:pt x="10500" y="5079"/>
                  </a:lnTo>
                  <a:lnTo>
                    <a:pt x="10440" y="5081"/>
                  </a:lnTo>
                  <a:lnTo>
                    <a:pt x="10380" y="5084"/>
                  </a:lnTo>
                  <a:lnTo>
                    <a:pt x="10321" y="5087"/>
                  </a:lnTo>
                  <a:lnTo>
                    <a:pt x="10262" y="5091"/>
                  </a:lnTo>
                  <a:lnTo>
                    <a:pt x="10204" y="5095"/>
                  </a:lnTo>
                  <a:lnTo>
                    <a:pt x="10090" y="5106"/>
                  </a:lnTo>
                  <a:lnTo>
                    <a:pt x="9981" y="5117"/>
                  </a:lnTo>
                  <a:lnTo>
                    <a:pt x="9876" y="5131"/>
                  </a:lnTo>
                  <a:lnTo>
                    <a:pt x="9776" y="5143"/>
                  </a:lnTo>
                  <a:lnTo>
                    <a:pt x="9681" y="5156"/>
                  </a:lnTo>
                  <a:lnTo>
                    <a:pt x="9593" y="5169"/>
                  </a:lnTo>
                  <a:lnTo>
                    <a:pt x="9511" y="5180"/>
                  </a:lnTo>
                  <a:lnTo>
                    <a:pt x="9436" y="5190"/>
                  </a:lnTo>
                  <a:lnTo>
                    <a:pt x="9379" y="5201"/>
                  </a:lnTo>
                  <a:lnTo>
                    <a:pt x="9280" y="5224"/>
                  </a:lnTo>
                  <a:lnTo>
                    <a:pt x="9143" y="5257"/>
                  </a:lnTo>
                  <a:lnTo>
                    <a:pt x="8970" y="5299"/>
                  </a:lnTo>
                  <a:lnTo>
                    <a:pt x="8764" y="5352"/>
                  </a:lnTo>
                  <a:lnTo>
                    <a:pt x="8529" y="5412"/>
                  </a:lnTo>
                  <a:lnTo>
                    <a:pt x="8266" y="5480"/>
                  </a:lnTo>
                  <a:lnTo>
                    <a:pt x="7980" y="5556"/>
                  </a:lnTo>
                  <a:lnTo>
                    <a:pt x="7343" y="5724"/>
                  </a:lnTo>
                  <a:lnTo>
                    <a:pt x="6644" y="5908"/>
                  </a:lnTo>
                  <a:lnTo>
                    <a:pt x="5904" y="6106"/>
                  </a:lnTo>
                  <a:lnTo>
                    <a:pt x="5145" y="6309"/>
                  </a:lnTo>
                  <a:lnTo>
                    <a:pt x="4391" y="6512"/>
                  </a:lnTo>
                  <a:lnTo>
                    <a:pt x="3665" y="6707"/>
                  </a:lnTo>
                  <a:lnTo>
                    <a:pt x="2987" y="6890"/>
                  </a:lnTo>
                  <a:lnTo>
                    <a:pt x="2382" y="7053"/>
                  </a:lnTo>
                  <a:lnTo>
                    <a:pt x="1873" y="7191"/>
                  </a:lnTo>
                  <a:lnTo>
                    <a:pt x="1481" y="7297"/>
                  </a:lnTo>
                  <a:lnTo>
                    <a:pt x="1229" y="7366"/>
                  </a:lnTo>
                  <a:lnTo>
                    <a:pt x="1140" y="7390"/>
                  </a:lnTo>
                  <a:lnTo>
                    <a:pt x="1167" y="7393"/>
                  </a:lnTo>
                  <a:lnTo>
                    <a:pt x="1246" y="7406"/>
                  </a:lnTo>
                  <a:lnTo>
                    <a:pt x="1303" y="7415"/>
                  </a:lnTo>
                  <a:lnTo>
                    <a:pt x="1371" y="7427"/>
                  </a:lnTo>
                  <a:lnTo>
                    <a:pt x="1451" y="7441"/>
                  </a:lnTo>
                  <a:lnTo>
                    <a:pt x="1540" y="7458"/>
                  </a:lnTo>
                  <a:lnTo>
                    <a:pt x="1638" y="7477"/>
                  </a:lnTo>
                  <a:lnTo>
                    <a:pt x="1745" y="7499"/>
                  </a:lnTo>
                  <a:lnTo>
                    <a:pt x="1861" y="7526"/>
                  </a:lnTo>
                  <a:lnTo>
                    <a:pt x="1984" y="7554"/>
                  </a:lnTo>
                  <a:lnTo>
                    <a:pt x="2113" y="7586"/>
                  </a:lnTo>
                  <a:lnTo>
                    <a:pt x="2251" y="7622"/>
                  </a:lnTo>
                  <a:lnTo>
                    <a:pt x="2392" y="7660"/>
                  </a:lnTo>
                  <a:lnTo>
                    <a:pt x="2540" y="7702"/>
                  </a:lnTo>
                  <a:lnTo>
                    <a:pt x="2692" y="7749"/>
                  </a:lnTo>
                  <a:lnTo>
                    <a:pt x="2849" y="7799"/>
                  </a:lnTo>
                  <a:lnTo>
                    <a:pt x="3009" y="7854"/>
                  </a:lnTo>
                  <a:lnTo>
                    <a:pt x="3171" y="7913"/>
                  </a:lnTo>
                  <a:lnTo>
                    <a:pt x="3336" y="7975"/>
                  </a:lnTo>
                  <a:lnTo>
                    <a:pt x="3503" y="8042"/>
                  </a:lnTo>
                  <a:lnTo>
                    <a:pt x="3671" y="8114"/>
                  </a:lnTo>
                  <a:lnTo>
                    <a:pt x="3839" y="8190"/>
                  </a:lnTo>
                  <a:lnTo>
                    <a:pt x="4007" y="8271"/>
                  </a:lnTo>
                  <a:lnTo>
                    <a:pt x="4175" y="8357"/>
                  </a:lnTo>
                  <a:lnTo>
                    <a:pt x="4342" y="8448"/>
                  </a:lnTo>
                  <a:lnTo>
                    <a:pt x="4506" y="8544"/>
                  </a:lnTo>
                  <a:lnTo>
                    <a:pt x="4669" y="8646"/>
                  </a:lnTo>
                  <a:lnTo>
                    <a:pt x="4829" y="8752"/>
                  </a:lnTo>
                  <a:lnTo>
                    <a:pt x="4984" y="8865"/>
                  </a:lnTo>
                  <a:lnTo>
                    <a:pt x="5136" y="8982"/>
                  </a:lnTo>
                  <a:lnTo>
                    <a:pt x="5285" y="9103"/>
                  </a:lnTo>
                  <a:lnTo>
                    <a:pt x="5433" y="9222"/>
                  </a:lnTo>
                  <a:lnTo>
                    <a:pt x="5581" y="9338"/>
                  </a:lnTo>
                  <a:lnTo>
                    <a:pt x="5727" y="9453"/>
                  </a:lnTo>
                  <a:lnTo>
                    <a:pt x="5873" y="9566"/>
                  </a:lnTo>
                  <a:lnTo>
                    <a:pt x="6017" y="9676"/>
                  </a:lnTo>
                  <a:lnTo>
                    <a:pt x="6160" y="9784"/>
                  </a:lnTo>
                  <a:lnTo>
                    <a:pt x="6302" y="9891"/>
                  </a:lnTo>
                  <a:lnTo>
                    <a:pt x="6442" y="9994"/>
                  </a:lnTo>
                  <a:lnTo>
                    <a:pt x="6581" y="10095"/>
                  </a:lnTo>
                  <a:lnTo>
                    <a:pt x="6718" y="10193"/>
                  </a:lnTo>
                  <a:lnTo>
                    <a:pt x="6852" y="10286"/>
                  </a:lnTo>
                  <a:lnTo>
                    <a:pt x="6985" y="10378"/>
                  </a:lnTo>
                  <a:lnTo>
                    <a:pt x="7116" y="10466"/>
                  </a:lnTo>
                  <a:lnTo>
                    <a:pt x="7245" y="10551"/>
                  </a:lnTo>
                  <a:lnTo>
                    <a:pt x="7371" y="10632"/>
                  </a:lnTo>
                  <a:lnTo>
                    <a:pt x="7495" y="10710"/>
                  </a:lnTo>
                  <a:lnTo>
                    <a:pt x="7616" y="10783"/>
                  </a:lnTo>
                  <a:lnTo>
                    <a:pt x="7734" y="10853"/>
                  </a:lnTo>
                  <a:lnTo>
                    <a:pt x="7851" y="10919"/>
                  </a:lnTo>
                  <a:lnTo>
                    <a:pt x="7964" y="10980"/>
                  </a:lnTo>
                  <a:lnTo>
                    <a:pt x="8073" y="11037"/>
                  </a:lnTo>
                  <a:lnTo>
                    <a:pt x="8180" y="11090"/>
                  </a:lnTo>
                  <a:lnTo>
                    <a:pt x="8284" y="11137"/>
                  </a:lnTo>
                  <a:lnTo>
                    <a:pt x="8384" y="11180"/>
                  </a:lnTo>
                  <a:lnTo>
                    <a:pt x="8480" y="11218"/>
                  </a:lnTo>
                  <a:lnTo>
                    <a:pt x="8573" y="11251"/>
                  </a:lnTo>
                  <a:lnTo>
                    <a:pt x="8663" y="11278"/>
                  </a:lnTo>
                  <a:lnTo>
                    <a:pt x="8748" y="11301"/>
                  </a:lnTo>
                  <a:lnTo>
                    <a:pt x="8830" y="11318"/>
                  </a:lnTo>
                  <a:lnTo>
                    <a:pt x="8907" y="11329"/>
                  </a:lnTo>
                  <a:lnTo>
                    <a:pt x="8980" y="11334"/>
                  </a:lnTo>
                  <a:lnTo>
                    <a:pt x="9120" y="11338"/>
                  </a:lnTo>
                  <a:lnTo>
                    <a:pt x="9254" y="11341"/>
                  </a:lnTo>
                  <a:lnTo>
                    <a:pt x="9384" y="11342"/>
                  </a:lnTo>
                  <a:lnTo>
                    <a:pt x="9510" y="11342"/>
                  </a:lnTo>
                  <a:lnTo>
                    <a:pt x="9572" y="11341"/>
                  </a:lnTo>
                  <a:lnTo>
                    <a:pt x="9633" y="11340"/>
                  </a:lnTo>
                  <a:lnTo>
                    <a:pt x="9694" y="11338"/>
                  </a:lnTo>
                  <a:lnTo>
                    <a:pt x="9754" y="11336"/>
                  </a:lnTo>
                  <a:lnTo>
                    <a:pt x="9814" y="11333"/>
                  </a:lnTo>
                  <a:lnTo>
                    <a:pt x="9873" y="11330"/>
                  </a:lnTo>
                  <a:lnTo>
                    <a:pt x="9932" y="11326"/>
                  </a:lnTo>
                  <a:lnTo>
                    <a:pt x="9992" y="11321"/>
                  </a:lnTo>
                  <a:lnTo>
                    <a:pt x="10052" y="11317"/>
                  </a:lnTo>
                  <a:lnTo>
                    <a:pt x="10110" y="11311"/>
                  </a:lnTo>
                  <a:lnTo>
                    <a:pt x="10170" y="11305"/>
                  </a:lnTo>
                  <a:lnTo>
                    <a:pt x="10231" y="11298"/>
                  </a:lnTo>
                  <a:lnTo>
                    <a:pt x="10290" y="11290"/>
                  </a:lnTo>
                  <a:lnTo>
                    <a:pt x="10351" y="11282"/>
                  </a:lnTo>
                  <a:lnTo>
                    <a:pt x="10412" y="11272"/>
                  </a:lnTo>
                  <a:lnTo>
                    <a:pt x="10474" y="11263"/>
                  </a:lnTo>
                  <a:lnTo>
                    <a:pt x="10537" y="11252"/>
                  </a:lnTo>
                  <a:lnTo>
                    <a:pt x="10600" y="11241"/>
                  </a:lnTo>
                  <a:lnTo>
                    <a:pt x="10665" y="11229"/>
                  </a:lnTo>
                  <a:lnTo>
                    <a:pt x="10730" y="11217"/>
                  </a:lnTo>
                  <a:lnTo>
                    <a:pt x="10797" y="11203"/>
                  </a:lnTo>
                  <a:lnTo>
                    <a:pt x="10864" y="11189"/>
                  </a:lnTo>
                  <a:lnTo>
                    <a:pt x="10934" y="11173"/>
                  </a:lnTo>
                  <a:lnTo>
                    <a:pt x="11004" y="11157"/>
                  </a:lnTo>
                  <a:lnTo>
                    <a:pt x="11167" y="11118"/>
                  </a:lnTo>
                  <a:lnTo>
                    <a:pt x="11368" y="11067"/>
                  </a:lnTo>
                  <a:lnTo>
                    <a:pt x="11598" y="11008"/>
                  </a:lnTo>
                  <a:lnTo>
                    <a:pt x="11854" y="10940"/>
                  </a:lnTo>
                  <a:lnTo>
                    <a:pt x="12126" y="10867"/>
                  </a:lnTo>
                  <a:lnTo>
                    <a:pt x="12409" y="10792"/>
                  </a:lnTo>
                  <a:lnTo>
                    <a:pt x="12697" y="10714"/>
                  </a:lnTo>
                  <a:lnTo>
                    <a:pt x="12983" y="10636"/>
                  </a:lnTo>
                  <a:lnTo>
                    <a:pt x="13259" y="10560"/>
                  </a:lnTo>
                  <a:lnTo>
                    <a:pt x="13521" y="10489"/>
                  </a:lnTo>
                  <a:lnTo>
                    <a:pt x="13760" y="10423"/>
                  </a:lnTo>
                  <a:lnTo>
                    <a:pt x="13970" y="10364"/>
                  </a:lnTo>
                  <a:lnTo>
                    <a:pt x="14146" y="10316"/>
                  </a:lnTo>
                  <a:lnTo>
                    <a:pt x="14279" y="10278"/>
                  </a:lnTo>
                  <a:lnTo>
                    <a:pt x="14363" y="10255"/>
                  </a:lnTo>
                  <a:lnTo>
                    <a:pt x="14393" y="10247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49" name="组合 48"/>
            <p:cNvGrpSpPr/>
            <p:nvPr/>
          </p:nvGrpSpPr>
          <p:grpSpPr>
            <a:xfrm>
              <a:off x="5911051" y="3807708"/>
              <a:ext cx="972000" cy="972000"/>
              <a:chOff x="-931799" y="2962588"/>
              <a:chExt cx="972000" cy="972000"/>
            </a:xfrm>
          </p:grpSpPr>
          <p:sp>
            <p:nvSpPr>
              <p:cNvPr id="50" name="椭圆 49"/>
              <p:cNvSpPr/>
              <p:nvPr/>
            </p:nvSpPr>
            <p:spPr>
              <a:xfrm>
                <a:off x="-931799" y="2962588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-832834" y="3052588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59" name="组合 58"/>
          <p:cNvGrpSpPr/>
          <p:nvPr/>
        </p:nvGrpSpPr>
        <p:grpSpPr>
          <a:xfrm>
            <a:off x="10125025" y="3806816"/>
            <a:ext cx="971747" cy="971747"/>
            <a:chOff x="7630179" y="3807708"/>
            <a:chExt cx="972000" cy="972000"/>
          </a:xfrm>
        </p:grpSpPr>
        <p:sp>
          <p:nvSpPr>
            <p:cNvPr id="35" name="Freeform 101"/>
            <p:cNvSpPr>
              <a:spLocks/>
            </p:cNvSpPr>
            <p:nvPr/>
          </p:nvSpPr>
          <p:spPr bwMode="auto">
            <a:xfrm flipH="1">
              <a:off x="7882179" y="4049298"/>
              <a:ext cx="468000" cy="488821"/>
            </a:xfrm>
            <a:custGeom>
              <a:avLst/>
              <a:gdLst/>
              <a:ahLst/>
              <a:cxnLst>
                <a:cxn ang="0">
                  <a:pos x="2492" y="12323"/>
                </a:cxn>
                <a:cxn ang="0">
                  <a:pos x="1645" y="11392"/>
                </a:cxn>
                <a:cxn ang="0">
                  <a:pos x="653" y="9759"/>
                </a:cxn>
                <a:cxn ang="0">
                  <a:pos x="35" y="7484"/>
                </a:cxn>
                <a:cxn ang="0">
                  <a:pos x="277" y="4744"/>
                </a:cxn>
                <a:cxn ang="0">
                  <a:pos x="1170" y="2795"/>
                </a:cxn>
                <a:cxn ang="0">
                  <a:pos x="2497" y="1408"/>
                </a:cxn>
                <a:cxn ang="0">
                  <a:pos x="4091" y="520"/>
                </a:cxn>
                <a:cxn ang="0">
                  <a:pos x="5781" y="72"/>
                </a:cxn>
                <a:cxn ang="0">
                  <a:pos x="6294" y="6574"/>
                </a:cxn>
                <a:cxn ang="0">
                  <a:pos x="5789" y="6443"/>
                </a:cxn>
                <a:cxn ang="0">
                  <a:pos x="5441" y="6407"/>
                </a:cxn>
                <a:cxn ang="0">
                  <a:pos x="4855" y="6442"/>
                </a:cxn>
                <a:cxn ang="0">
                  <a:pos x="4119" y="6669"/>
                </a:cxn>
                <a:cxn ang="0">
                  <a:pos x="3531" y="7068"/>
                </a:cxn>
                <a:cxn ang="0">
                  <a:pos x="3141" y="7599"/>
                </a:cxn>
                <a:cxn ang="0">
                  <a:pos x="2999" y="8223"/>
                </a:cxn>
                <a:cxn ang="0">
                  <a:pos x="3141" y="8847"/>
                </a:cxn>
                <a:cxn ang="0">
                  <a:pos x="3531" y="9378"/>
                </a:cxn>
                <a:cxn ang="0">
                  <a:pos x="4119" y="9777"/>
                </a:cxn>
                <a:cxn ang="0">
                  <a:pos x="4855" y="10003"/>
                </a:cxn>
                <a:cxn ang="0">
                  <a:pos x="5498" y="10036"/>
                </a:cxn>
                <a:cxn ang="0">
                  <a:pos x="5893" y="9985"/>
                </a:cxn>
                <a:cxn ang="0">
                  <a:pos x="6263" y="9884"/>
                </a:cxn>
                <a:cxn ang="0">
                  <a:pos x="6602" y="9738"/>
                </a:cxn>
                <a:cxn ang="0">
                  <a:pos x="6904" y="9551"/>
                </a:cxn>
                <a:cxn ang="0">
                  <a:pos x="10896" y="12983"/>
                </a:cxn>
                <a:cxn ang="0">
                  <a:pos x="11091" y="13043"/>
                </a:cxn>
                <a:cxn ang="0">
                  <a:pos x="11290" y="13035"/>
                </a:cxn>
                <a:cxn ang="0">
                  <a:pos x="11478" y="12961"/>
                </a:cxn>
                <a:cxn ang="0">
                  <a:pos x="11636" y="12822"/>
                </a:cxn>
                <a:cxn ang="0">
                  <a:pos x="11735" y="12640"/>
                </a:cxn>
                <a:cxn ang="0">
                  <a:pos x="11765" y="12441"/>
                </a:cxn>
                <a:cxn ang="0">
                  <a:pos x="11728" y="12243"/>
                </a:cxn>
                <a:cxn ang="0">
                  <a:pos x="11626" y="12066"/>
                </a:cxn>
                <a:cxn ang="0">
                  <a:pos x="7806" y="45"/>
                </a:cxn>
                <a:cxn ang="0">
                  <a:pos x="8197" y="107"/>
                </a:cxn>
                <a:cxn ang="0">
                  <a:pos x="8563" y="193"/>
                </a:cxn>
                <a:cxn ang="0">
                  <a:pos x="10142" y="800"/>
                </a:cxn>
                <a:cxn ang="0">
                  <a:pos x="11503" y="1647"/>
                </a:cxn>
                <a:cxn ang="0">
                  <a:pos x="12558" y="2629"/>
                </a:cxn>
                <a:cxn ang="0">
                  <a:pos x="13222" y="3643"/>
                </a:cxn>
                <a:cxn ang="0">
                  <a:pos x="13461" y="4588"/>
                </a:cxn>
                <a:cxn ang="0">
                  <a:pos x="13651" y="5432"/>
                </a:cxn>
                <a:cxn ang="0">
                  <a:pos x="13864" y="6186"/>
                </a:cxn>
                <a:cxn ang="0">
                  <a:pos x="14202" y="7219"/>
                </a:cxn>
                <a:cxn ang="0">
                  <a:pos x="14463" y="7967"/>
                </a:cxn>
                <a:cxn ang="0">
                  <a:pos x="14725" y="8527"/>
                </a:cxn>
                <a:cxn ang="0">
                  <a:pos x="15117" y="9290"/>
                </a:cxn>
                <a:cxn ang="0">
                  <a:pos x="15260" y="9644"/>
                </a:cxn>
                <a:cxn ang="0">
                  <a:pos x="15311" y="10035"/>
                </a:cxn>
                <a:cxn ang="0">
                  <a:pos x="15294" y="10277"/>
                </a:cxn>
                <a:cxn ang="0">
                  <a:pos x="15191" y="10499"/>
                </a:cxn>
                <a:cxn ang="0">
                  <a:pos x="14959" y="10686"/>
                </a:cxn>
                <a:cxn ang="0">
                  <a:pos x="14340" y="10951"/>
                </a:cxn>
                <a:cxn ang="0">
                  <a:pos x="13776" y="11191"/>
                </a:cxn>
                <a:cxn ang="0">
                  <a:pos x="13560" y="13730"/>
                </a:cxn>
                <a:cxn ang="0">
                  <a:pos x="13409" y="14131"/>
                </a:cxn>
                <a:cxn ang="0">
                  <a:pos x="13175" y="14548"/>
                </a:cxn>
                <a:cxn ang="0">
                  <a:pos x="12832" y="14893"/>
                </a:cxn>
                <a:cxn ang="0">
                  <a:pos x="12368" y="15027"/>
                </a:cxn>
                <a:cxn ang="0">
                  <a:pos x="11605" y="15073"/>
                </a:cxn>
                <a:cxn ang="0">
                  <a:pos x="10280" y="15102"/>
                </a:cxn>
              </a:cxnLst>
              <a:rect l="0" t="0" r="r" b="b"/>
              <a:pathLst>
                <a:path w="15312" h="16211">
                  <a:moveTo>
                    <a:pt x="2724" y="15240"/>
                  </a:moveTo>
                  <a:lnTo>
                    <a:pt x="2724" y="12525"/>
                  </a:lnTo>
                  <a:lnTo>
                    <a:pt x="2714" y="12517"/>
                  </a:lnTo>
                  <a:lnTo>
                    <a:pt x="2684" y="12493"/>
                  </a:lnTo>
                  <a:lnTo>
                    <a:pt x="2636" y="12452"/>
                  </a:lnTo>
                  <a:lnTo>
                    <a:pt x="2572" y="12395"/>
                  </a:lnTo>
                  <a:lnTo>
                    <a:pt x="2492" y="12323"/>
                  </a:lnTo>
                  <a:lnTo>
                    <a:pt x="2400" y="12235"/>
                  </a:lnTo>
                  <a:lnTo>
                    <a:pt x="2295" y="12133"/>
                  </a:lnTo>
                  <a:lnTo>
                    <a:pt x="2179" y="12014"/>
                  </a:lnTo>
                  <a:lnTo>
                    <a:pt x="2056" y="11881"/>
                  </a:lnTo>
                  <a:lnTo>
                    <a:pt x="1924" y="11733"/>
                  </a:lnTo>
                  <a:lnTo>
                    <a:pt x="1787" y="11570"/>
                  </a:lnTo>
                  <a:lnTo>
                    <a:pt x="1645" y="11392"/>
                  </a:lnTo>
                  <a:lnTo>
                    <a:pt x="1500" y="11201"/>
                  </a:lnTo>
                  <a:lnTo>
                    <a:pt x="1353" y="10995"/>
                  </a:lnTo>
                  <a:lnTo>
                    <a:pt x="1208" y="10775"/>
                  </a:lnTo>
                  <a:lnTo>
                    <a:pt x="1063" y="10541"/>
                  </a:lnTo>
                  <a:lnTo>
                    <a:pt x="921" y="10294"/>
                  </a:lnTo>
                  <a:lnTo>
                    <a:pt x="785" y="10034"/>
                  </a:lnTo>
                  <a:lnTo>
                    <a:pt x="653" y="9759"/>
                  </a:lnTo>
                  <a:lnTo>
                    <a:pt x="530" y="9472"/>
                  </a:lnTo>
                  <a:lnTo>
                    <a:pt x="416" y="9172"/>
                  </a:lnTo>
                  <a:lnTo>
                    <a:pt x="313" y="8859"/>
                  </a:lnTo>
                  <a:lnTo>
                    <a:pt x="222" y="8534"/>
                  </a:lnTo>
                  <a:lnTo>
                    <a:pt x="144" y="8197"/>
                  </a:lnTo>
                  <a:lnTo>
                    <a:pt x="81" y="7846"/>
                  </a:lnTo>
                  <a:lnTo>
                    <a:pt x="35" y="7484"/>
                  </a:lnTo>
                  <a:lnTo>
                    <a:pt x="8" y="7111"/>
                  </a:lnTo>
                  <a:lnTo>
                    <a:pt x="0" y="6726"/>
                  </a:lnTo>
                  <a:lnTo>
                    <a:pt x="13" y="6328"/>
                  </a:lnTo>
                  <a:lnTo>
                    <a:pt x="49" y="5920"/>
                  </a:lnTo>
                  <a:lnTo>
                    <a:pt x="109" y="5502"/>
                  </a:lnTo>
                  <a:lnTo>
                    <a:pt x="195" y="5071"/>
                  </a:lnTo>
                  <a:lnTo>
                    <a:pt x="277" y="4744"/>
                  </a:lnTo>
                  <a:lnTo>
                    <a:pt x="372" y="4429"/>
                  </a:lnTo>
                  <a:lnTo>
                    <a:pt x="478" y="4127"/>
                  </a:lnTo>
                  <a:lnTo>
                    <a:pt x="596" y="3836"/>
                  </a:lnTo>
                  <a:lnTo>
                    <a:pt x="725" y="3558"/>
                  </a:lnTo>
                  <a:lnTo>
                    <a:pt x="863" y="3293"/>
                  </a:lnTo>
                  <a:lnTo>
                    <a:pt x="1012" y="3039"/>
                  </a:lnTo>
                  <a:lnTo>
                    <a:pt x="1170" y="2795"/>
                  </a:lnTo>
                  <a:lnTo>
                    <a:pt x="1337" y="2564"/>
                  </a:lnTo>
                  <a:lnTo>
                    <a:pt x="1512" y="2345"/>
                  </a:lnTo>
                  <a:lnTo>
                    <a:pt x="1696" y="2136"/>
                  </a:lnTo>
                  <a:lnTo>
                    <a:pt x="1886" y="1938"/>
                  </a:lnTo>
                  <a:lnTo>
                    <a:pt x="2084" y="1751"/>
                  </a:lnTo>
                  <a:lnTo>
                    <a:pt x="2288" y="1574"/>
                  </a:lnTo>
                  <a:lnTo>
                    <a:pt x="2497" y="1408"/>
                  </a:lnTo>
                  <a:lnTo>
                    <a:pt x="2713" y="1252"/>
                  </a:lnTo>
                  <a:lnTo>
                    <a:pt x="2934" y="1106"/>
                  </a:lnTo>
                  <a:lnTo>
                    <a:pt x="3157" y="970"/>
                  </a:lnTo>
                  <a:lnTo>
                    <a:pt x="3386" y="843"/>
                  </a:lnTo>
                  <a:lnTo>
                    <a:pt x="3619" y="726"/>
                  </a:lnTo>
                  <a:lnTo>
                    <a:pt x="3854" y="618"/>
                  </a:lnTo>
                  <a:lnTo>
                    <a:pt x="4091" y="520"/>
                  </a:lnTo>
                  <a:lnTo>
                    <a:pt x="4331" y="431"/>
                  </a:lnTo>
                  <a:lnTo>
                    <a:pt x="4572" y="350"/>
                  </a:lnTo>
                  <a:lnTo>
                    <a:pt x="4813" y="278"/>
                  </a:lnTo>
                  <a:lnTo>
                    <a:pt x="5056" y="214"/>
                  </a:lnTo>
                  <a:lnTo>
                    <a:pt x="5298" y="159"/>
                  </a:lnTo>
                  <a:lnTo>
                    <a:pt x="5540" y="111"/>
                  </a:lnTo>
                  <a:lnTo>
                    <a:pt x="5781" y="72"/>
                  </a:lnTo>
                  <a:lnTo>
                    <a:pt x="6021" y="41"/>
                  </a:lnTo>
                  <a:lnTo>
                    <a:pt x="6259" y="16"/>
                  </a:lnTo>
                  <a:lnTo>
                    <a:pt x="6494" y="0"/>
                  </a:lnTo>
                  <a:lnTo>
                    <a:pt x="6494" y="6655"/>
                  </a:lnTo>
                  <a:lnTo>
                    <a:pt x="6429" y="6626"/>
                  </a:lnTo>
                  <a:lnTo>
                    <a:pt x="6362" y="6599"/>
                  </a:lnTo>
                  <a:lnTo>
                    <a:pt x="6294" y="6574"/>
                  </a:lnTo>
                  <a:lnTo>
                    <a:pt x="6226" y="6549"/>
                  </a:lnTo>
                  <a:lnTo>
                    <a:pt x="6156" y="6527"/>
                  </a:lnTo>
                  <a:lnTo>
                    <a:pt x="6084" y="6507"/>
                  </a:lnTo>
                  <a:lnTo>
                    <a:pt x="6012" y="6487"/>
                  </a:lnTo>
                  <a:lnTo>
                    <a:pt x="5939" y="6470"/>
                  </a:lnTo>
                  <a:lnTo>
                    <a:pt x="5864" y="6456"/>
                  </a:lnTo>
                  <a:lnTo>
                    <a:pt x="5789" y="6443"/>
                  </a:lnTo>
                  <a:lnTo>
                    <a:pt x="5752" y="6437"/>
                  </a:lnTo>
                  <a:lnTo>
                    <a:pt x="5713" y="6432"/>
                  </a:lnTo>
                  <a:lnTo>
                    <a:pt x="5675" y="6427"/>
                  </a:lnTo>
                  <a:lnTo>
                    <a:pt x="5636" y="6422"/>
                  </a:lnTo>
                  <a:lnTo>
                    <a:pt x="5559" y="6414"/>
                  </a:lnTo>
                  <a:lnTo>
                    <a:pt x="5481" y="6409"/>
                  </a:lnTo>
                  <a:lnTo>
                    <a:pt x="5441" y="6407"/>
                  </a:lnTo>
                  <a:lnTo>
                    <a:pt x="5402" y="6406"/>
                  </a:lnTo>
                  <a:lnTo>
                    <a:pt x="5361" y="6405"/>
                  </a:lnTo>
                  <a:lnTo>
                    <a:pt x="5322" y="6405"/>
                  </a:lnTo>
                  <a:lnTo>
                    <a:pt x="5202" y="6407"/>
                  </a:lnTo>
                  <a:lnTo>
                    <a:pt x="5085" y="6414"/>
                  </a:lnTo>
                  <a:lnTo>
                    <a:pt x="4968" y="6427"/>
                  </a:lnTo>
                  <a:lnTo>
                    <a:pt x="4855" y="6442"/>
                  </a:lnTo>
                  <a:lnTo>
                    <a:pt x="4743" y="6463"/>
                  </a:lnTo>
                  <a:lnTo>
                    <a:pt x="4632" y="6487"/>
                  </a:lnTo>
                  <a:lnTo>
                    <a:pt x="4525" y="6516"/>
                  </a:lnTo>
                  <a:lnTo>
                    <a:pt x="4420" y="6548"/>
                  </a:lnTo>
                  <a:lnTo>
                    <a:pt x="4316" y="6585"/>
                  </a:lnTo>
                  <a:lnTo>
                    <a:pt x="4216" y="6625"/>
                  </a:lnTo>
                  <a:lnTo>
                    <a:pt x="4119" y="6669"/>
                  </a:lnTo>
                  <a:lnTo>
                    <a:pt x="4025" y="6716"/>
                  </a:lnTo>
                  <a:lnTo>
                    <a:pt x="3934" y="6767"/>
                  </a:lnTo>
                  <a:lnTo>
                    <a:pt x="3846" y="6822"/>
                  </a:lnTo>
                  <a:lnTo>
                    <a:pt x="3762" y="6879"/>
                  </a:lnTo>
                  <a:lnTo>
                    <a:pt x="3681" y="6938"/>
                  </a:lnTo>
                  <a:lnTo>
                    <a:pt x="3604" y="7002"/>
                  </a:lnTo>
                  <a:lnTo>
                    <a:pt x="3531" y="7068"/>
                  </a:lnTo>
                  <a:lnTo>
                    <a:pt x="3462" y="7137"/>
                  </a:lnTo>
                  <a:lnTo>
                    <a:pt x="3397" y="7208"/>
                  </a:lnTo>
                  <a:lnTo>
                    <a:pt x="3337" y="7282"/>
                  </a:lnTo>
                  <a:lnTo>
                    <a:pt x="3281" y="7358"/>
                  </a:lnTo>
                  <a:lnTo>
                    <a:pt x="3229" y="7436"/>
                  </a:lnTo>
                  <a:lnTo>
                    <a:pt x="3183" y="7517"/>
                  </a:lnTo>
                  <a:lnTo>
                    <a:pt x="3141" y="7599"/>
                  </a:lnTo>
                  <a:lnTo>
                    <a:pt x="3105" y="7684"/>
                  </a:lnTo>
                  <a:lnTo>
                    <a:pt x="3073" y="7770"/>
                  </a:lnTo>
                  <a:lnTo>
                    <a:pt x="3047" y="7857"/>
                  </a:lnTo>
                  <a:lnTo>
                    <a:pt x="3027" y="7946"/>
                  </a:lnTo>
                  <a:lnTo>
                    <a:pt x="3012" y="8038"/>
                  </a:lnTo>
                  <a:lnTo>
                    <a:pt x="3002" y="8130"/>
                  </a:lnTo>
                  <a:lnTo>
                    <a:pt x="2999" y="8223"/>
                  </a:lnTo>
                  <a:lnTo>
                    <a:pt x="3002" y="8316"/>
                  </a:lnTo>
                  <a:lnTo>
                    <a:pt x="3012" y="8408"/>
                  </a:lnTo>
                  <a:lnTo>
                    <a:pt x="3027" y="8500"/>
                  </a:lnTo>
                  <a:lnTo>
                    <a:pt x="3047" y="8589"/>
                  </a:lnTo>
                  <a:lnTo>
                    <a:pt x="3073" y="8677"/>
                  </a:lnTo>
                  <a:lnTo>
                    <a:pt x="3105" y="8763"/>
                  </a:lnTo>
                  <a:lnTo>
                    <a:pt x="3141" y="8847"/>
                  </a:lnTo>
                  <a:lnTo>
                    <a:pt x="3183" y="8929"/>
                  </a:lnTo>
                  <a:lnTo>
                    <a:pt x="3229" y="9010"/>
                  </a:lnTo>
                  <a:lnTo>
                    <a:pt x="3281" y="9088"/>
                  </a:lnTo>
                  <a:lnTo>
                    <a:pt x="3337" y="9164"/>
                  </a:lnTo>
                  <a:lnTo>
                    <a:pt x="3397" y="9238"/>
                  </a:lnTo>
                  <a:lnTo>
                    <a:pt x="3462" y="9309"/>
                  </a:lnTo>
                  <a:lnTo>
                    <a:pt x="3531" y="9378"/>
                  </a:lnTo>
                  <a:lnTo>
                    <a:pt x="3604" y="9444"/>
                  </a:lnTo>
                  <a:lnTo>
                    <a:pt x="3681" y="9508"/>
                  </a:lnTo>
                  <a:lnTo>
                    <a:pt x="3762" y="9568"/>
                  </a:lnTo>
                  <a:lnTo>
                    <a:pt x="3846" y="9625"/>
                  </a:lnTo>
                  <a:lnTo>
                    <a:pt x="3934" y="9679"/>
                  </a:lnTo>
                  <a:lnTo>
                    <a:pt x="4025" y="9730"/>
                  </a:lnTo>
                  <a:lnTo>
                    <a:pt x="4119" y="9777"/>
                  </a:lnTo>
                  <a:lnTo>
                    <a:pt x="4216" y="9821"/>
                  </a:lnTo>
                  <a:lnTo>
                    <a:pt x="4316" y="9861"/>
                  </a:lnTo>
                  <a:lnTo>
                    <a:pt x="4420" y="9898"/>
                  </a:lnTo>
                  <a:lnTo>
                    <a:pt x="4525" y="9930"/>
                  </a:lnTo>
                  <a:lnTo>
                    <a:pt x="4632" y="9959"/>
                  </a:lnTo>
                  <a:lnTo>
                    <a:pt x="4743" y="9983"/>
                  </a:lnTo>
                  <a:lnTo>
                    <a:pt x="4855" y="10003"/>
                  </a:lnTo>
                  <a:lnTo>
                    <a:pt x="4968" y="10019"/>
                  </a:lnTo>
                  <a:lnTo>
                    <a:pt x="5085" y="10032"/>
                  </a:lnTo>
                  <a:lnTo>
                    <a:pt x="5202" y="10039"/>
                  </a:lnTo>
                  <a:lnTo>
                    <a:pt x="5322" y="10041"/>
                  </a:lnTo>
                  <a:lnTo>
                    <a:pt x="5380" y="10041"/>
                  </a:lnTo>
                  <a:lnTo>
                    <a:pt x="5439" y="10039"/>
                  </a:lnTo>
                  <a:lnTo>
                    <a:pt x="5498" y="10036"/>
                  </a:lnTo>
                  <a:lnTo>
                    <a:pt x="5555" y="10032"/>
                  </a:lnTo>
                  <a:lnTo>
                    <a:pt x="5612" y="10027"/>
                  </a:lnTo>
                  <a:lnTo>
                    <a:pt x="5670" y="10020"/>
                  </a:lnTo>
                  <a:lnTo>
                    <a:pt x="5726" y="10013"/>
                  </a:lnTo>
                  <a:lnTo>
                    <a:pt x="5782" y="10004"/>
                  </a:lnTo>
                  <a:lnTo>
                    <a:pt x="5838" y="9995"/>
                  </a:lnTo>
                  <a:lnTo>
                    <a:pt x="5893" y="9985"/>
                  </a:lnTo>
                  <a:lnTo>
                    <a:pt x="5947" y="9974"/>
                  </a:lnTo>
                  <a:lnTo>
                    <a:pt x="6001" y="9961"/>
                  </a:lnTo>
                  <a:lnTo>
                    <a:pt x="6055" y="9947"/>
                  </a:lnTo>
                  <a:lnTo>
                    <a:pt x="6107" y="9933"/>
                  </a:lnTo>
                  <a:lnTo>
                    <a:pt x="6160" y="9918"/>
                  </a:lnTo>
                  <a:lnTo>
                    <a:pt x="6211" y="9901"/>
                  </a:lnTo>
                  <a:lnTo>
                    <a:pt x="6263" y="9884"/>
                  </a:lnTo>
                  <a:lnTo>
                    <a:pt x="6314" y="9865"/>
                  </a:lnTo>
                  <a:lnTo>
                    <a:pt x="6363" y="9847"/>
                  </a:lnTo>
                  <a:lnTo>
                    <a:pt x="6412" y="9827"/>
                  </a:lnTo>
                  <a:lnTo>
                    <a:pt x="6460" y="9806"/>
                  </a:lnTo>
                  <a:lnTo>
                    <a:pt x="6508" y="9784"/>
                  </a:lnTo>
                  <a:lnTo>
                    <a:pt x="6556" y="9761"/>
                  </a:lnTo>
                  <a:lnTo>
                    <a:pt x="6602" y="9738"/>
                  </a:lnTo>
                  <a:lnTo>
                    <a:pt x="6648" y="9713"/>
                  </a:lnTo>
                  <a:lnTo>
                    <a:pt x="6692" y="9688"/>
                  </a:lnTo>
                  <a:lnTo>
                    <a:pt x="6736" y="9663"/>
                  </a:lnTo>
                  <a:lnTo>
                    <a:pt x="6779" y="9635"/>
                  </a:lnTo>
                  <a:lnTo>
                    <a:pt x="6822" y="9608"/>
                  </a:lnTo>
                  <a:lnTo>
                    <a:pt x="6863" y="9580"/>
                  </a:lnTo>
                  <a:lnTo>
                    <a:pt x="6904" y="9551"/>
                  </a:lnTo>
                  <a:lnTo>
                    <a:pt x="6943" y="9521"/>
                  </a:lnTo>
                  <a:lnTo>
                    <a:pt x="10773" y="12899"/>
                  </a:lnTo>
                  <a:lnTo>
                    <a:pt x="10796" y="12918"/>
                  </a:lnTo>
                  <a:lnTo>
                    <a:pt x="10820" y="12936"/>
                  </a:lnTo>
                  <a:lnTo>
                    <a:pt x="10845" y="12954"/>
                  </a:lnTo>
                  <a:lnTo>
                    <a:pt x="10871" y="12969"/>
                  </a:lnTo>
                  <a:lnTo>
                    <a:pt x="10896" y="12983"/>
                  </a:lnTo>
                  <a:lnTo>
                    <a:pt x="10924" y="12996"/>
                  </a:lnTo>
                  <a:lnTo>
                    <a:pt x="10950" y="13007"/>
                  </a:lnTo>
                  <a:lnTo>
                    <a:pt x="10977" y="13017"/>
                  </a:lnTo>
                  <a:lnTo>
                    <a:pt x="11006" y="13026"/>
                  </a:lnTo>
                  <a:lnTo>
                    <a:pt x="11034" y="13033"/>
                  </a:lnTo>
                  <a:lnTo>
                    <a:pt x="11062" y="13039"/>
                  </a:lnTo>
                  <a:lnTo>
                    <a:pt x="11091" y="13043"/>
                  </a:lnTo>
                  <a:lnTo>
                    <a:pt x="11119" y="13046"/>
                  </a:lnTo>
                  <a:lnTo>
                    <a:pt x="11147" y="13048"/>
                  </a:lnTo>
                  <a:lnTo>
                    <a:pt x="11177" y="13048"/>
                  </a:lnTo>
                  <a:lnTo>
                    <a:pt x="11205" y="13047"/>
                  </a:lnTo>
                  <a:lnTo>
                    <a:pt x="11233" y="13044"/>
                  </a:lnTo>
                  <a:lnTo>
                    <a:pt x="11262" y="13040"/>
                  </a:lnTo>
                  <a:lnTo>
                    <a:pt x="11290" y="13035"/>
                  </a:lnTo>
                  <a:lnTo>
                    <a:pt x="11318" y="13029"/>
                  </a:lnTo>
                  <a:lnTo>
                    <a:pt x="11346" y="13020"/>
                  </a:lnTo>
                  <a:lnTo>
                    <a:pt x="11374" y="13011"/>
                  </a:lnTo>
                  <a:lnTo>
                    <a:pt x="11400" y="13000"/>
                  </a:lnTo>
                  <a:lnTo>
                    <a:pt x="11427" y="12989"/>
                  </a:lnTo>
                  <a:lnTo>
                    <a:pt x="11453" y="12976"/>
                  </a:lnTo>
                  <a:lnTo>
                    <a:pt x="11478" y="12961"/>
                  </a:lnTo>
                  <a:lnTo>
                    <a:pt x="11504" y="12944"/>
                  </a:lnTo>
                  <a:lnTo>
                    <a:pt x="11528" y="12927"/>
                  </a:lnTo>
                  <a:lnTo>
                    <a:pt x="11551" y="12909"/>
                  </a:lnTo>
                  <a:lnTo>
                    <a:pt x="11574" y="12889"/>
                  </a:lnTo>
                  <a:lnTo>
                    <a:pt x="11595" y="12867"/>
                  </a:lnTo>
                  <a:lnTo>
                    <a:pt x="11616" y="12845"/>
                  </a:lnTo>
                  <a:lnTo>
                    <a:pt x="11636" y="12822"/>
                  </a:lnTo>
                  <a:lnTo>
                    <a:pt x="11655" y="12798"/>
                  </a:lnTo>
                  <a:lnTo>
                    <a:pt x="11671" y="12773"/>
                  </a:lnTo>
                  <a:lnTo>
                    <a:pt x="11686" y="12747"/>
                  </a:lnTo>
                  <a:lnTo>
                    <a:pt x="11700" y="12722"/>
                  </a:lnTo>
                  <a:lnTo>
                    <a:pt x="11713" y="12694"/>
                  </a:lnTo>
                  <a:lnTo>
                    <a:pt x="11724" y="12668"/>
                  </a:lnTo>
                  <a:lnTo>
                    <a:pt x="11735" y="12640"/>
                  </a:lnTo>
                  <a:lnTo>
                    <a:pt x="11743" y="12612"/>
                  </a:lnTo>
                  <a:lnTo>
                    <a:pt x="11750" y="12584"/>
                  </a:lnTo>
                  <a:lnTo>
                    <a:pt x="11756" y="12555"/>
                  </a:lnTo>
                  <a:lnTo>
                    <a:pt x="11760" y="12527"/>
                  </a:lnTo>
                  <a:lnTo>
                    <a:pt x="11763" y="12499"/>
                  </a:lnTo>
                  <a:lnTo>
                    <a:pt x="11765" y="12470"/>
                  </a:lnTo>
                  <a:lnTo>
                    <a:pt x="11765" y="12441"/>
                  </a:lnTo>
                  <a:lnTo>
                    <a:pt x="11764" y="12413"/>
                  </a:lnTo>
                  <a:lnTo>
                    <a:pt x="11761" y="12384"/>
                  </a:lnTo>
                  <a:lnTo>
                    <a:pt x="11758" y="12355"/>
                  </a:lnTo>
                  <a:lnTo>
                    <a:pt x="11752" y="12326"/>
                  </a:lnTo>
                  <a:lnTo>
                    <a:pt x="11746" y="12299"/>
                  </a:lnTo>
                  <a:lnTo>
                    <a:pt x="11738" y="12271"/>
                  </a:lnTo>
                  <a:lnTo>
                    <a:pt x="11728" y="12243"/>
                  </a:lnTo>
                  <a:lnTo>
                    <a:pt x="11718" y="12217"/>
                  </a:lnTo>
                  <a:lnTo>
                    <a:pt x="11706" y="12190"/>
                  </a:lnTo>
                  <a:lnTo>
                    <a:pt x="11693" y="12164"/>
                  </a:lnTo>
                  <a:lnTo>
                    <a:pt x="11678" y="12139"/>
                  </a:lnTo>
                  <a:lnTo>
                    <a:pt x="11663" y="12114"/>
                  </a:lnTo>
                  <a:lnTo>
                    <a:pt x="11645" y="12089"/>
                  </a:lnTo>
                  <a:lnTo>
                    <a:pt x="11626" y="12066"/>
                  </a:lnTo>
                  <a:lnTo>
                    <a:pt x="11607" y="12044"/>
                  </a:lnTo>
                  <a:lnTo>
                    <a:pt x="11586" y="12021"/>
                  </a:lnTo>
                  <a:lnTo>
                    <a:pt x="11563" y="12001"/>
                  </a:lnTo>
                  <a:lnTo>
                    <a:pt x="7689" y="8585"/>
                  </a:lnTo>
                  <a:lnTo>
                    <a:pt x="7689" y="30"/>
                  </a:lnTo>
                  <a:lnTo>
                    <a:pt x="7748" y="37"/>
                  </a:lnTo>
                  <a:lnTo>
                    <a:pt x="7806" y="45"/>
                  </a:lnTo>
                  <a:lnTo>
                    <a:pt x="7863" y="52"/>
                  </a:lnTo>
                  <a:lnTo>
                    <a:pt x="7920" y="60"/>
                  </a:lnTo>
                  <a:lnTo>
                    <a:pt x="7976" y="69"/>
                  </a:lnTo>
                  <a:lnTo>
                    <a:pt x="8033" y="78"/>
                  </a:lnTo>
                  <a:lnTo>
                    <a:pt x="8087" y="87"/>
                  </a:lnTo>
                  <a:lnTo>
                    <a:pt x="8143" y="97"/>
                  </a:lnTo>
                  <a:lnTo>
                    <a:pt x="8197" y="107"/>
                  </a:lnTo>
                  <a:lnTo>
                    <a:pt x="8251" y="119"/>
                  </a:lnTo>
                  <a:lnTo>
                    <a:pt x="8305" y="130"/>
                  </a:lnTo>
                  <a:lnTo>
                    <a:pt x="8358" y="142"/>
                  </a:lnTo>
                  <a:lnTo>
                    <a:pt x="8410" y="154"/>
                  </a:lnTo>
                  <a:lnTo>
                    <a:pt x="8462" y="166"/>
                  </a:lnTo>
                  <a:lnTo>
                    <a:pt x="8512" y="179"/>
                  </a:lnTo>
                  <a:lnTo>
                    <a:pt x="8563" y="193"/>
                  </a:lnTo>
                  <a:lnTo>
                    <a:pt x="8799" y="261"/>
                  </a:lnTo>
                  <a:lnTo>
                    <a:pt x="9032" y="335"/>
                  </a:lnTo>
                  <a:lnTo>
                    <a:pt x="9262" y="417"/>
                  </a:lnTo>
                  <a:lnTo>
                    <a:pt x="9487" y="505"/>
                  </a:lnTo>
                  <a:lnTo>
                    <a:pt x="9710" y="598"/>
                  </a:lnTo>
                  <a:lnTo>
                    <a:pt x="9928" y="696"/>
                  </a:lnTo>
                  <a:lnTo>
                    <a:pt x="10142" y="800"/>
                  </a:lnTo>
                  <a:lnTo>
                    <a:pt x="10352" y="909"/>
                  </a:lnTo>
                  <a:lnTo>
                    <a:pt x="10557" y="1022"/>
                  </a:lnTo>
                  <a:lnTo>
                    <a:pt x="10757" y="1140"/>
                  </a:lnTo>
                  <a:lnTo>
                    <a:pt x="10952" y="1261"/>
                  </a:lnTo>
                  <a:lnTo>
                    <a:pt x="11141" y="1387"/>
                  </a:lnTo>
                  <a:lnTo>
                    <a:pt x="11325" y="1516"/>
                  </a:lnTo>
                  <a:lnTo>
                    <a:pt x="11503" y="1647"/>
                  </a:lnTo>
                  <a:lnTo>
                    <a:pt x="11674" y="1781"/>
                  </a:lnTo>
                  <a:lnTo>
                    <a:pt x="11839" y="1918"/>
                  </a:lnTo>
                  <a:lnTo>
                    <a:pt x="11998" y="2058"/>
                  </a:lnTo>
                  <a:lnTo>
                    <a:pt x="12149" y="2199"/>
                  </a:lnTo>
                  <a:lnTo>
                    <a:pt x="12292" y="2341"/>
                  </a:lnTo>
                  <a:lnTo>
                    <a:pt x="12429" y="2484"/>
                  </a:lnTo>
                  <a:lnTo>
                    <a:pt x="12558" y="2629"/>
                  </a:lnTo>
                  <a:lnTo>
                    <a:pt x="12679" y="2775"/>
                  </a:lnTo>
                  <a:lnTo>
                    <a:pt x="12791" y="2920"/>
                  </a:lnTo>
                  <a:lnTo>
                    <a:pt x="12896" y="3066"/>
                  </a:lnTo>
                  <a:lnTo>
                    <a:pt x="12991" y="3212"/>
                  </a:lnTo>
                  <a:lnTo>
                    <a:pt x="13077" y="3357"/>
                  </a:lnTo>
                  <a:lnTo>
                    <a:pt x="13154" y="3501"/>
                  </a:lnTo>
                  <a:lnTo>
                    <a:pt x="13222" y="3643"/>
                  </a:lnTo>
                  <a:lnTo>
                    <a:pt x="13279" y="3784"/>
                  </a:lnTo>
                  <a:lnTo>
                    <a:pt x="13327" y="3924"/>
                  </a:lnTo>
                  <a:lnTo>
                    <a:pt x="13364" y="4061"/>
                  </a:lnTo>
                  <a:lnTo>
                    <a:pt x="13391" y="4197"/>
                  </a:lnTo>
                  <a:lnTo>
                    <a:pt x="13413" y="4329"/>
                  </a:lnTo>
                  <a:lnTo>
                    <a:pt x="13436" y="4460"/>
                  </a:lnTo>
                  <a:lnTo>
                    <a:pt x="13461" y="4588"/>
                  </a:lnTo>
                  <a:lnTo>
                    <a:pt x="13485" y="4714"/>
                  </a:lnTo>
                  <a:lnTo>
                    <a:pt x="13511" y="4839"/>
                  </a:lnTo>
                  <a:lnTo>
                    <a:pt x="13537" y="4962"/>
                  </a:lnTo>
                  <a:lnTo>
                    <a:pt x="13565" y="5082"/>
                  </a:lnTo>
                  <a:lnTo>
                    <a:pt x="13593" y="5200"/>
                  </a:lnTo>
                  <a:lnTo>
                    <a:pt x="13621" y="5317"/>
                  </a:lnTo>
                  <a:lnTo>
                    <a:pt x="13651" y="5432"/>
                  </a:lnTo>
                  <a:lnTo>
                    <a:pt x="13680" y="5544"/>
                  </a:lnTo>
                  <a:lnTo>
                    <a:pt x="13711" y="5656"/>
                  </a:lnTo>
                  <a:lnTo>
                    <a:pt x="13741" y="5765"/>
                  </a:lnTo>
                  <a:lnTo>
                    <a:pt x="13771" y="5872"/>
                  </a:lnTo>
                  <a:lnTo>
                    <a:pt x="13803" y="5979"/>
                  </a:lnTo>
                  <a:lnTo>
                    <a:pt x="13834" y="6083"/>
                  </a:lnTo>
                  <a:lnTo>
                    <a:pt x="13864" y="6186"/>
                  </a:lnTo>
                  <a:lnTo>
                    <a:pt x="13896" y="6287"/>
                  </a:lnTo>
                  <a:lnTo>
                    <a:pt x="13927" y="6387"/>
                  </a:lnTo>
                  <a:lnTo>
                    <a:pt x="13959" y="6484"/>
                  </a:lnTo>
                  <a:lnTo>
                    <a:pt x="14021" y="6677"/>
                  </a:lnTo>
                  <a:lnTo>
                    <a:pt x="14083" y="6862"/>
                  </a:lnTo>
                  <a:lnTo>
                    <a:pt x="14143" y="7044"/>
                  </a:lnTo>
                  <a:lnTo>
                    <a:pt x="14202" y="7219"/>
                  </a:lnTo>
                  <a:lnTo>
                    <a:pt x="14257" y="7389"/>
                  </a:lnTo>
                  <a:lnTo>
                    <a:pt x="14311" y="7555"/>
                  </a:lnTo>
                  <a:lnTo>
                    <a:pt x="14337" y="7637"/>
                  </a:lnTo>
                  <a:lnTo>
                    <a:pt x="14367" y="7720"/>
                  </a:lnTo>
                  <a:lnTo>
                    <a:pt x="14397" y="7803"/>
                  </a:lnTo>
                  <a:lnTo>
                    <a:pt x="14429" y="7885"/>
                  </a:lnTo>
                  <a:lnTo>
                    <a:pt x="14463" y="7967"/>
                  </a:lnTo>
                  <a:lnTo>
                    <a:pt x="14498" y="8049"/>
                  </a:lnTo>
                  <a:lnTo>
                    <a:pt x="14535" y="8130"/>
                  </a:lnTo>
                  <a:lnTo>
                    <a:pt x="14571" y="8211"/>
                  </a:lnTo>
                  <a:lnTo>
                    <a:pt x="14609" y="8291"/>
                  </a:lnTo>
                  <a:lnTo>
                    <a:pt x="14648" y="8371"/>
                  </a:lnTo>
                  <a:lnTo>
                    <a:pt x="14686" y="8450"/>
                  </a:lnTo>
                  <a:lnTo>
                    <a:pt x="14725" y="8527"/>
                  </a:lnTo>
                  <a:lnTo>
                    <a:pt x="14803" y="8680"/>
                  </a:lnTo>
                  <a:lnTo>
                    <a:pt x="14880" y="8827"/>
                  </a:lnTo>
                  <a:lnTo>
                    <a:pt x="14954" y="8969"/>
                  </a:lnTo>
                  <a:lnTo>
                    <a:pt x="15023" y="9103"/>
                  </a:lnTo>
                  <a:lnTo>
                    <a:pt x="15056" y="9167"/>
                  </a:lnTo>
                  <a:lnTo>
                    <a:pt x="15087" y="9230"/>
                  </a:lnTo>
                  <a:lnTo>
                    <a:pt x="15117" y="9290"/>
                  </a:lnTo>
                  <a:lnTo>
                    <a:pt x="15145" y="9349"/>
                  </a:lnTo>
                  <a:lnTo>
                    <a:pt x="15170" y="9404"/>
                  </a:lnTo>
                  <a:lnTo>
                    <a:pt x="15194" y="9457"/>
                  </a:lnTo>
                  <a:lnTo>
                    <a:pt x="15215" y="9508"/>
                  </a:lnTo>
                  <a:lnTo>
                    <a:pt x="15233" y="9555"/>
                  </a:lnTo>
                  <a:lnTo>
                    <a:pt x="15248" y="9601"/>
                  </a:lnTo>
                  <a:lnTo>
                    <a:pt x="15260" y="9644"/>
                  </a:lnTo>
                  <a:lnTo>
                    <a:pt x="15270" y="9683"/>
                  </a:lnTo>
                  <a:lnTo>
                    <a:pt x="15277" y="9718"/>
                  </a:lnTo>
                  <a:lnTo>
                    <a:pt x="15285" y="9788"/>
                  </a:lnTo>
                  <a:lnTo>
                    <a:pt x="15294" y="9858"/>
                  </a:lnTo>
                  <a:lnTo>
                    <a:pt x="15302" y="9929"/>
                  </a:lnTo>
                  <a:lnTo>
                    <a:pt x="15309" y="10000"/>
                  </a:lnTo>
                  <a:lnTo>
                    <a:pt x="15311" y="10035"/>
                  </a:lnTo>
                  <a:lnTo>
                    <a:pt x="15312" y="10070"/>
                  </a:lnTo>
                  <a:lnTo>
                    <a:pt x="15312" y="10106"/>
                  </a:lnTo>
                  <a:lnTo>
                    <a:pt x="15311" y="10140"/>
                  </a:lnTo>
                  <a:lnTo>
                    <a:pt x="15309" y="10174"/>
                  </a:lnTo>
                  <a:lnTo>
                    <a:pt x="15305" y="10209"/>
                  </a:lnTo>
                  <a:lnTo>
                    <a:pt x="15300" y="10243"/>
                  </a:lnTo>
                  <a:lnTo>
                    <a:pt x="15294" y="10277"/>
                  </a:lnTo>
                  <a:lnTo>
                    <a:pt x="15285" y="10310"/>
                  </a:lnTo>
                  <a:lnTo>
                    <a:pt x="15275" y="10343"/>
                  </a:lnTo>
                  <a:lnTo>
                    <a:pt x="15262" y="10375"/>
                  </a:lnTo>
                  <a:lnTo>
                    <a:pt x="15248" y="10406"/>
                  </a:lnTo>
                  <a:lnTo>
                    <a:pt x="15231" y="10438"/>
                  </a:lnTo>
                  <a:lnTo>
                    <a:pt x="15212" y="10468"/>
                  </a:lnTo>
                  <a:lnTo>
                    <a:pt x="15191" y="10499"/>
                  </a:lnTo>
                  <a:lnTo>
                    <a:pt x="15166" y="10528"/>
                  </a:lnTo>
                  <a:lnTo>
                    <a:pt x="15139" y="10556"/>
                  </a:lnTo>
                  <a:lnTo>
                    <a:pt x="15110" y="10584"/>
                  </a:lnTo>
                  <a:lnTo>
                    <a:pt x="15076" y="10611"/>
                  </a:lnTo>
                  <a:lnTo>
                    <a:pt x="15041" y="10636"/>
                  </a:lnTo>
                  <a:lnTo>
                    <a:pt x="15001" y="10662"/>
                  </a:lnTo>
                  <a:lnTo>
                    <a:pt x="14959" y="10686"/>
                  </a:lnTo>
                  <a:lnTo>
                    <a:pt x="14912" y="10709"/>
                  </a:lnTo>
                  <a:lnTo>
                    <a:pt x="14863" y="10731"/>
                  </a:lnTo>
                  <a:lnTo>
                    <a:pt x="14758" y="10774"/>
                  </a:lnTo>
                  <a:lnTo>
                    <a:pt x="14653" y="10819"/>
                  </a:lnTo>
                  <a:lnTo>
                    <a:pt x="14547" y="10863"/>
                  </a:lnTo>
                  <a:lnTo>
                    <a:pt x="14442" y="10907"/>
                  </a:lnTo>
                  <a:lnTo>
                    <a:pt x="14340" y="10951"/>
                  </a:lnTo>
                  <a:lnTo>
                    <a:pt x="14242" y="10992"/>
                  </a:lnTo>
                  <a:lnTo>
                    <a:pt x="14147" y="11033"/>
                  </a:lnTo>
                  <a:lnTo>
                    <a:pt x="14058" y="11070"/>
                  </a:lnTo>
                  <a:lnTo>
                    <a:pt x="13975" y="11106"/>
                  </a:lnTo>
                  <a:lnTo>
                    <a:pt x="13900" y="11138"/>
                  </a:lnTo>
                  <a:lnTo>
                    <a:pt x="13833" y="11166"/>
                  </a:lnTo>
                  <a:lnTo>
                    <a:pt x="13776" y="11191"/>
                  </a:lnTo>
                  <a:lnTo>
                    <a:pt x="13730" y="11210"/>
                  </a:lnTo>
                  <a:lnTo>
                    <a:pt x="13695" y="11225"/>
                  </a:lnTo>
                  <a:lnTo>
                    <a:pt x="13674" y="11234"/>
                  </a:lnTo>
                  <a:lnTo>
                    <a:pt x="13667" y="11237"/>
                  </a:lnTo>
                  <a:lnTo>
                    <a:pt x="13575" y="13676"/>
                  </a:lnTo>
                  <a:lnTo>
                    <a:pt x="13571" y="13690"/>
                  </a:lnTo>
                  <a:lnTo>
                    <a:pt x="13560" y="13730"/>
                  </a:lnTo>
                  <a:lnTo>
                    <a:pt x="13540" y="13792"/>
                  </a:lnTo>
                  <a:lnTo>
                    <a:pt x="13513" y="13872"/>
                  </a:lnTo>
                  <a:lnTo>
                    <a:pt x="13496" y="13918"/>
                  </a:lnTo>
                  <a:lnTo>
                    <a:pt x="13478" y="13968"/>
                  </a:lnTo>
                  <a:lnTo>
                    <a:pt x="13457" y="14019"/>
                  </a:lnTo>
                  <a:lnTo>
                    <a:pt x="13434" y="14074"/>
                  </a:lnTo>
                  <a:lnTo>
                    <a:pt x="13409" y="14131"/>
                  </a:lnTo>
                  <a:lnTo>
                    <a:pt x="13383" y="14190"/>
                  </a:lnTo>
                  <a:lnTo>
                    <a:pt x="13353" y="14248"/>
                  </a:lnTo>
                  <a:lnTo>
                    <a:pt x="13322" y="14309"/>
                  </a:lnTo>
                  <a:lnTo>
                    <a:pt x="13288" y="14369"/>
                  </a:lnTo>
                  <a:lnTo>
                    <a:pt x="13253" y="14430"/>
                  </a:lnTo>
                  <a:lnTo>
                    <a:pt x="13216" y="14490"/>
                  </a:lnTo>
                  <a:lnTo>
                    <a:pt x="13175" y="14548"/>
                  </a:lnTo>
                  <a:lnTo>
                    <a:pt x="13134" y="14605"/>
                  </a:lnTo>
                  <a:lnTo>
                    <a:pt x="13089" y="14661"/>
                  </a:lnTo>
                  <a:lnTo>
                    <a:pt x="13042" y="14714"/>
                  </a:lnTo>
                  <a:lnTo>
                    <a:pt x="12993" y="14763"/>
                  </a:lnTo>
                  <a:lnTo>
                    <a:pt x="12942" y="14811"/>
                  </a:lnTo>
                  <a:lnTo>
                    <a:pt x="12889" y="14853"/>
                  </a:lnTo>
                  <a:lnTo>
                    <a:pt x="12832" y="14893"/>
                  </a:lnTo>
                  <a:lnTo>
                    <a:pt x="12774" y="14927"/>
                  </a:lnTo>
                  <a:lnTo>
                    <a:pt x="12713" y="14957"/>
                  </a:lnTo>
                  <a:lnTo>
                    <a:pt x="12651" y="14981"/>
                  </a:lnTo>
                  <a:lnTo>
                    <a:pt x="12585" y="14999"/>
                  </a:lnTo>
                  <a:lnTo>
                    <a:pt x="12517" y="15010"/>
                  </a:lnTo>
                  <a:lnTo>
                    <a:pt x="12445" y="15019"/>
                  </a:lnTo>
                  <a:lnTo>
                    <a:pt x="12368" y="15027"/>
                  </a:lnTo>
                  <a:lnTo>
                    <a:pt x="12285" y="15035"/>
                  </a:lnTo>
                  <a:lnTo>
                    <a:pt x="12197" y="15041"/>
                  </a:lnTo>
                  <a:lnTo>
                    <a:pt x="12106" y="15048"/>
                  </a:lnTo>
                  <a:lnTo>
                    <a:pt x="12011" y="15054"/>
                  </a:lnTo>
                  <a:lnTo>
                    <a:pt x="11913" y="15059"/>
                  </a:lnTo>
                  <a:lnTo>
                    <a:pt x="11811" y="15064"/>
                  </a:lnTo>
                  <a:lnTo>
                    <a:pt x="11605" y="15073"/>
                  </a:lnTo>
                  <a:lnTo>
                    <a:pt x="11394" y="15080"/>
                  </a:lnTo>
                  <a:lnTo>
                    <a:pt x="11183" y="15086"/>
                  </a:lnTo>
                  <a:lnTo>
                    <a:pt x="10977" y="15091"/>
                  </a:lnTo>
                  <a:lnTo>
                    <a:pt x="10780" y="15095"/>
                  </a:lnTo>
                  <a:lnTo>
                    <a:pt x="10595" y="15098"/>
                  </a:lnTo>
                  <a:lnTo>
                    <a:pt x="10427" y="15100"/>
                  </a:lnTo>
                  <a:lnTo>
                    <a:pt x="10280" y="15102"/>
                  </a:lnTo>
                  <a:lnTo>
                    <a:pt x="10158" y="15103"/>
                  </a:lnTo>
                  <a:lnTo>
                    <a:pt x="10067" y="15103"/>
                  </a:lnTo>
                  <a:lnTo>
                    <a:pt x="10009" y="15103"/>
                  </a:lnTo>
                  <a:lnTo>
                    <a:pt x="9988" y="15103"/>
                  </a:lnTo>
                  <a:lnTo>
                    <a:pt x="9988" y="16211"/>
                  </a:lnTo>
                  <a:lnTo>
                    <a:pt x="2724" y="1524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52" name="组合 51"/>
            <p:cNvGrpSpPr/>
            <p:nvPr/>
          </p:nvGrpSpPr>
          <p:grpSpPr>
            <a:xfrm>
              <a:off x="7630179" y="3807708"/>
              <a:ext cx="972000" cy="972000"/>
              <a:chOff x="-931799" y="2962588"/>
              <a:chExt cx="972000" cy="972000"/>
            </a:xfrm>
          </p:grpSpPr>
          <p:sp>
            <p:nvSpPr>
              <p:cNvPr id="53" name="椭圆 52"/>
              <p:cNvSpPr/>
              <p:nvPr/>
            </p:nvSpPr>
            <p:spPr>
              <a:xfrm>
                <a:off x="-931799" y="2962588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54" name="椭圆 53"/>
              <p:cNvSpPr/>
              <p:nvPr/>
            </p:nvSpPr>
            <p:spPr>
              <a:xfrm>
                <a:off x="-832834" y="3052588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65" name="文本框 64"/>
          <p:cNvSpPr txBox="1"/>
          <p:nvPr/>
        </p:nvSpPr>
        <p:spPr>
          <a:xfrm>
            <a:off x="480838" y="4962255"/>
            <a:ext cx="2183949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nformation release/billboard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3134915" y="4921220"/>
            <a:ext cx="1484709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Air monitoring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7" name="文本框 66"/>
          <p:cNvSpPr txBox="1"/>
          <p:nvPr/>
        </p:nvSpPr>
        <p:spPr>
          <a:xfrm>
            <a:off x="5309393" y="4915665"/>
            <a:ext cx="1506500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Public Wi-Fi coverage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7821808" y="4892684"/>
            <a:ext cx="1297741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Video surveillance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9" name="文本框 68"/>
          <p:cNvSpPr txBox="1"/>
          <p:nvPr/>
        </p:nvSpPr>
        <p:spPr>
          <a:xfrm>
            <a:off x="9911431" y="4840136"/>
            <a:ext cx="1526751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Emergency call button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52307" y="1564728"/>
            <a:ext cx="5044802" cy="1532727"/>
          </a:xfrm>
          <a:prstGeom prst="rect">
            <a:avLst/>
          </a:prstGeom>
          <a:noFill/>
          <a:ln w="19050">
            <a:solidFill>
              <a:srgbClr val="34C6FA">
                <a:alpha val="64000"/>
              </a:srgbClr>
            </a:solidFill>
            <a:prstDash val="sysDot"/>
          </a:ln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More than </a:t>
            </a:r>
            <a:r>
              <a:rPr lang="en-US" sz="1400" b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40, 000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streetlights in Weifang have been reconstructed based on NB-IoT. As a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result, the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O&amp;M efficiency is improved by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45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%, the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lighting rate is increased by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25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%, and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the annual electricity consumption is reduced by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6.8 million 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kWh.</a:t>
            </a:r>
            <a:endParaRPr lang="en-US" altLang="zh-CN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471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1" r="19423"/>
          <a:stretch/>
        </p:blipFill>
        <p:spPr>
          <a:xfrm>
            <a:off x="2" y="1688"/>
            <a:ext cx="12194920" cy="6884263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0" y="1687"/>
            <a:ext cx="12188826" cy="2595193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571674" y="486008"/>
            <a:ext cx="9699703" cy="639336"/>
          </a:xfrm>
        </p:spPr>
        <p:txBody>
          <a:bodyPr wrap="square">
            <a:noAutofit/>
          </a:bodyPr>
          <a:lstStyle/>
          <a:p>
            <a:pPr fontAlgn="ctr"/>
            <a:r>
              <a:rPr lang="en-US" sz="2799" b="1" dirty="0" smtClean="0">
                <a:latin typeface="Arial" panose="020B0604020202020204" pitchFamily="34" charset="0"/>
              </a:rPr>
              <a:t>Smart </a:t>
            </a:r>
            <a:r>
              <a:rPr lang="en-US" sz="2799" b="1" dirty="0" smtClean="0">
                <a:latin typeface="Arial" panose="020B0604020202020204" pitchFamily="34" charset="0"/>
              </a:rPr>
              <a:t>Parking, Delivering </a:t>
            </a:r>
            <a:r>
              <a:rPr lang="en-US" sz="2799" b="1" dirty="0" smtClean="0">
                <a:latin typeface="Arial" panose="020B0604020202020204" pitchFamily="34" charset="0"/>
              </a:rPr>
              <a:t>Brand-New Parking Services Downtown</a:t>
            </a:r>
            <a:endParaRPr lang="en-US" sz="2799" b="1" dirty="0">
              <a:latin typeface="Arial" panose="020B0604020202020204" pitchFamily="34" charset="0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8280476" y="4618322"/>
            <a:ext cx="0" cy="11365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8280477" y="4597770"/>
            <a:ext cx="6652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9001442" y="4345702"/>
            <a:ext cx="2952434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Accurately and quickly detect parking space occupation status.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3092613" y="1977837"/>
            <a:ext cx="431888" cy="431888"/>
            <a:chOff x="871541" y="3827881"/>
            <a:chExt cx="972000" cy="972000"/>
          </a:xfrm>
        </p:grpSpPr>
        <p:sp>
          <p:nvSpPr>
            <p:cNvPr id="15" name="椭圆 14"/>
            <p:cNvSpPr/>
            <p:nvPr/>
          </p:nvSpPr>
          <p:spPr>
            <a:xfrm>
              <a:off x="871541" y="3827881"/>
              <a:ext cx="972000" cy="97200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70505" y="3917879"/>
              <a:ext cx="792000" cy="792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cxnSp>
        <p:nvCxnSpPr>
          <p:cNvPr id="17" name="直接连接符 16"/>
          <p:cNvCxnSpPr/>
          <p:nvPr/>
        </p:nvCxnSpPr>
        <p:spPr>
          <a:xfrm>
            <a:off x="3382847" y="2407617"/>
            <a:ext cx="367453" cy="7334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3763120" y="3141043"/>
            <a:ext cx="8149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4656214" y="2905916"/>
            <a:ext cx="3684947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Regulate drivers' behavior to</a:t>
            </a:r>
            <a:r>
              <a:rPr lang="en-US" sz="1400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ensure reasonable usage of parking space.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 flipV="1">
            <a:off x="0" y="5922917"/>
            <a:ext cx="12188826" cy="934980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8111699" y="5744415"/>
            <a:ext cx="431888" cy="431888"/>
            <a:chOff x="871541" y="3827881"/>
            <a:chExt cx="972000" cy="972000"/>
          </a:xfrm>
        </p:grpSpPr>
        <p:sp>
          <p:nvSpPr>
            <p:cNvPr id="9" name="椭圆 8"/>
            <p:cNvSpPr/>
            <p:nvPr/>
          </p:nvSpPr>
          <p:spPr>
            <a:xfrm>
              <a:off x="871541" y="3827881"/>
              <a:ext cx="972000" cy="97200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970505" y="3917879"/>
              <a:ext cx="792000" cy="792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28" name="Picture 2" descr="D:\4.5G MO\项目拓展\上海联通4.5G预商用项目\上海迪士尼项目\照片\Screenshot_2016-05-16-11-24-29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2487" y="4561943"/>
            <a:ext cx="870674" cy="15475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9" name="矩形 28"/>
          <p:cNvSpPr/>
          <p:nvPr/>
        </p:nvSpPr>
        <p:spPr>
          <a:xfrm>
            <a:off x="402241" y="4054746"/>
            <a:ext cx="1589619" cy="276931"/>
          </a:xfrm>
          <a:prstGeom prst="rect">
            <a:avLst/>
          </a:prstGeom>
        </p:spPr>
        <p:txBody>
          <a:bodyPr wrap="square" lIns="91424" tIns="45710" rIns="91424" bIns="45710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arking space query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0" name="右箭头 4"/>
          <p:cNvSpPr/>
          <p:nvPr/>
        </p:nvSpPr>
        <p:spPr bwMode="auto">
          <a:xfrm>
            <a:off x="1745190" y="5245569"/>
            <a:ext cx="359906" cy="216018"/>
          </a:xfrm>
          <a:prstGeom prst="rightArrow">
            <a:avLst/>
          </a:prstGeom>
          <a:solidFill>
            <a:srgbClr val="00B0F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53" tIns="34275" rIns="68553" bIns="3427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480" fontAlgn="ctr">
              <a:buClr>
                <a:srgbClr val="CC9900"/>
              </a:buClr>
            </a:pP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31" name="Picture 4" descr="D:\4.5G MO\项目拓展\上海联通4.5G预商用项目\上海迪士尼项目\照片\Screenshot_2016-05-16-11-55-47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70283" y="4561943"/>
            <a:ext cx="870674" cy="15475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2" name="矩形 31"/>
          <p:cNvSpPr/>
          <p:nvPr/>
        </p:nvSpPr>
        <p:spPr>
          <a:xfrm>
            <a:off x="1728554" y="4054746"/>
            <a:ext cx="1679707" cy="276979"/>
          </a:xfrm>
          <a:prstGeom prst="rect">
            <a:avLst/>
          </a:prstGeom>
        </p:spPr>
        <p:txBody>
          <a:bodyPr wrap="square" lIns="91424" tIns="45710" rIns="91424" bIns="45710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Reservation on mobile phone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33" name="Picture 5" descr="D:\4.5G MO\项目拓展\上海联通4.5G预商用项目\上海迪士尼项目\照片\Screenshot_2016-05-16-11-28-51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38079" y="4561943"/>
            <a:ext cx="870674" cy="15475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4" name="矩形 33"/>
          <p:cNvSpPr/>
          <p:nvPr/>
        </p:nvSpPr>
        <p:spPr>
          <a:xfrm>
            <a:off x="3221138" y="4054746"/>
            <a:ext cx="1419900" cy="553978"/>
          </a:xfrm>
          <a:prstGeom prst="rect">
            <a:avLst/>
          </a:prstGeom>
        </p:spPr>
        <p:txBody>
          <a:bodyPr wrap="square" lIns="91424" tIns="45710" rIns="91424" bIns="45710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riving navigation</a:t>
            </a:r>
          </a:p>
          <a:p>
            <a:pPr algn="ctr" defTabSz="1219078" fontAlgn="ctr"/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35" name="Picture 7" descr="D:\4.5G MO\项目拓展\上海联通4.5G预商用项目\上海迪士尼项目\照片\Screenshot_2016-05-11-10-56-23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65380" y="4561943"/>
            <a:ext cx="870674" cy="15475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6" name="矩形 35"/>
          <p:cNvSpPr/>
          <p:nvPr/>
        </p:nvSpPr>
        <p:spPr>
          <a:xfrm>
            <a:off x="4672201" y="4054746"/>
            <a:ext cx="1195199" cy="276979"/>
          </a:xfrm>
          <a:prstGeom prst="rect">
            <a:avLst/>
          </a:prstGeom>
        </p:spPr>
        <p:txBody>
          <a:bodyPr wrap="square" lIns="91424" tIns="45710" rIns="91424" bIns="45710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Quick payment</a:t>
            </a: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7" name="右箭头 4"/>
          <p:cNvSpPr/>
          <p:nvPr/>
        </p:nvSpPr>
        <p:spPr bwMode="auto">
          <a:xfrm>
            <a:off x="3112986" y="5245569"/>
            <a:ext cx="359906" cy="216018"/>
          </a:xfrm>
          <a:prstGeom prst="rightArrow">
            <a:avLst/>
          </a:prstGeom>
          <a:solidFill>
            <a:srgbClr val="00B0F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53" tIns="34275" rIns="68553" bIns="3427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480" fontAlgn="ctr">
              <a:buClr>
                <a:srgbClr val="CC9900"/>
              </a:buClr>
            </a:pP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8" name="右箭头 4"/>
          <p:cNvSpPr/>
          <p:nvPr/>
        </p:nvSpPr>
        <p:spPr bwMode="auto">
          <a:xfrm>
            <a:off x="4480782" y="5245619"/>
            <a:ext cx="359906" cy="216018"/>
          </a:xfrm>
          <a:prstGeom prst="rightArrow">
            <a:avLst/>
          </a:prstGeom>
          <a:solidFill>
            <a:srgbClr val="00B0F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53" tIns="34275" rIns="68553" bIns="3427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480" fontAlgn="ctr">
              <a:buClr>
                <a:srgbClr val="CC9900"/>
              </a:buClr>
            </a:pP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9" name="Text Box 36"/>
          <p:cNvSpPr txBox="1">
            <a:spLocks noChangeArrowheads="1"/>
          </p:cNvSpPr>
          <p:nvPr/>
        </p:nvSpPr>
        <p:spPr bwMode="gray">
          <a:xfrm>
            <a:off x="658705" y="6122280"/>
            <a:ext cx="6437420" cy="9232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370" tIns="45686" rIns="91370" bIns="45686">
            <a:noAutofit/>
          </a:bodyPr>
          <a:lstStyle/>
          <a:p>
            <a:pPr defTabSz="913942" fontAlgn="ctr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Yanbu, Saudi Arabia: By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using the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eLTE, the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city has improved parking space utilization by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25</a:t>
            </a:r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%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, and 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reduced labor costs by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30%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.</a:t>
            </a:r>
            <a:endParaRPr lang="en-US" altLang="zh-CN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15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106E8FD1-F5C5-43CE-B5D4-3B6F7CA5F8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"/>
            <a:ext cx="12192000" cy="6857802"/>
          </a:xfrm>
          <a:prstGeom prst="rect">
            <a:avLst/>
          </a:prstGeom>
        </p:spPr>
      </p:pic>
      <p:sp>
        <p:nvSpPr>
          <p:cNvPr id="31" name="矩形 30">
            <a:extLst>
              <a:ext uri="{FF2B5EF4-FFF2-40B4-BE49-F238E27FC236}">
                <a16:creationId xmlns="" xmlns:a16="http://schemas.microsoft.com/office/drawing/2014/main" id="{9F4987D4-D5E9-4668-90C5-2210C16CBF55}"/>
              </a:ext>
            </a:extLst>
          </p:cNvPr>
          <p:cNvSpPr/>
          <p:nvPr/>
        </p:nvSpPr>
        <p:spPr>
          <a:xfrm>
            <a:off x="1" y="99"/>
            <a:ext cx="12192000" cy="3040184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5BBA2E2-D1E9-4A4A-BABC-9CBDBE3F50F5}"/>
              </a:ext>
            </a:extLst>
          </p:cNvPr>
          <p:cNvSpPr txBox="1"/>
          <p:nvPr/>
        </p:nvSpPr>
        <p:spPr>
          <a:xfrm>
            <a:off x="541281" y="581063"/>
            <a:ext cx="10827144" cy="4307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ater, Giv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 Real-Time Full Picture of the City Lifeline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B0669175-C453-4642-B401-385FB4B59EA6}"/>
              </a:ext>
            </a:extLst>
          </p:cNvPr>
          <p:cNvSpPr txBox="1"/>
          <p:nvPr/>
        </p:nvSpPr>
        <p:spPr>
          <a:xfrm>
            <a:off x="8062123" y="5440207"/>
            <a:ext cx="2663934" cy="369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799" dirty="0" smtClean="0">
                <a:solidFill>
                  <a:prstClr val="white"/>
                </a:solidFill>
                <a:latin typeface="Arial" panose="020B0604020202020204" pitchFamily="34" charset="0"/>
              </a:rPr>
              <a:t>Water quality monitoring</a:t>
            </a:r>
            <a:endParaRPr lang="en-US" sz="17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="" xmlns:a16="http://schemas.microsoft.com/office/drawing/2014/main" id="{6F4B2026-F13A-4869-93A2-EC15043FED33}"/>
              </a:ext>
            </a:extLst>
          </p:cNvPr>
          <p:cNvGrpSpPr/>
          <p:nvPr/>
        </p:nvGrpSpPr>
        <p:grpSpPr>
          <a:xfrm>
            <a:off x="2486870" y="5143294"/>
            <a:ext cx="431888" cy="431888"/>
            <a:chOff x="871541" y="3827881"/>
            <a:chExt cx="972000" cy="972000"/>
          </a:xfrm>
        </p:grpSpPr>
        <p:sp>
          <p:nvSpPr>
            <p:cNvPr id="12" name="椭圆 11">
              <a:extLst>
                <a:ext uri="{FF2B5EF4-FFF2-40B4-BE49-F238E27FC236}">
                  <a16:creationId xmlns="" xmlns:a16="http://schemas.microsoft.com/office/drawing/2014/main" id="{848F9218-4B8A-4F26-B9A7-CF0E2F03C847}"/>
                </a:ext>
              </a:extLst>
            </p:cNvPr>
            <p:cNvSpPr/>
            <p:nvPr/>
          </p:nvSpPr>
          <p:spPr>
            <a:xfrm>
              <a:off x="871541" y="3827881"/>
              <a:ext cx="972000" cy="97200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="" xmlns:a16="http://schemas.microsoft.com/office/drawing/2014/main" id="{94436F5B-3BA5-4F8E-8209-D28C48F0910E}"/>
                </a:ext>
              </a:extLst>
            </p:cNvPr>
            <p:cNvSpPr/>
            <p:nvPr/>
          </p:nvSpPr>
          <p:spPr>
            <a:xfrm>
              <a:off x="970505" y="3917879"/>
              <a:ext cx="792000" cy="792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cxnSp>
        <p:nvCxnSpPr>
          <p:cNvPr id="14" name="直接连接符 13">
            <a:extLst>
              <a:ext uri="{FF2B5EF4-FFF2-40B4-BE49-F238E27FC236}">
                <a16:creationId xmlns="" xmlns:a16="http://schemas.microsoft.com/office/drawing/2014/main" id="{539369A6-287B-448E-9DA7-7CB249264640}"/>
              </a:ext>
            </a:extLst>
          </p:cNvPr>
          <p:cNvCxnSpPr>
            <a:cxnSpLocks/>
          </p:cNvCxnSpPr>
          <p:nvPr/>
        </p:nvCxnSpPr>
        <p:spPr>
          <a:xfrm>
            <a:off x="2702838" y="5575183"/>
            <a:ext cx="357066" cy="27237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="" xmlns:a16="http://schemas.microsoft.com/office/drawing/2014/main" id="{DD0BF5A9-AD61-46B1-848B-E6108EDFEAAF}"/>
              </a:ext>
            </a:extLst>
          </p:cNvPr>
          <p:cNvCxnSpPr>
            <a:cxnSpLocks/>
          </p:cNvCxnSpPr>
          <p:nvPr/>
        </p:nvCxnSpPr>
        <p:spPr>
          <a:xfrm>
            <a:off x="3059904" y="5847554"/>
            <a:ext cx="6652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B1E1DFC9-EDA6-4DCA-86EF-B7E5DA78E83A}"/>
              </a:ext>
            </a:extLst>
          </p:cNvPr>
          <p:cNvSpPr txBox="1"/>
          <p:nvPr/>
        </p:nvSpPr>
        <p:spPr>
          <a:xfrm>
            <a:off x="3914046" y="5591187"/>
            <a:ext cx="3183440" cy="646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799" dirty="0" smtClean="0">
                <a:solidFill>
                  <a:prstClr val="white"/>
                </a:solidFill>
                <a:latin typeface="Arial" panose="020B0604020202020204" pitchFamily="34" charset="0"/>
              </a:rPr>
              <a:t>Water state monitoring</a:t>
            </a:r>
          </a:p>
          <a:p>
            <a:pPr defTabSz="1219078" fontAlgn="ctr"/>
            <a:r>
              <a:rPr lang="en-US" sz="1799" dirty="0" smtClean="0">
                <a:solidFill>
                  <a:prstClr val="white"/>
                </a:solidFill>
                <a:latin typeface="Arial" panose="020B0604020202020204" pitchFamily="34" charset="0"/>
              </a:rPr>
              <a:t>(flow velocity and liquid level)</a:t>
            </a:r>
            <a:endParaRPr lang="en-US" sz="17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="" xmlns:a16="http://schemas.microsoft.com/office/drawing/2014/main" id="{17F42A04-65BE-46D5-BAD9-065996F4043F}"/>
              </a:ext>
            </a:extLst>
          </p:cNvPr>
          <p:cNvGrpSpPr/>
          <p:nvPr/>
        </p:nvGrpSpPr>
        <p:grpSpPr>
          <a:xfrm>
            <a:off x="8615977" y="4971981"/>
            <a:ext cx="2018577" cy="431888"/>
            <a:chOff x="9037320" y="5308457"/>
            <a:chExt cx="2019103" cy="432000"/>
          </a:xfrm>
        </p:grpSpPr>
        <p:grpSp>
          <p:nvGrpSpPr>
            <p:cNvPr id="6" name="组合 5">
              <a:extLst>
                <a:ext uri="{FF2B5EF4-FFF2-40B4-BE49-F238E27FC236}">
                  <a16:creationId xmlns="" xmlns:a16="http://schemas.microsoft.com/office/drawing/2014/main" id="{A41BA518-CFEE-4425-B729-3BD6591792A1}"/>
                </a:ext>
              </a:extLst>
            </p:cNvPr>
            <p:cNvGrpSpPr/>
            <p:nvPr/>
          </p:nvGrpSpPr>
          <p:grpSpPr>
            <a:xfrm>
              <a:off x="10624423" y="5308457"/>
              <a:ext cx="432000" cy="432000"/>
              <a:chOff x="871541" y="3827881"/>
              <a:chExt cx="972000" cy="972000"/>
            </a:xfrm>
          </p:grpSpPr>
          <p:sp>
            <p:nvSpPr>
              <p:cNvPr id="7" name="椭圆 6">
                <a:extLst>
                  <a:ext uri="{FF2B5EF4-FFF2-40B4-BE49-F238E27FC236}">
                    <a16:creationId xmlns="" xmlns:a16="http://schemas.microsoft.com/office/drawing/2014/main" id="{116E0BED-FA3E-4246-8475-7AA56FBC4661}"/>
                  </a:ext>
                </a:extLst>
              </p:cNvPr>
              <p:cNvSpPr/>
              <p:nvPr/>
            </p:nvSpPr>
            <p:spPr>
              <a:xfrm>
                <a:off x="871541" y="3827881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" name="椭圆 7">
                <a:extLst>
                  <a:ext uri="{FF2B5EF4-FFF2-40B4-BE49-F238E27FC236}">
                    <a16:creationId xmlns="" xmlns:a16="http://schemas.microsoft.com/office/drawing/2014/main" id="{F3D7216E-F7AC-4219-A6EE-E195E635F289}"/>
                  </a:ext>
                </a:extLst>
              </p:cNvPr>
              <p:cNvSpPr/>
              <p:nvPr/>
            </p:nvSpPr>
            <p:spPr>
              <a:xfrm>
                <a:off x="970505" y="3917879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cxnSp>
          <p:nvCxnSpPr>
            <p:cNvPr id="10" name="直接连接符 9">
              <a:extLst>
                <a:ext uri="{FF2B5EF4-FFF2-40B4-BE49-F238E27FC236}">
                  <a16:creationId xmlns="" xmlns:a16="http://schemas.microsoft.com/office/drawing/2014/main" id="{DB305038-D1C0-4749-B045-D8A93305B2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91318" y="5524457"/>
              <a:ext cx="103310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="" xmlns:a16="http://schemas.microsoft.com/office/drawing/2014/main" id="{27E8F179-B33D-4233-91C7-543B563988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37320" y="5524457"/>
              <a:ext cx="553998" cy="216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组合 20">
            <a:extLst>
              <a:ext uri="{FF2B5EF4-FFF2-40B4-BE49-F238E27FC236}">
                <a16:creationId xmlns="" xmlns:a16="http://schemas.microsoft.com/office/drawing/2014/main" id="{1CCFFA7A-495C-48F7-BDAB-412F12A46C5A}"/>
              </a:ext>
            </a:extLst>
          </p:cNvPr>
          <p:cNvGrpSpPr/>
          <p:nvPr/>
        </p:nvGrpSpPr>
        <p:grpSpPr>
          <a:xfrm>
            <a:off x="7304038" y="2352393"/>
            <a:ext cx="758086" cy="758086"/>
            <a:chOff x="871541" y="3827881"/>
            <a:chExt cx="972000" cy="972000"/>
          </a:xfrm>
        </p:grpSpPr>
        <p:sp>
          <p:nvSpPr>
            <p:cNvPr id="22" name="椭圆 21">
              <a:extLst>
                <a:ext uri="{FF2B5EF4-FFF2-40B4-BE49-F238E27FC236}">
                  <a16:creationId xmlns="" xmlns:a16="http://schemas.microsoft.com/office/drawing/2014/main" id="{A67CA141-3588-459A-8B3D-5EF2EA14DC93}"/>
                </a:ext>
              </a:extLst>
            </p:cNvPr>
            <p:cNvSpPr/>
            <p:nvPr/>
          </p:nvSpPr>
          <p:spPr>
            <a:xfrm>
              <a:off x="871541" y="3827881"/>
              <a:ext cx="972000" cy="97200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椭圆 22">
              <a:extLst>
                <a:ext uri="{FF2B5EF4-FFF2-40B4-BE49-F238E27FC236}">
                  <a16:creationId xmlns="" xmlns:a16="http://schemas.microsoft.com/office/drawing/2014/main" id="{9E98D254-772E-4756-8DB8-CFFE7BB38884}"/>
                </a:ext>
              </a:extLst>
            </p:cNvPr>
            <p:cNvSpPr/>
            <p:nvPr/>
          </p:nvSpPr>
          <p:spPr>
            <a:xfrm>
              <a:off x="970505" y="3917879"/>
              <a:ext cx="792000" cy="792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23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cxnSp>
        <p:nvCxnSpPr>
          <p:cNvPr id="5" name="直接连接符 4">
            <a:extLst>
              <a:ext uri="{FF2B5EF4-FFF2-40B4-BE49-F238E27FC236}">
                <a16:creationId xmlns="" xmlns:a16="http://schemas.microsoft.com/office/drawing/2014/main" id="{D5C82D37-985D-4485-85D8-096461DA95DD}"/>
              </a:ext>
            </a:extLst>
          </p:cNvPr>
          <p:cNvCxnSpPr>
            <a:cxnSpLocks/>
          </p:cNvCxnSpPr>
          <p:nvPr/>
        </p:nvCxnSpPr>
        <p:spPr>
          <a:xfrm flipH="1">
            <a:off x="2918758" y="2898662"/>
            <a:ext cx="4385281" cy="2465217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="" xmlns:a16="http://schemas.microsoft.com/office/drawing/2014/main" id="{14F11C2F-D16A-4EBB-AEE4-ED143CCD35F0}"/>
              </a:ext>
            </a:extLst>
          </p:cNvPr>
          <p:cNvCxnSpPr>
            <a:stCxn id="22" idx="5"/>
            <a:endCxn id="8" idx="1"/>
          </p:cNvCxnSpPr>
          <p:nvPr/>
        </p:nvCxnSpPr>
        <p:spPr>
          <a:xfrm>
            <a:off x="7951104" y="2999459"/>
            <a:ext cx="2347071" cy="2064046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="" xmlns:a16="http://schemas.microsoft.com/office/drawing/2014/main" id="{31B1CE8A-5CE5-4677-A780-38BFCECBCAA5}"/>
              </a:ext>
            </a:extLst>
          </p:cNvPr>
          <p:cNvCxnSpPr>
            <a:stCxn id="7" idx="7"/>
          </p:cNvCxnSpPr>
          <p:nvPr/>
        </p:nvCxnSpPr>
        <p:spPr>
          <a:xfrm flipV="1">
            <a:off x="10571305" y="2620697"/>
            <a:ext cx="1714454" cy="241453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="" xmlns:a16="http://schemas.microsoft.com/office/drawing/2014/main" id="{3EF4CE77-33B3-4EDC-8350-9ED1C15312CC}"/>
              </a:ext>
            </a:extLst>
          </p:cNvPr>
          <p:cNvCxnSpPr>
            <a:cxnSpLocks/>
            <a:stCxn id="12" idx="1"/>
          </p:cNvCxnSpPr>
          <p:nvPr/>
        </p:nvCxnSpPr>
        <p:spPr>
          <a:xfrm flipH="1" flipV="1">
            <a:off x="-266146" y="2898662"/>
            <a:ext cx="2816265" cy="230788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552306" y="1259400"/>
            <a:ext cx="4882803" cy="535531"/>
          </a:xfrm>
          <a:prstGeom prst="rect">
            <a:avLst/>
          </a:prstGeom>
          <a:noFill/>
          <a:ln w="19050">
            <a:solidFill>
              <a:srgbClr val="34C6FA">
                <a:alpha val="64000"/>
              </a:srgbClr>
            </a:solidFill>
            <a:prstDash val="sysDot"/>
          </a:ln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</a:rPr>
              <a:t>Weifang promotes 'smart river chief' solution based on eLTE to know water state and quality in real time.</a:t>
            </a:r>
            <a:endParaRPr lang="en-US" altLang="zh-CN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42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>
            <a:extLst>
              <a:ext uri="{FF2B5EF4-FFF2-40B4-BE49-F238E27FC236}">
                <a16:creationId xmlns="" xmlns:a16="http://schemas.microsoft.com/office/drawing/2014/main" id="{B08A3B80-CB24-40C4-8F4C-17227D7A96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5" r="4665"/>
          <a:stretch/>
        </p:blipFill>
        <p:spPr>
          <a:xfrm>
            <a:off x="6179" y="99"/>
            <a:ext cx="12185822" cy="6857802"/>
          </a:xfrm>
          <a:prstGeom prst="rect">
            <a:avLst/>
          </a:prstGeom>
        </p:spPr>
      </p:pic>
      <p:sp>
        <p:nvSpPr>
          <p:cNvPr id="22" name="矩形 21">
            <a:extLst>
              <a:ext uri="{FF2B5EF4-FFF2-40B4-BE49-F238E27FC236}">
                <a16:creationId xmlns="" xmlns:a16="http://schemas.microsoft.com/office/drawing/2014/main" id="{9D02A23E-2B12-4E13-9AEE-4F45274CA55E}"/>
              </a:ext>
            </a:extLst>
          </p:cNvPr>
          <p:cNvSpPr/>
          <p:nvPr/>
        </p:nvSpPr>
        <p:spPr>
          <a:xfrm>
            <a:off x="-46880" y="99"/>
            <a:ext cx="12285759" cy="6949254"/>
          </a:xfrm>
          <a:prstGeom prst="rect">
            <a:avLst/>
          </a:prstGeom>
          <a:gradFill>
            <a:gsLst>
              <a:gs pos="1000">
                <a:schemeClr val="tx2">
                  <a:lumMod val="50000"/>
                  <a:alpha val="5300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="" xmlns:a16="http://schemas.microsoft.com/office/drawing/2014/main" id="{9665387E-4242-45B6-8124-70916638DAD0}"/>
              </a:ext>
            </a:extLst>
          </p:cNvPr>
          <p:cNvSpPr/>
          <p:nvPr/>
        </p:nvSpPr>
        <p:spPr>
          <a:xfrm>
            <a:off x="2567914" y="-118680"/>
            <a:ext cx="7068033" cy="7068033"/>
          </a:xfrm>
          <a:prstGeom prst="ellipse">
            <a:avLst/>
          </a:prstGeom>
          <a:solidFill>
            <a:schemeClr val="accent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="" xmlns:a16="http://schemas.microsoft.com/office/drawing/2014/main" id="{34804F38-737D-4C8B-9929-7FDBC0892B01}"/>
              </a:ext>
            </a:extLst>
          </p:cNvPr>
          <p:cNvSpPr/>
          <p:nvPr/>
        </p:nvSpPr>
        <p:spPr>
          <a:xfrm>
            <a:off x="2490139" y="-176861"/>
            <a:ext cx="7211722" cy="7211722"/>
          </a:xfrm>
          <a:prstGeom prst="ellipse">
            <a:avLst/>
          </a:prstGeom>
          <a:noFill/>
          <a:ln w="63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="" xmlns:a16="http://schemas.microsoft.com/office/drawing/2014/main" id="{988C1690-65B4-4B32-BE89-F51A0279D61B}"/>
              </a:ext>
            </a:extLst>
          </p:cNvPr>
          <p:cNvSpPr/>
          <p:nvPr/>
        </p:nvSpPr>
        <p:spPr>
          <a:xfrm>
            <a:off x="9286863" y="1911254"/>
            <a:ext cx="262505" cy="262505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="" xmlns:a16="http://schemas.microsoft.com/office/drawing/2014/main" id="{308EE081-E9BD-40A5-B809-9705B93F0583}"/>
              </a:ext>
            </a:extLst>
          </p:cNvPr>
          <p:cNvSpPr/>
          <p:nvPr/>
        </p:nvSpPr>
        <p:spPr>
          <a:xfrm>
            <a:off x="9531084" y="2471107"/>
            <a:ext cx="104863" cy="104863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="" xmlns:a16="http://schemas.microsoft.com/office/drawing/2014/main" id="{CA2DD3F5-8A33-48BD-8EA0-E367DB848E6E}"/>
              </a:ext>
            </a:extLst>
          </p:cNvPr>
          <p:cNvSpPr/>
          <p:nvPr/>
        </p:nvSpPr>
        <p:spPr>
          <a:xfrm>
            <a:off x="5158892" y="2451749"/>
            <a:ext cx="2459006" cy="64620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/>
            <a:r>
              <a:rPr lang="en-US" sz="35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ensing</a:t>
            </a:r>
            <a:endParaRPr lang="en-US" sz="35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cxnSp>
        <p:nvCxnSpPr>
          <p:cNvPr id="33" name="直接连接符 32">
            <a:extLst>
              <a:ext uri="{FF2B5EF4-FFF2-40B4-BE49-F238E27FC236}">
                <a16:creationId xmlns="" xmlns:a16="http://schemas.microsoft.com/office/drawing/2014/main" id="{09180313-FD50-4334-A243-494ADD71ADC4}"/>
              </a:ext>
            </a:extLst>
          </p:cNvPr>
          <p:cNvCxnSpPr/>
          <p:nvPr/>
        </p:nvCxnSpPr>
        <p:spPr>
          <a:xfrm>
            <a:off x="3958313" y="4613061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="" xmlns:a16="http://schemas.microsoft.com/office/drawing/2014/main" id="{833A84F0-8398-4D6D-AEBD-51E62D968A09}"/>
              </a:ext>
            </a:extLst>
          </p:cNvPr>
          <p:cNvCxnSpPr/>
          <p:nvPr/>
        </p:nvCxnSpPr>
        <p:spPr>
          <a:xfrm>
            <a:off x="3958313" y="2346448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>
            <a:extLst>
              <a:ext uri="{FF2B5EF4-FFF2-40B4-BE49-F238E27FC236}">
                <a16:creationId xmlns="" xmlns:a16="http://schemas.microsoft.com/office/drawing/2014/main" id="{286684D1-44EB-48A0-B146-EAA580CAE1A2}"/>
              </a:ext>
            </a:extLst>
          </p:cNvPr>
          <p:cNvSpPr/>
          <p:nvPr/>
        </p:nvSpPr>
        <p:spPr>
          <a:xfrm>
            <a:off x="4853596" y="3909543"/>
            <a:ext cx="2518638" cy="64620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/>
            <a:r>
              <a:rPr lang="en-US" sz="35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telligence</a:t>
            </a:r>
            <a:endParaRPr lang="en-US" sz="35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="" xmlns:a16="http://schemas.microsoft.com/office/drawing/2014/main" id="{986B7B33-0979-4D43-B2F2-737FCD64E43B}"/>
              </a:ext>
            </a:extLst>
          </p:cNvPr>
          <p:cNvSpPr/>
          <p:nvPr/>
        </p:nvSpPr>
        <p:spPr>
          <a:xfrm>
            <a:off x="4325406" y="3127287"/>
            <a:ext cx="3575018" cy="83086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/>
            <a:r>
              <a:rPr lang="en-US" sz="4799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nection</a:t>
            </a:r>
            <a:endParaRPr lang="en-US" sz="4799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="" xmlns:a16="http://schemas.microsoft.com/office/drawing/2014/main" id="{C4350040-013F-49E2-8E36-DEFF82D8755A}"/>
              </a:ext>
            </a:extLst>
          </p:cNvPr>
          <p:cNvSpPr/>
          <p:nvPr/>
        </p:nvSpPr>
        <p:spPr>
          <a:xfrm>
            <a:off x="8364440" y="745100"/>
            <a:ext cx="976332" cy="976332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="" xmlns:a16="http://schemas.microsoft.com/office/drawing/2014/main" id="{4A50E8BA-7435-4A5B-B0F7-AED3D6C71160}"/>
              </a:ext>
            </a:extLst>
          </p:cNvPr>
          <p:cNvSpPr>
            <a:spLocks noEditPoints="1"/>
          </p:cNvSpPr>
          <p:nvPr/>
        </p:nvSpPr>
        <p:spPr bwMode="auto">
          <a:xfrm>
            <a:off x="8568197" y="882817"/>
            <a:ext cx="568818" cy="700897"/>
          </a:xfrm>
          <a:custGeom>
            <a:avLst/>
            <a:gdLst>
              <a:gd name="T0" fmla="*/ 197 w 431"/>
              <a:gd name="T1" fmla="*/ 347 h 533"/>
              <a:gd name="T2" fmla="*/ 195 w 431"/>
              <a:gd name="T3" fmla="*/ 349 h 533"/>
              <a:gd name="T4" fmla="*/ 34 w 431"/>
              <a:gd name="T5" fmla="*/ 348 h 533"/>
              <a:gd name="T6" fmla="*/ 0 w 431"/>
              <a:gd name="T7" fmla="*/ 266 h 533"/>
              <a:gd name="T8" fmla="*/ 115 w 431"/>
              <a:gd name="T9" fmla="*/ 151 h 533"/>
              <a:gd name="T10" fmla="*/ 197 w 431"/>
              <a:gd name="T11" fmla="*/ 186 h 533"/>
              <a:gd name="T12" fmla="*/ 265 w 431"/>
              <a:gd name="T13" fmla="*/ 83 h 533"/>
              <a:gd name="T14" fmla="*/ 348 w 431"/>
              <a:gd name="T15" fmla="*/ 0 h 533"/>
              <a:gd name="T16" fmla="*/ 431 w 431"/>
              <a:gd name="T17" fmla="*/ 83 h 533"/>
              <a:gd name="T18" fmla="*/ 348 w 431"/>
              <a:gd name="T19" fmla="*/ 166 h 533"/>
              <a:gd name="T20" fmla="*/ 212 w 431"/>
              <a:gd name="T21" fmla="*/ 205 h 533"/>
              <a:gd name="T22" fmla="*/ 212 w 431"/>
              <a:gd name="T23" fmla="*/ 328 h 533"/>
              <a:gd name="T24" fmla="*/ 348 w 431"/>
              <a:gd name="T25" fmla="*/ 366 h 533"/>
              <a:gd name="T26" fmla="*/ 431 w 431"/>
              <a:gd name="T27" fmla="*/ 450 h 533"/>
              <a:gd name="T28" fmla="*/ 407 w 431"/>
              <a:gd name="T29" fmla="*/ 508 h 533"/>
              <a:gd name="T30" fmla="*/ 289 w 431"/>
              <a:gd name="T31" fmla="*/ 508 h 533"/>
              <a:gd name="T32" fmla="*/ 276 w 431"/>
              <a:gd name="T33" fmla="*/ 408 h 533"/>
              <a:gd name="T34" fmla="*/ 378 w 431"/>
              <a:gd name="T35" fmla="*/ 420 h 533"/>
              <a:gd name="T36" fmla="*/ 318 w 431"/>
              <a:gd name="T37" fmla="*/ 420 h 533"/>
              <a:gd name="T38" fmla="*/ 318 w 431"/>
              <a:gd name="T39" fmla="*/ 479 h 533"/>
              <a:gd name="T40" fmla="*/ 378 w 431"/>
              <a:gd name="T41" fmla="*/ 479 h 533"/>
              <a:gd name="T42" fmla="*/ 390 w 431"/>
              <a:gd name="T43" fmla="*/ 450 h 533"/>
              <a:gd name="T44" fmla="*/ 168 w 431"/>
              <a:gd name="T45" fmla="*/ 214 h 533"/>
              <a:gd name="T46" fmla="*/ 115 w 431"/>
              <a:gd name="T47" fmla="*/ 192 h 533"/>
              <a:gd name="T48" fmla="*/ 63 w 431"/>
              <a:gd name="T49" fmla="*/ 214 h 533"/>
              <a:gd name="T50" fmla="*/ 62 w 431"/>
              <a:gd name="T51" fmla="*/ 318 h 533"/>
              <a:gd name="T52" fmla="*/ 115 w 431"/>
              <a:gd name="T53" fmla="*/ 340 h 533"/>
              <a:gd name="T54" fmla="*/ 168 w 431"/>
              <a:gd name="T55" fmla="*/ 319 h 533"/>
              <a:gd name="T56" fmla="*/ 168 w 431"/>
              <a:gd name="T57" fmla="*/ 214 h 533"/>
              <a:gd name="T58" fmla="*/ 378 w 431"/>
              <a:gd name="T59" fmla="*/ 53 h 533"/>
              <a:gd name="T60" fmla="*/ 348 w 431"/>
              <a:gd name="T61" fmla="*/ 41 h 533"/>
              <a:gd name="T62" fmla="*/ 306 w 431"/>
              <a:gd name="T63" fmla="*/ 83 h 533"/>
              <a:gd name="T64" fmla="*/ 318 w 431"/>
              <a:gd name="T65" fmla="*/ 113 h 533"/>
              <a:gd name="T66" fmla="*/ 378 w 431"/>
              <a:gd name="T67" fmla="*/ 113 h 533"/>
              <a:gd name="T68" fmla="*/ 378 w 431"/>
              <a:gd name="T69" fmla="*/ 53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31" h="533">
                <a:moveTo>
                  <a:pt x="276" y="408"/>
                </a:moveTo>
                <a:cubicBezTo>
                  <a:pt x="197" y="347"/>
                  <a:pt x="197" y="347"/>
                  <a:pt x="197" y="347"/>
                </a:cubicBezTo>
                <a:cubicBezTo>
                  <a:pt x="197" y="348"/>
                  <a:pt x="197" y="348"/>
                  <a:pt x="197" y="348"/>
                </a:cubicBezTo>
                <a:cubicBezTo>
                  <a:pt x="195" y="349"/>
                  <a:pt x="195" y="349"/>
                  <a:pt x="195" y="349"/>
                </a:cubicBezTo>
                <a:cubicBezTo>
                  <a:pt x="175" y="369"/>
                  <a:pt x="146" y="381"/>
                  <a:pt x="115" y="381"/>
                </a:cubicBezTo>
                <a:cubicBezTo>
                  <a:pt x="83" y="381"/>
                  <a:pt x="55" y="368"/>
                  <a:pt x="34" y="348"/>
                </a:cubicBezTo>
                <a:cubicBezTo>
                  <a:pt x="33" y="346"/>
                  <a:pt x="33" y="346"/>
                  <a:pt x="33" y="346"/>
                </a:cubicBezTo>
                <a:cubicBezTo>
                  <a:pt x="12" y="326"/>
                  <a:pt x="0" y="297"/>
                  <a:pt x="0" y="266"/>
                </a:cubicBezTo>
                <a:cubicBezTo>
                  <a:pt x="0" y="235"/>
                  <a:pt x="13" y="206"/>
                  <a:pt x="34" y="185"/>
                </a:cubicBezTo>
                <a:cubicBezTo>
                  <a:pt x="55" y="164"/>
                  <a:pt x="83" y="151"/>
                  <a:pt x="115" y="151"/>
                </a:cubicBezTo>
                <a:cubicBezTo>
                  <a:pt x="147" y="151"/>
                  <a:pt x="176" y="164"/>
                  <a:pt x="197" y="185"/>
                </a:cubicBezTo>
                <a:cubicBezTo>
                  <a:pt x="197" y="186"/>
                  <a:pt x="197" y="186"/>
                  <a:pt x="197" y="186"/>
                </a:cubicBezTo>
                <a:cubicBezTo>
                  <a:pt x="276" y="124"/>
                  <a:pt x="276" y="124"/>
                  <a:pt x="276" y="124"/>
                </a:cubicBezTo>
                <a:cubicBezTo>
                  <a:pt x="269" y="112"/>
                  <a:pt x="265" y="98"/>
                  <a:pt x="265" y="83"/>
                </a:cubicBezTo>
                <a:cubicBezTo>
                  <a:pt x="265" y="60"/>
                  <a:pt x="274" y="39"/>
                  <a:pt x="289" y="24"/>
                </a:cubicBezTo>
                <a:cubicBezTo>
                  <a:pt x="304" y="9"/>
                  <a:pt x="325" y="0"/>
                  <a:pt x="348" y="0"/>
                </a:cubicBezTo>
                <a:cubicBezTo>
                  <a:pt x="371" y="0"/>
                  <a:pt x="392" y="9"/>
                  <a:pt x="407" y="24"/>
                </a:cubicBezTo>
                <a:cubicBezTo>
                  <a:pt x="422" y="39"/>
                  <a:pt x="431" y="60"/>
                  <a:pt x="431" y="83"/>
                </a:cubicBezTo>
                <a:cubicBezTo>
                  <a:pt x="431" y="106"/>
                  <a:pt x="422" y="126"/>
                  <a:pt x="407" y="142"/>
                </a:cubicBezTo>
                <a:cubicBezTo>
                  <a:pt x="392" y="157"/>
                  <a:pt x="371" y="166"/>
                  <a:pt x="348" y="166"/>
                </a:cubicBezTo>
                <a:cubicBezTo>
                  <a:pt x="326" y="166"/>
                  <a:pt x="306" y="157"/>
                  <a:pt x="291" y="143"/>
                </a:cubicBezTo>
                <a:cubicBezTo>
                  <a:pt x="212" y="205"/>
                  <a:pt x="212" y="205"/>
                  <a:pt x="212" y="205"/>
                </a:cubicBezTo>
                <a:cubicBezTo>
                  <a:pt x="224" y="223"/>
                  <a:pt x="230" y="244"/>
                  <a:pt x="230" y="266"/>
                </a:cubicBezTo>
                <a:cubicBezTo>
                  <a:pt x="230" y="289"/>
                  <a:pt x="224" y="310"/>
                  <a:pt x="212" y="328"/>
                </a:cubicBezTo>
                <a:cubicBezTo>
                  <a:pt x="291" y="389"/>
                  <a:pt x="291" y="389"/>
                  <a:pt x="291" y="389"/>
                </a:cubicBezTo>
                <a:cubicBezTo>
                  <a:pt x="306" y="375"/>
                  <a:pt x="326" y="366"/>
                  <a:pt x="348" y="366"/>
                </a:cubicBezTo>
                <a:cubicBezTo>
                  <a:pt x="371" y="366"/>
                  <a:pt x="392" y="376"/>
                  <a:pt x="407" y="391"/>
                </a:cubicBezTo>
                <a:cubicBezTo>
                  <a:pt x="422" y="406"/>
                  <a:pt x="431" y="426"/>
                  <a:pt x="431" y="450"/>
                </a:cubicBezTo>
                <a:cubicBezTo>
                  <a:pt x="431" y="472"/>
                  <a:pt x="422" y="493"/>
                  <a:pt x="407" y="508"/>
                </a:cubicBezTo>
                <a:cubicBezTo>
                  <a:pt x="407" y="508"/>
                  <a:pt x="407" y="508"/>
                  <a:pt x="407" y="508"/>
                </a:cubicBezTo>
                <a:cubicBezTo>
                  <a:pt x="392" y="523"/>
                  <a:pt x="371" y="533"/>
                  <a:pt x="348" y="533"/>
                </a:cubicBezTo>
                <a:cubicBezTo>
                  <a:pt x="325" y="533"/>
                  <a:pt x="304" y="523"/>
                  <a:pt x="289" y="508"/>
                </a:cubicBezTo>
                <a:cubicBezTo>
                  <a:pt x="274" y="493"/>
                  <a:pt x="265" y="472"/>
                  <a:pt x="265" y="450"/>
                </a:cubicBezTo>
                <a:cubicBezTo>
                  <a:pt x="265" y="434"/>
                  <a:pt x="269" y="420"/>
                  <a:pt x="276" y="408"/>
                </a:cubicBezTo>
                <a:close/>
                <a:moveTo>
                  <a:pt x="378" y="420"/>
                </a:moveTo>
                <a:cubicBezTo>
                  <a:pt x="378" y="420"/>
                  <a:pt x="378" y="420"/>
                  <a:pt x="378" y="420"/>
                </a:cubicBezTo>
                <a:cubicBezTo>
                  <a:pt x="370" y="412"/>
                  <a:pt x="360" y="407"/>
                  <a:pt x="348" y="407"/>
                </a:cubicBezTo>
                <a:cubicBezTo>
                  <a:pt x="336" y="407"/>
                  <a:pt x="326" y="412"/>
                  <a:pt x="318" y="420"/>
                </a:cubicBezTo>
                <a:cubicBezTo>
                  <a:pt x="311" y="427"/>
                  <a:pt x="306" y="438"/>
                  <a:pt x="306" y="450"/>
                </a:cubicBezTo>
                <a:cubicBezTo>
                  <a:pt x="306" y="461"/>
                  <a:pt x="311" y="472"/>
                  <a:pt x="318" y="479"/>
                </a:cubicBezTo>
                <a:cubicBezTo>
                  <a:pt x="326" y="487"/>
                  <a:pt x="336" y="492"/>
                  <a:pt x="348" y="492"/>
                </a:cubicBezTo>
                <a:cubicBezTo>
                  <a:pt x="360" y="492"/>
                  <a:pt x="370" y="487"/>
                  <a:pt x="378" y="479"/>
                </a:cubicBezTo>
                <a:cubicBezTo>
                  <a:pt x="378" y="479"/>
                  <a:pt x="378" y="479"/>
                  <a:pt x="378" y="479"/>
                </a:cubicBezTo>
                <a:cubicBezTo>
                  <a:pt x="385" y="472"/>
                  <a:pt x="390" y="461"/>
                  <a:pt x="390" y="450"/>
                </a:cubicBezTo>
                <a:cubicBezTo>
                  <a:pt x="390" y="438"/>
                  <a:pt x="385" y="427"/>
                  <a:pt x="378" y="420"/>
                </a:cubicBezTo>
                <a:close/>
                <a:moveTo>
                  <a:pt x="168" y="214"/>
                </a:moveTo>
                <a:cubicBezTo>
                  <a:pt x="168" y="214"/>
                  <a:pt x="168" y="214"/>
                  <a:pt x="168" y="214"/>
                </a:cubicBezTo>
                <a:cubicBezTo>
                  <a:pt x="154" y="200"/>
                  <a:pt x="136" y="192"/>
                  <a:pt x="115" y="192"/>
                </a:cubicBezTo>
                <a:cubicBezTo>
                  <a:pt x="95" y="192"/>
                  <a:pt x="76" y="200"/>
                  <a:pt x="63" y="214"/>
                </a:cubicBezTo>
                <a:cubicBezTo>
                  <a:pt x="63" y="214"/>
                  <a:pt x="63" y="214"/>
                  <a:pt x="63" y="214"/>
                </a:cubicBezTo>
                <a:cubicBezTo>
                  <a:pt x="50" y="227"/>
                  <a:pt x="41" y="246"/>
                  <a:pt x="41" y="266"/>
                </a:cubicBezTo>
                <a:cubicBezTo>
                  <a:pt x="41" y="286"/>
                  <a:pt x="49" y="304"/>
                  <a:pt x="62" y="318"/>
                </a:cubicBezTo>
                <a:cubicBezTo>
                  <a:pt x="63" y="319"/>
                  <a:pt x="63" y="319"/>
                  <a:pt x="63" y="319"/>
                </a:cubicBezTo>
                <a:cubicBezTo>
                  <a:pt x="76" y="332"/>
                  <a:pt x="95" y="340"/>
                  <a:pt x="115" y="340"/>
                </a:cubicBezTo>
                <a:cubicBezTo>
                  <a:pt x="135" y="340"/>
                  <a:pt x="153" y="332"/>
                  <a:pt x="167" y="319"/>
                </a:cubicBezTo>
                <a:cubicBezTo>
                  <a:pt x="168" y="319"/>
                  <a:pt x="168" y="319"/>
                  <a:pt x="168" y="319"/>
                </a:cubicBezTo>
                <a:cubicBezTo>
                  <a:pt x="181" y="305"/>
                  <a:pt x="189" y="287"/>
                  <a:pt x="189" y="266"/>
                </a:cubicBezTo>
                <a:cubicBezTo>
                  <a:pt x="189" y="246"/>
                  <a:pt x="181" y="228"/>
                  <a:pt x="168" y="214"/>
                </a:cubicBezTo>
                <a:cubicBezTo>
                  <a:pt x="168" y="214"/>
                  <a:pt x="168" y="214"/>
                  <a:pt x="168" y="214"/>
                </a:cubicBezTo>
                <a:close/>
                <a:moveTo>
                  <a:pt x="378" y="53"/>
                </a:moveTo>
                <a:cubicBezTo>
                  <a:pt x="378" y="53"/>
                  <a:pt x="378" y="53"/>
                  <a:pt x="378" y="53"/>
                </a:cubicBezTo>
                <a:cubicBezTo>
                  <a:pt x="370" y="45"/>
                  <a:pt x="360" y="41"/>
                  <a:pt x="348" y="41"/>
                </a:cubicBezTo>
                <a:cubicBezTo>
                  <a:pt x="336" y="41"/>
                  <a:pt x="326" y="45"/>
                  <a:pt x="318" y="53"/>
                </a:cubicBezTo>
                <a:cubicBezTo>
                  <a:pt x="311" y="61"/>
                  <a:pt x="306" y="71"/>
                  <a:pt x="306" y="83"/>
                </a:cubicBezTo>
                <a:cubicBezTo>
                  <a:pt x="306" y="94"/>
                  <a:pt x="311" y="105"/>
                  <a:pt x="318" y="113"/>
                </a:cubicBezTo>
                <a:cubicBezTo>
                  <a:pt x="318" y="113"/>
                  <a:pt x="318" y="113"/>
                  <a:pt x="318" y="113"/>
                </a:cubicBezTo>
                <a:cubicBezTo>
                  <a:pt x="326" y="120"/>
                  <a:pt x="336" y="125"/>
                  <a:pt x="348" y="125"/>
                </a:cubicBezTo>
                <a:cubicBezTo>
                  <a:pt x="360" y="125"/>
                  <a:pt x="370" y="120"/>
                  <a:pt x="378" y="113"/>
                </a:cubicBezTo>
                <a:cubicBezTo>
                  <a:pt x="385" y="105"/>
                  <a:pt x="390" y="94"/>
                  <a:pt x="390" y="83"/>
                </a:cubicBezTo>
                <a:cubicBezTo>
                  <a:pt x="390" y="71"/>
                  <a:pt x="385" y="61"/>
                  <a:pt x="378" y="53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287838" algn="ctr" defTabSz="2559643" font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Pct val="80000"/>
              <a:buFont typeface="Wingdings" pitchFamily="2" charset="2"/>
              <a:buChar char="n"/>
            </a:pPr>
            <a:endParaRPr lang="en-US" altLang="zh-CN" sz="27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80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44">
            <a:extLst>
              <a:ext uri="{FF2B5EF4-FFF2-40B4-BE49-F238E27FC236}">
                <a16:creationId xmlns="" xmlns:a16="http://schemas.microsoft.com/office/drawing/2014/main" id="{306C55C9-8A83-481D-9CAE-36CC4F2B97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11"/>
          <a:stretch/>
        </p:blipFill>
        <p:spPr>
          <a:xfrm>
            <a:off x="0" y="99"/>
            <a:ext cx="12192001" cy="6876057"/>
          </a:xfrm>
          <a:prstGeom prst="rect">
            <a:avLst/>
          </a:prstGeom>
        </p:spPr>
      </p:pic>
      <p:sp>
        <p:nvSpPr>
          <p:cNvPr id="46" name="矩形 45">
            <a:extLst>
              <a:ext uri="{FF2B5EF4-FFF2-40B4-BE49-F238E27FC236}">
                <a16:creationId xmlns="" xmlns:a16="http://schemas.microsoft.com/office/drawing/2014/main" id="{24E42412-B2F2-42B8-819C-D3AF70A5DD4B}"/>
              </a:ext>
            </a:extLst>
          </p:cNvPr>
          <p:cNvSpPr/>
          <p:nvPr/>
        </p:nvSpPr>
        <p:spPr>
          <a:xfrm>
            <a:off x="0" y="97"/>
            <a:ext cx="12285759" cy="6857903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7400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E241F7E-5FE2-4927-90E3-A90DF543B02D}"/>
              </a:ext>
            </a:extLst>
          </p:cNvPr>
          <p:cNvSpPr txBox="1"/>
          <p:nvPr/>
        </p:nvSpPr>
        <p:spPr>
          <a:xfrm>
            <a:off x="541280" y="365692"/>
            <a:ext cx="11422119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LTE, Build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 Secure and Reliable Government Private Network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="" xmlns:a16="http://schemas.microsoft.com/office/drawing/2014/main" id="{8E8E045A-AD68-4A83-8D42-96208C6F4418}"/>
              </a:ext>
            </a:extLst>
          </p:cNvPr>
          <p:cNvSpPr/>
          <p:nvPr/>
        </p:nvSpPr>
        <p:spPr>
          <a:xfrm>
            <a:off x="540942" y="5392884"/>
            <a:ext cx="5455589" cy="84446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="" xmlns:a16="http://schemas.microsoft.com/office/drawing/2014/main" id="{ECAE1DC4-A193-48FB-B124-723624530E1C}"/>
              </a:ext>
            </a:extLst>
          </p:cNvPr>
          <p:cNvSpPr txBox="1"/>
          <p:nvPr/>
        </p:nvSpPr>
        <p:spPr>
          <a:xfrm>
            <a:off x="963095" y="5438852"/>
            <a:ext cx="4761492" cy="75252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 defTabSz="1219078" fontAlgn="ctr"/>
            <a:r>
              <a:rPr lang="en-US" sz="14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Broadband and narrowband integration based on 4.5G technology; wireless IoT with licensed and unlicensed spectrums</a:t>
            </a:r>
            <a:endParaRPr lang="en-US" altLang="zh-CN" sz="1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="" xmlns:a16="http://schemas.microsoft.com/office/drawing/2014/main" id="{F51560BA-74EC-4D09-97D3-9D23D9F97088}"/>
              </a:ext>
            </a:extLst>
          </p:cNvPr>
          <p:cNvSpPr/>
          <p:nvPr/>
        </p:nvSpPr>
        <p:spPr>
          <a:xfrm>
            <a:off x="6184105" y="5392884"/>
            <a:ext cx="5455589" cy="84446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="" xmlns:a16="http://schemas.microsoft.com/office/drawing/2014/main" id="{29AFAED1-501F-4E62-8110-B1D3BA4BC22B}"/>
              </a:ext>
            </a:extLst>
          </p:cNvPr>
          <p:cNvSpPr/>
          <p:nvPr/>
        </p:nvSpPr>
        <p:spPr>
          <a:xfrm>
            <a:off x="6259393" y="5492036"/>
            <a:ext cx="5275526" cy="646163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 defTabSz="1219078" fontAlgn="ctr"/>
            <a:r>
              <a:rPr lang="en-US" sz="14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Large-capacity narrowband </a:t>
            </a:r>
            <a:r>
              <a:rPr lang="en-US" sz="14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oT, 50, 000 </a:t>
            </a:r>
            <a:r>
              <a:rPr lang="en-US" sz="14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nections per base station</a:t>
            </a:r>
            <a:endParaRPr lang="en-US" sz="14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pic>
        <p:nvPicPr>
          <p:cNvPr id="66" name="Picture 2" descr="https://timgsa.baidu.com/timg?image&amp;quality=80&amp;size=b9999_10000&amp;sec=1515502410584&amp;di=f7cdec8340aad6bfcb40413a754400d8&amp;imgtype=0&amp;src=http%3A%2F%2Fwww.auto-biz.cn%2FimgStore%2FnewImgs%2Fimg148951179775456.jpg">
            <a:extLst>
              <a:ext uri="{FF2B5EF4-FFF2-40B4-BE49-F238E27FC236}">
                <a16:creationId xmlns="" xmlns:a16="http://schemas.microsoft.com/office/drawing/2014/main" id="{3261AD7C-6837-4A88-AFA0-FC6A124C9C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10" t="14496" r="31906"/>
          <a:stretch/>
        </p:blipFill>
        <p:spPr bwMode="auto">
          <a:xfrm>
            <a:off x="552307" y="1478761"/>
            <a:ext cx="2690055" cy="354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图片 66">
            <a:extLst>
              <a:ext uri="{FF2B5EF4-FFF2-40B4-BE49-F238E27FC236}">
                <a16:creationId xmlns="" xmlns:a16="http://schemas.microsoft.com/office/drawing/2014/main" id="{486A2397-984C-4744-AC25-8272DBDAD7A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7" r="13668" b="10294"/>
          <a:stretch/>
        </p:blipFill>
        <p:spPr>
          <a:xfrm>
            <a:off x="6184105" y="1477043"/>
            <a:ext cx="2619616" cy="3566269"/>
          </a:xfrm>
          <a:prstGeom prst="rect">
            <a:avLst/>
          </a:prstGeom>
        </p:spPr>
      </p:pic>
      <p:pic>
        <p:nvPicPr>
          <p:cNvPr id="68" name="图片 67">
            <a:extLst>
              <a:ext uri="{FF2B5EF4-FFF2-40B4-BE49-F238E27FC236}">
                <a16:creationId xmlns="" xmlns:a16="http://schemas.microsoft.com/office/drawing/2014/main" id="{0EBE7157-0271-40B7-9702-2887186A45A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20" r="5488" b="8986"/>
          <a:stretch/>
        </p:blipFill>
        <p:spPr>
          <a:xfrm>
            <a:off x="3352950" y="1477043"/>
            <a:ext cx="2718118" cy="3567987"/>
          </a:xfrm>
          <a:prstGeom prst="rect">
            <a:avLst/>
          </a:prstGeom>
        </p:spPr>
      </p:pic>
      <p:pic>
        <p:nvPicPr>
          <p:cNvPr id="69" name="图片 68">
            <a:extLst>
              <a:ext uri="{FF2B5EF4-FFF2-40B4-BE49-F238E27FC236}">
                <a16:creationId xmlns="" xmlns:a16="http://schemas.microsoft.com/office/drawing/2014/main" id="{FE271F73-26EB-4D81-8A5F-E27372206A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5" r="48017" b="10941"/>
          <a:stretch/>
        </p:blipFill>
        <p:spPr>
          <a:xfrm>
            <a:off x="8949638" y="1477043"/>
            <a:ext cx="2690057" cy="3566270"/>
          </a:xfrm>
          <a:prstGeom prst="rect">
            <a:avLst/>
          </a:prstGeom>
        </p:spPr>
      </p:pic>
      <p:sp>
        <p:nvSpPr>
          <p:cNvPr id="78" name="矩形 77">
            <a:extLst>
              <a:ext uri="{FF2B5EF4-FFF2-40B4-BE49-F238E27FC236}">
                <a16:creationId xmlns="" xmlns:a16="http://schemas.microsoft.com/office/drawing/2014/main" id="{6E564A50-751A-4737-AAF5-F7707BDDA906}"/>
              </a:ext>
            </a:extLst>
          </p:cNvPr>
          <p:cNvSpPr/>
          <p:nvPr/>
        </p:nvSpPr>
        <p:spPr>
          <a:xfrm>
            <a:off x="540942" y="1478761"/>
            <a:ext cx="2727228" cy="3566269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87000"/>
                </a:schemeClr>
              </a:gs>
              <a:gs pos="100000">
                <a:srgbClr val="07101B">
                  <a:alpha val="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="" xmlns:a16="http://schemas.microsoft.com/office/drawing/2014/main" id="{3BF31228-3AFF-4F6B-ABD6-6A286CA6BA63}"/>
              </a:ext>
            </a:extLst>
          </p:cNvPr>
          <p:cNvSpPr/>
          <p:nvPr/>
        </p:nvSpPr>
        <p:spPr>
          <a:xfrm>
            <a:off x="3343841" y="1478761"/>
            <a:ext cx="2727228" cy="3566269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87000"/>
                </a:schemeClr>
              </a:gs>
              <a:gs pos="100000">
                <a:srgbClr val="07101B">
                  <a:alpha val="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="" xmlns:a16="http://schemas.microsoft.com/office/drawing/2014/main" id="{05EFE160-5EC7-47D9-96CB-10AB39C4DA29}"/>
              </a:ext>
            </a:extLst>
          </p:cNvPr>
          <p:cNvSpPr/>
          <p:nvPr/>
        </p:nvSpPr>
        <p:spPr>
          <a:xfrm>
            <a:off x="6146740" y="1478761"/>
            <a:ext cx="2727228" cy="3567987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87000"/>
                </a:schemeClr>
              </a:gs>
              <a:gs pos="100000">
                <a:srgbClr val="07101B">
                  <a:alpha val="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="" xmlns:a16="http://schemas.microsoft.com/office/drawing/2014/main" id="{D4F811E9-F738-4C69-AAF8-D8F845E41EB8}"/>
              </a:ext>
            </a:extLst>
          </p:cNvPr>
          <p:cNvSpPr/>
          <p:nvPr/>
        </p:nvSpPr>
        <p:spPr>
          <a:xfrm>
            <a:off x="8949638" y="1478761"/>
            <a:ext cx="2727228" cy="3566269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87000"/>
                </a:schemeClr>
              </a:gs>
              <a:gs pos="100000">
                <a:srgbClr val="07101B">
                  <a:alpha val="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="" xmlns:a16="http://schemas.microsoft.com/office/drawing/2014/main" id="{EF0DD63B-BFBC-46AE-8C31-BFBFCF8E001A}"/>
              </a:ext>
            </a:extLst>
          </p:cNvPr>
          <p:cNvSpPr/>
          <p:nvPr/>
        </p:nvSpPr>
        <p:spPr>
          <a:xfrm>
            <a:off x="1309576" y="3508160"/>
            <a:ext cx="1376474" cy="1395992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obile</a:t>
            </a:r>
            <a:endParaRPr lang="en-US" altLang="zh-CN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  <a:p>
            <a:pPr algn="ctr" defTabSz="1219078" fontAlgn="ctr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government</a:t>
            </a:r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83" name="椭圆 82">
            <a:extLst>
              <a:ext uri="{FF2B5EF4-FFF2-40B4-BE49-F238E27FC236}">
                <a16:creationId xmlns="" xmlns:a16="http://schemas.microsoft.com/office/drawing/2014/main" id="{8930034F-5A75-452E-B19E-749DC145FA1E}"/>
              </a:ext>
            </a:extLst>
          </p:cNvPr>
          <p:cNvSpPr/>
          <p:nvPr/>
        </p:nvSpPr>
        <p:spPr>
          <a:xfrm>
            <a:off x="4108686" y="3508160"/>
            <a:ext cx="1376474" cy="1395992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Video</a:t>
            </a:r>
            <a:r>
              <a:rPr lang="en-US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backhaul</a:t>
            </a:r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84" name="椭圆 83">
            <a:extLst>
              <a:ext uri="{FF2B5EF4-FFF2-40B4-BE49-F238E27FC236}">
                <a16:creationId xmlns="" xmlns:a16="http://schemas.microsoft.com/office/drawing/2014/main" id="{E104EE5F-6D0D-4F72-AC0B-81D22E835C44}"/>
              </a:ext>
            </a:extLst>
          </p:cNvPr>
          <p:cNvSpPr/>
          <p:nvPr/>
        </p:nvSpPr>
        <p:spPr>
          <a:xfrm>
            <a:off x="6907796" y="3508160"/>
            <a:ext cx="1376474" cy="1395992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85" name="椭圆 84">
            <a:extLst>
              <a:ext uri="{FF2B5EF4-FFF2-40B4-BE49-F238E27FC236}">
                <a16:creationId xmlns="" xmlns:a16="http://schemas.microsoft.com/office/drawing/2014/main" id="{AE5A37E6-8F10-4B47-8F78-2DA93DDEDFBC}"/>
              </a:ext>
            </a:extLst>
          </p:cNvPr>
          <p:cNvSpPr/>
          <p:nvPr/>
        </p:nvSpPr>
        <p:spPr>
          <a:xfrm>
            <a:off x="9706907" y="3508160"/>
            <a:ext cx="1376474" cy="1395992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Policing</a:t>
            </a:r>
            <a:endParaRPr lang="en-US" altLang="zh-CN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  <a:p>
            <a:pPr algn="ctr" defTabSz="1219078" fontAlgn="ctr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trunking</a:t>
            </a:r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398207" y="4006815"/>
            <a:ext cx="24371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078" fontAlgn="ctr"/>
            <a:r>
              <a:rPr lang="en-US" altLang="zh-CN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unicipal</a:t>
            </a:r>
          </a:p>
          <a:p>
            <a:pPr algn="ctr" defTabSz="1219078" fontAlgn="ctr"/>
            <a:r>
              <a:rPr lang="en-US" altLang="zh-CN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273666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7"/>
          <p:cNvPicPr preferRelativeResize="0"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0203" y="1598574"/>
            <a:ext cx="1187691" cy="1079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8"/>
          <p:cNvPicPr preferRelativeResize="0"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3590" y="1586547"/>
            <a:ext cx="1187691" cy="1079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9"/>
          <p:cNvPicPr preferRelativeResize="0"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6098" y="1596078"/>
            <a:ext cx="1187691" cy="1079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10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6433" y="1591921"/>
            <a:ext cx="1187691" cy="1079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11"/>
          <p:cNvPicPr preferRelativeResize="0"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0342" y="1588516"/>
            <a:ext cx="1187691" cy="1079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27"/>
          <p:cNvSpPr txBox="1">
            <a:spLocks noChangeArrowheads="1"/>
          </p:cNvSpPr>
          <p:nvPr/>
        </p:nvSpPr>
        <p:spPr bwMode="auto">
          <a:xfrm>
            <a:off x="5502127" y="2431750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68585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1" name="TextBox 27"/>
          <p:cNvSpPr txBox="1">
            <a:spLocks noChangeArrowheads="1"/>
          </p:cNvSpPr>
          <p:nvPr/>
        </p:nvSpPr>
        <p:spPr bwMode="auto">
          <a:xfrm>
            <a:off x="6728356" y="2435757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68585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2" name="TextBox 27"/>
          <p:cNvSpPr txBox="1">
            <a:spLocks noChangeArrowheads="1"/>
          </p:cNvSpPr>
          <p:nvPr/>
        </p:nvSpPr>
        <p:spPr bwMode="auto">
          <a:xfrm>
            <a:off x="7952162" y="2437146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68585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3" name="TextBox 27"/>
          <p:cNvSpPr txBox="1">
            <a:spLocks noChangeArrowheads="1"/>
          </p:cNvSpPr>
          <p:nvPr/>
        </p:nvSpPr>
        <p:spPr bwMode="auto">
          <a:xfrm>
            <a:off x="9178333" y="2433094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68585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4" name="TextBox 27"/>
          <p:cNvSpPr txBox="1">
            <a:spLocks noChangeArrowheads="1"/>
          </p:cNvSpPr>
          <p:nvPr/>
        </p:nvSpPr>
        <p:spPr bwMode="auto">
          <a:xfrm>
            <a:off x="10404285" y="2436744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68585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11253" y="2605935"/>
            <a:ext cx="1187691" cy="284627"/>
          </a:xfrm>
          <a:prstGeom prst="rect">
            <a:avLst/>
          </a:prstGeom>
        </p:spPr>
        <p:txBody>
          <a:bodyPr wrap="square" lIns="91424" tIns="45712" rIns="91424" bIns="45712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Water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739963" y="2413095"/>
            <a:ext cx="1187691" cy="669398"/>
          </a:xfrm>
          <a:prstGeom prst="rect">
            <a:avLst/>
          </a:prstGeom>
        </p:spPr>
        <p:txBody>
          <a:bodyPr wrap="square" lIns="91424" tIns="45712" rIns="91424" bIns="45712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Environment Protection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989343" y="2520924"/>
            <a:ext cx="1187691" cy="477038"/>
          </a:xfrm>
          <a:prstGeom prst="rect">
            <a:avLst/>
          </a:prstGeom>
        </p:spPr>
        <p:txBody>
          <a:bodyPr wrap="square" lIns="91424" tIns="45712" rIns="91424" bIns="45712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Streetlight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9208703" y="2517870"/>
            <a:ext cx="1187691" cy="284627"/>
          </a:xfrm>
          <a:prstGeom prst="rect">
            <a:avLst/>
          </a:prstGeom>
        </p:spPr>
        <p:txBody>
          <a:bodyPr wrap="square" lIns="91424" tIns="45712" rIns="91424" bIns="45712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Parking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0389328" y="2526181"/>
            <a:ext cx="1187691" cy="477038"/>
          </a:xfrm>
          <a:prstGeom prst="rect">
            <a:avLst/>
          </a:prstGeom>
        </p:spPr>
        <p:txBody>
          <a:bodyPr wrap="square" lIns="91424" tIns="45712" rIns="91424" bIns="45712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Agriculture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0" name="MH_Picture_1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274067" y="1598119"/>
            <a:ext cx="1187691" cy="1079719"/>
          </a:xfrm>
          <a:custGeom>
            <a:avLst/>
            <a:gdLst>
              <a:gd name="connsiteX0" fmla="*/ 0 w 1886465"/>
              <a:gd name="connsiteY0" fmla="*/ 0 h 2957387"/>
              <a:gd name="connsiteX1" fmla="*/ 845409 w 1886465"/>
              <a:gd name="connsiteY1" fmla="*/ 0 h 2957387"/>
              <a:gd name="connsiteX2" fmla="*/ 943233 w 1886465"/>
              <a:gd name="connsiteY2" fmla="*/ 140043 h 2957387"/>
              <a:gd name="connsiteX3" fmla="*/ 1041057 w 1886465"/>
              <a:gd name="connsiteY3" fmla="*/ 0 h 2957387"/>
              <a:gd name="connsiteX4" fmla="*/ 1886465 w 1886465"/>
              <a:gd name="connsiteY4" fmla="*/ 0 h 2957387"/>
              <a:gd name="connsiteX5" fmla="*/ 1886465 w 1886465"/>
              <a:gd name="connsiteY5" fmla="*/ 2957387 h 2957387"/>
              <a:gd name="connsiteX6" fmla="*/ 0 w 1886465"/>
              <a:gd name="connsiteY6" fmla="*/ 2957387 h 295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86465" h="2957387">
                <a:moveTo>
                  <a:pt x="0" y="0"/>
                </a:moveTo>
                <a:lnTo>
                  <a:pt x="845409" y="0"/>
                </a:lnTo>
                <a:lnTo>
                  <a:pt x="943233" y="140043"/>
                </a:lnTo>
                <a:lnTo>
                  <a:pt x="1041057" y="0"/>
                </a:lnTo>
                <a:lnTo>
                  <a:pt x="1886465" y="0"/>
                </a:lnTo>
                <a:lnTo>
                  <a:pt x="1886465" y="2957387"/>
                </a:lnTo>
                <a:lnTo>
                  <a:pt x="0" y="2957387"/>
                </a:lnTo>
                <a:close/>
              </a:path>
            </a:pathLst>
          </a:cu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3" tIns="45707" rIns="91413" bIns="45707" anchor="ctr">
            <a:noAutofit/>
          </a:bodyPr>
          <a:lstStyle/>
          <a:p>
            <a:pPr algn="ctr" defTabSz="1219078" fontAlgn="ctr">
              <a:defRPr/>
            </a:pPr>
            <a:endParaRPr lang="en-US" altLang="zh-CN" sz="173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7"/>
          <p:cNvSpPr txBox="1">
            <a:spLocks noChangeArrowheads="1"/>
          </p:cNvSpPr>
          <p:nvPr/>
        </p:nvSpPr>
        <p:spPr bwMode="auto">
          <a:xfrm>
            <a:off x="4275620" y="2437934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51426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pic>
        <p:nvPicPr>
          <p:cNvPr id="22" name="图片 21"/>
          <p:cNvPicPr preferRelativeResize="0"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634" y="1592183"/>
            <a:ext cx="1187691" cy="1079719"/>
          </a:xfrm>
          <a:prstGeom prst="rect">
            <a:avLst/>
          </a:prstGeom>
        </p:spPr>
      </p:pic>
      <p:sp>
        <p:nvSpPr>
          <p:cNvPr id="23" name="TextBox 27"/>
          <p:cNvSpPr txBox="1">
            <a:spLocks noChangeArrowheads="1"/>
          </p:cNvSpPr>
          <p:nvPr/>
        </p:nvSpPr>
        <p:spPr bwMode="auto">
          <a:xfrm>
            <a:off x="1811470" y="2436138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51426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pic>
        <p:nvPicPr>
          <p:cNvPr id="24" name="Picture 2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244" y="1598047"/>
            <a:ext cx="1187691" cy="1079719"/>
          </a:xfrm>
          <a:prstGeom prst="rect">
            <a:avLst/>
          </a:prstGeom>
          <a:noFill/>
        </p:spPr>
      </p:pic>
      <p:sp>
        <p:nvSpPr>
          <p:cNvPr id="25" name="TextBox 27"/>
          <p:cNvSpPr txBox="1">
            <a:spLocks noChangeArrowheads="1"/>
          </p:cNvSpPr>
          <p:nvPr/>
        </p:nvSpPr>
        <p:spPr bwMode="auto">
          <a:xfrm>
            <a:off x="3039987" y="2438848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51426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pic>
        <p:nvPicPr>
          <p:cNvPr id="26" name="Picture 3" descr="D:\高青智慧城市\展会\截图\RZ(BW4{}P7ZDV)]M}QPR_X7.png"/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89386" y="1593728"/>
            <a:ext cx="1187691" cy="1079719"/>
          </a:xfrm>
          <a:prstGeom prst="rect">
            <a:avLst/>
          </a:prstGeom>
          <a:noFill/>
        </p:spPr>
      </p:pic>
      <p:sp>
        <p:nvSpPr>
          <p:cNvPr id="27" name="TextBox 27"/>
          <p:cNvSpPr txBox="1">
            <a:spLocks noChangeArrowheads="1"/>
          </p:cNvSpPr>
          <p:nvPr/>
        </p:nvSpPr>
        <p:spPr bwMode="auto">
          <a:xfrm>
            <a:off x="592054" y="2440679"/>
            <a:ext cx="1187691" cy="650743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 lIns="51426" tIns="0" rIns="0" bIns="0" anchor="ctr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endParaRPr kumimoji="1" lang="en-US" altLang="zh-CN" sz="600" b="1" noProof="1">
              <a:solidFill>
                <a:prstClr val="white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595845" y="2530151"/>
            <a:ext cx="1187691" cy="453940"/>
          </a:xfrm>
          <a:prstGeom prst="rect">
            <a:avLst/>
          </a:prstGeom>
        </p:spPr>
        <p:txBody>
          <a:bodyPr wrap="square" lIns="68550" tIns="34275" rIns="68550" bIns="34275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Grid-based Management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070357" y="2520824"/>
            <a:ext cx="1187691" cy="453940"/>
          </a:xfrm>
          <a:prstGeom prst="rect">
            <a:avLst/>
          </a:prstGeom>
        </p:spPr>
        <p:txBody>
          <a:bodyPr wrap="square" lIns="68550" tIns="34275" rIns="68550" bIns="34275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Healthcare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837783" y="2553378"/>
            <a:ext cx="1187691" cy="453940"/>
          </a:xfrm>
          <a:prstGeom prst="rect">
            <a:avLst/>
          </a:prstGeom>
        </p:spPr>
        <p:txBody>
          <a:bodyPr wrap="square" lIns="68550" tIns="34275" rIns="68550" bIns="34275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Municipal Administration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4289928" y="2617029"/>
            <a:ext cx="1187691" cy="261530"/>
          </a:xfrm>
          <a:prstGeom prst="rect">
            <a:avLst/>
          </a:prstGeom>
        </p:spPr>
        <p:txBody>
          <a:bodyPr wrap="square" lIns="68550" tIns="34275" rIns="68550" bIns="34275">
            <a:noAutofit/>
          </a:bodyPr>
          <a:lstStyle/>
          <a:p>
            <a:pPr algn="ctr" defTabSz="548717" fontAlgn="ctr">
              <a:lnSpc>
                <a:spcPts val="1498"/>
              </a:lnSpc>
              <a:buClr>
                <a:srgbClr val="C00000"/>
              </a:buClr>
              <a:buSzPct val="60000"/>
            </a:pP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obile Policing</a:t>
            </a:r>
            <a:endParaRPr lang="en-US" sz="105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86" y="3120990"/>
            <a:ext cx="5488454" cy="3059203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4612" y="3120911"/>
            <a:ext cx="5404235" cy="3059203"/>
          </a:xfrm>
          <a:prstGeom prst="rect">
            <a:avLst/>
          </a:prstGeom>
        </p:spPr>
      </p:pic>
      <p:sp>
        <p:nvSpPr>
          <p:cNvPr id="51" name="标题 23"/>
          <p:cNvSpPr txBox="1">
            <a:spLocks/>
          </p:cNvSpPr>
          <p:nvPr/>
        </p:nvSpPr>
        <p:spPr>
          <a:xfrm>
            <a:off x="429188" y="428216"/>
            <a:ext cx="9800171" cy="586613"/>
          </a:xfrm>
          <a:prstGeom prst="rect">
            <a:avLst/>
          </a:prstGeom>
        </p:spPr>
        <p:txBody>
          <a:bodyPr vert="horz" wrap="square" lIns="91413" tIns="45707" rIns="91413" bIns="45707" rtlCol="0" anchor="ctr">
            <a:noAutofit/>
          </a:bodyPr>
          <a:lstStyle>
            <a:lvl1pPr marL="0" marR="0" indent="0" algn="l" defTabSz="91446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kern="1200">
                <a:solidFill>
                  <a:schemeClr val="bg1">
                    <a:lumMod val="85000"/>
                  </a:schemeClr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fontAlgn="ctr">
              <a:spcBef>
                <a:spcPts val="0"/>
              </a:spcBef>
              <a:defRPr/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Gaoqing, Shandong: eLTE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rivate Network Planning Helps Build a Role Model of County-Level Smart City</a:t>
            </a:r>
            <a:endParaRPr lang="en-US" altLang="zh-CN" sz="2799" b="1" dirty="0">
              <a:solidFill>
                <a:prstClr val="white"/>
              </a:solidFill>
              <a:latin typeface="Arial" panose="020B06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87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laptop\Downloads\2014-03-09 Ajax-Cambuur 172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77" r="24572"/>
          <a:stretch/>
        </p:blipFill>
        <p:spPr bwMode="auto">
          <a:xfrm>
            <a:off x="1" y="45507"/>
            <a:ext cx="12192000" cy="681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矩形 41">
            <a:extLst>
              <a:ext uri="{FF2B5EF4-FFF2-40B4-BE49-F238E27FC236}">
                <a16:creationId xmlns="" xmlns:a16="http://schemas.microsoft.com/office/drawing/2014/main" id="{123A6CAC-9197-4320-8742-D23110446B19}"/>
              </a:ext>
            </a:extLst>
          </p:cNvPr>
          <p:cNvSpPr/>
          <p:nvPr/>
        </p:nvSpPr>
        <p:spPr>
          <a:xfrm>
            <a:off x="-6947" y="99"/>
            <a:ext cx="12198947" cy="6857802"/>
          </a:xfrm>
          <a:prstGeom prst="rect">
            <a:avLst/>
          </a:prstGeom>
          <a:gradFill>
            <a:gsLst>
              <a:gs pos="100000">
                <a:schemeClr val="tx2">
                  <a:lumMod val="50000"/>
                </a:schemeClr>
              </a:gs>
              <a:gs pos="0">
                <a:srgbClr val="07101B"/>
              </a:gs>
              <a:gs pos="57000">
                <a:srgbClr val="07101B">
                  <a:alpha val="40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3" name="矩形 25">
            <a:extLst>
              <a:ext uri="{FF2B5EF4-FFF2-40B4-BE49-F238E27FC236}">
                <a16:creationId xmlns="" xmlns:a16="http://schemas.microsoft.com/office/drawing/2014/main" id="{B58F523E-3AF3-4286-AF66-7E16671BC9D5}"/>
              </a:ext>
            </a:extLst>
          </p:cNvPr>
          <p:cNvSpPr/>
          <p:nvPr/>
        </p:nvSpPr>
        <p:spPr>
          <a:xfrm>
            <a:off x="459731" y="530841"/>
            <a:ext cx="7925586" cy="95385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igh-Density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i-Fi, Improv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ireless Broadband Access Experience</a:t>
            </a:r>
            <a:endParaRPr lang="en-US" altLang="zh-CN" sz="2799" b="1" dirty="0">
              <a:solidFill>
                <a:prstClr val="white"/>
              </a:solidFill>
              <a:latin typeface="Arial" panose="020B0604020202020204" pitchFamily="34" charset="0"/>
              <a:cs typeface="Verdana" panose="020B0604030504040204" pitchFamily="34" charset="0"/>
            </a:endParaRPr>
          </a:p>
        </p:txBody>
      </p:sp>
      <p:pic>
        <p:nvPicPr>
          <p:cNvPr id="72" name="Picture 15" descr="P:\Logo's\Logo AmsterdamArenA\eps-logo tbv drukwerk, borduren, textiel etc\Logo ArenA diapositief copy.png">
            <a:extLst>
              <a:ext uri="{FF2B5EF4-FFF2-40B4-BE49-F238E27FC236}">
                <a16:creationId xmlns="" xmlns:a16="http://schemas.microsoft.com/office/drawing/2014/main" id="{ABC05631-4508-4D01-BF47-A4BDC74E16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42374" y="318655"/>
            <a:ext cx="1497321" cy="662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组合 49">
            <a:extLst>
              <a:ext uri="{FF2B5EF4-FFF2-40B4-BE49-F238E27FC236}">
                <a16:creationId xmlns="" xmlns:a16="http://schemas.microsoft.com/office/drawing/2014/main" id="{F010F207-4BF9-4235-B343-9DCEDC898E87}"/>
              </a:ext>
            </a:extLst>
          </p:cNvPr>
          <p:cNvGrpSpPr/>
          <p:nvPr/>
        </p:nvGrpSpPr>
        <p:grpSpPr>
          <a:xfrm>
            <a:off x="1979847" y="2666422"/>
            <a:ext cx="2451740" cy="2451740"/>
            <a:chOff x="1012454" y="1902935"/>
            <a:chExt cx="1584176" cy="1584176"/>
          </a:xfrm>
          <a:solidFill>
            <a:srgbClr val="4D667C">
              <a:alpha val="45000"/>
            </a:srgbClr>
          </a:solidFill>
        </p:grpSpPr>
        <p:sp>
          <p:nvSpPr>
            <p:cNvPr id="50" name="1165917054">
              <a:extLst>
                <a:ext uri="{FF2B5EF4-FFF2-40B4-BE49-F238E27FC236}">
                  <a16:creationId xmlns="" xmlns:a16="http://schemas.microsoft.com/office/drawing/2014/main" id="{2595AAFA-FF6E-4B88-92FA-508FDE0EEFD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12454" y="1902935"/>
              <a:ext cx="1584176" cy="1584176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626575887">
              <a:extLst>
                <a:ext uri="{FF2B5EF4-FFF2-40B4-BE49-F238E27FC236}">
                  <a16:creationId xmlns="" xmlns:a16="http://schemas.microsoft.com/office/drawing/2014/main" id="{1CA821FD-7464-4DC1-946B-A7CE7AA7D0B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65260" y="1955741"/>
              <a:ext cx="1478564" cy="1478564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966197172">
              <a:extLst>
                <a:ext uri="{FF2B5EF4-FFF2-40B4-BE49-F238E27FC236}">
                  <a16:creationId xmlns="" xmlns:a16="http://schemas.microsoft.com/office/drawing/2014/main" id="{6BF5E482-63AB-4D39-8C8F-317E73E711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118066" y="2008547"/>
              <a:ext cx="1372953" cy="1372953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="" xmlns:a16="http://schemas.microsoft.com/office/drawing/2014/main" id="{860FB826-72FA-4434-AB67-BA8FA4ACE477}"/>
              </a:ext>
            </a:extLst>
          </p:cNvPr>
          <p:cNvGrpSpPr/>
          <p:nvPr/>
        </p:nvGrpSpPr>
        <p:grpSpPr>
          <a:xfrm>
            <a:off x="4924160" y="2619990"/>
            <a:ext cx="2451740" cy="2451738"/>
            <a:chOff x="1012454" y="1902935"/>
            <a:chExt cx="1584176" cy="1584176"/>
          </a:xfrm>
          <a:solidFill>
            <a:srgbClr val="4D667C"/>
          </a:solidFill>
        </p:grpSpPr>
        <p:sp>
          <p:nvSpPr>
            <p:cNvPr id="59" name="1165917054">
              <a:extLst>
                <a:ext uri="{FF2B5EF4-FFF2-40B4-BE49-F238E27FC236}">
                  <a16:creationId xmlns="" xmlns:a16="http://schemas.microsoft.com/office/drawing/2014/main" id="{3A38BF09-DC2A-4E39-91AC-ECA550038A0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12454" y="1902935"/>
              <a:ext cx="1584176" cy="1584176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626575887">
              <a:extLst>
                <a:ext uri="{FF2B5EF4-FFF2-40B4-BE49-F238E27FC236}">
                  <a16:creationId xmlns="" xmlns:a16="http://schemas.microsoft.com/office/drawing/2014/main" id="{B42FB814-30C9-4B10-AE20-8E7E4857008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65260" y="1955741"/>
              <a:ext cx="1478564" cy="1478564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966197172">
              <a:extLst>
                <a:ext uri="{FF2B5EF4-FFF2-40B4-BE49-F238E27FC236}">
                  <a16:creationId xmlns="" xmlns:a16="http://schemas.microsoft.com/office/drawing/2014/main" id="{286EC4D6-3BC3-4F39-8E92-63EFE7A58F1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118066" y="2008547"/>
              <a:ext cx="1372953" cy="1372953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4" name="组合 59">
            <a:extLst>
              <a:ext uri="{FF2B5EF4-FFF2-40B4-BE49-F238E27FC236}">
                <a16:creationId xmlns="" xmlns:a16="http://schemas.microsoft.com/office/drawing/2014/main" id="{EBF6136D-DC43-46AB-8DF2-3EAFB876F929}"/>
              </a:ext>
            </a:extLst>
          </p:cNvPr>
          <p:cNvGrpSpPr/>
          <p:nvPr/>
        </p:nvGrpSpPr>
        <p:grpSpPr>
          <a:xfrm>
            <a:off x="7760414" y="2565129"/>
            <a:ext cx="2451740" cy="2451738"/>
            <a:chOff x="1012454" y="1902935"/>
            <a:chExt cx="1584176" cy="1584176"/>
          </a:xfrm>
          <a:solidFill>
            <a:srgbClr val="4D667C">
              <a:alpha val="50000"/>
            </a:srgbClr>
          </a:solidFill>
        </p:grpSpPr>
        <p:sp>
          <p:nvSpPr>
            <p:cNvPr id="68" name="1165917054">
              <a:extLst>
                <a:ext uri="{FF2B5EF4-FFF2-40B4-BE49-F238E27FC236}">
                  <a16:creationId xmlns="" xmlns:a16="http://schemas.microsoft.com/office/drawing/2014/main" id="{57BC3168-6A91-45BE-ABC2-DAF10373DA4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12454" y="1902935"/>
              <a:ext cx="1584176" cy="1584176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626575887">
              <a:extLst>
                <a:ext uri="{FF2B5EF4-FFF2-40B4-BE49-F238E27FC236}">
                  <a16:creationId xmlns="" xmlns:a16="http://schemas.microsoft.com/office/drawing/2014/main" id="{7F5B1890-9F43-4814-A549-0B3180377D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65260" y="1955741"/>
              <a:ext cx="1478564" cy="1478564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966197172">
              <a:extLst>
                <a:ext uri="{FF2B5EF4-FFF2-40B4-BE49-F238E27FC236}">
                  <a16:creationId xmlns="" xmlns:a16="http://schemas.microsoft.com/office/drawing/2014/main" id="{9100506D-916A-48D0-947F-29A03A038B7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118066" y="2008547"/>
              <a:ext cx="1372953" cy="1372953"/>
            </a:xfrm>
            <a:prstGeom prst="ellipse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3" name="下箭头 40">
            <a:extLst>
              <a:ext uri="{FF2B5EF4-FFF2-40B4-BE49-F238E27FC236}">
                <a16:creationId xmlns="" xmlns:a16="http://schemas.microsoft.com/office/drawing/2014/main" id="{C21EACA6-01C8-4139-9034-D24ACD374DFD}"/>
              </a:ext>
            </a:extLst>
          </p:cNvPr>
          <p:cNvSpPr/>
          <p:nvPr/>
        </p:nvSpPr>
        <p:spPr>
          <a:xfrm rot="10800000">
            <a:off x="6915508" y="4257071"/>
            <a:ext cx="173217" cy="20574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4" name="692547862">
            <a:extLst>
              <a:ext uri="{FF2B5EF4-FFF2-40B4-BE49-F238E27FC236}">
                <a16:creationId xmlns="" xmlns:a16="http://schemas.microsoft.com/office/drawing/2014/main" id="{41FC4D76-459C-4F4F-BE6E-198D4D8DA9CB}"/>
              </a:ext>
            </a:extLst>
          </p:cNvPr>
          <p:cNvSpPr/>
          <p:nvPr/>
        </p:nvSpPr>
        <p:spPr>
          <a:xfrm>
            <a:off x="8139820" y="3113162"/>
            <a:ext cx="1692927" cy="677084"/>
          </a:xfrm>
          <a:prstGeom prst="rect">
            <a:avLst/>
          </a:prstGeom>
        </p:spPr>
        <p:txBody>
          <a:bodyPr wrap="square" lIns="121895" tIns="60948" rIns="121895" bIns="60948">
            <a:noAutofit/>
          </a:bodyPr>
          <a:lstStyle/>
          <a:p>
            <a:pPr algn="ctr" defTabSz="1219078" fontAlgn="ctr">
              <a:defRPr/>
            </a:pPr>
            <a:r>
              <a:rPr lang="en-US" sz="24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100%</a:t>
            </a:r>
            <a:r>
              <a:rPr lang="en-US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verage</a:t>
            </a:r>
            <a:endParaRPr lang="en-US" sz="14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75" name="402889046">
            <a:extLst>
              <a:ext uri="{FF2B5EF4-FFF2-40B4-BE49-F238E27FC236}">
                <a16:creationId xmlns="" xmlns:a16="http://schemas.microsoft.com/office/drawing/2014/main" id="{74318BA2-E620-4D77-A112-EB3D13E65131}"/>
              </a:ext>
            </a:extLst>
          </p:cNvPr>
          <p:cNvSpPr/>
          <p:nvPr/>
        </p:nvSpPr>
        <p:spPr>
          <a:xfrm>
            <a:off x="8441864" y="3958208"/>
            <a:ext cx="1314683" cy="623223"/>
          </a:xfrm>
          <a:prstGeom prst="rect">
            <a:avLst/>
          </a:prstGeom>
        </p:spPr>
        <p:txBody>
          <a:bodyPr wrap="square" lIns="121895" tIns="60948" rIns="121895" bIns="60948">
            <a:noAutofit/>
          </a:bodyPr>
          <a:lstStyle/>
          <a:p>
            <a:pPr algn="ctr" defTabSz="609280" fontAlgn="ctr"/>
            <a:r>
              <a:rPr lang="en-US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Without blind spots</a:t>
            </a:r>
            <a:endParaRPr lang="en-US" altLang="zh-CN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Arial"/>
            </a:endParaRPr>
          </a:p>
        </p:txBody>
      </p:sp>
      <p:sp>
        <p:nvSpPr>
          <p:cNvPr id="76" name="587011872">
            <a:extLst>
              <a:ext uri="{FF2B5EF4-FFF2-40B4-BE49-F238E27FC236}">
                <a16:creationId xmlns="" xmlns:a16="http://schemas.microsoft.com/office/drawing/2014/main" id="{ACA08785-17D4-4699-A32D-B9481C3DD5FC}"/>
              </a:ext>
            </a:extLst>
          </p:cNvPr>
          <p:cNvSpPr/>
          <p:nvPr/>
        </p:nvSpPr>
        <p:spPr>
          <a:xfrm>
            <a:off x="5006263" y="3144727"/>
            <a:ext cx="2339575" cy="677084"/>
          </a:xfrm>
          <a:prstGeom prst="rect">
            <a:avLst/>
          </a:prstGeom>
        </p:spPr>
        <p:txBody>
          <a:bodyPr wrap="square" lIns="121895" tIns="60948" rIns="121895" bIns="60948">
            <a:noAutofit/>
          </a:bodyPr>
          <a:lstStyle/>
          <a:p>
            <a:pPr algn="ctr" defTabSz="1219078" fontAlgn="ctr">
              <a:defRPr/>
            </a:pPr>
            <a:r>
              <a:rPr lang="en-US" sz="2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24, 000</a:t>
            </a:r>
            <a:r>
              <a:rPr lang="en-US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sz="12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current connections</a:t>
            </a:r>
            <a:endParaRPr lang="en-US" sz="12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77" name="114255708">
            <a:extLst>
              <a:ext uri="{FF2B5EF4-FFF2-40B4-BE49-F238E27FC236}">
                <a16:creationId xmlns="" xmlns:a16="http://schemas.microsoft.com/office/drawing/2014/main" id="{4EB84BF2-397D-4E5A-B6C2-8DB743AB9D18}"/>
              </a:ext>
            </a:extLst>
          </p:cNvPr>
          <p:cNvSpPr/>
          <p:nvPr/>
        </p:nvSpPr>
        <p:spPr>
          <a:xfrm>
            <a:off x="5035947" y="4007518"/>
            <a:ext cx="2024163" cy="584751"/>
          </a:xfrm>
          <a:prstGeom prst="rect">
            <a:avLst/>
          </a:prstGeom>
        </p:spPr>
        <p:txBody>
          <a:bodyPr wrap="square" lIns="121895" tIns="60948" rIns="121895" bIns="60948">
            <a:noAutofit/>
          </a:bodyPr>
          <a:lstStyle/>
          <a:p>
            <a:pPr algn="ctr" defTabSz="609280" fontAlgn="ctr"/>
            <a:r>
              <a:rPr lang="en-US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current connection rate 50%</a:t>
            </a:r>
            <a:endParaRPr lang="en-US" altLang="zh-CN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Arial"/>
            </a:endParaRPr>
          </a:p>
        </p:txBody>
      </p:sp>
      <p:sp>
        <p:nvSpPr>
          <p:cNvPr id="78" name="1328443158">
            <a:extLst>
              <a:ext uri="{FF2B5EF4-FFF2-40B4-BE49-F238E27FC236}">
                <a16:creationId xmlns="" xmlns:a16="http://schemas.microsoft.com/office/drawing/2014/main" id="{5E14298E-DBEA-4B65-909B-6AA92091626D}"/>
              </a:ext>
            </a:extLst>
          </p:cNvPr>
          <p:cNvSpPr/>
          <p:nvPr/>
        </p:nvSpPr>
        <p:spPr>
          <a:xfrm>
            <a:off x="2309067" y="3910515"/>
            <a:ext cx="1793297" cy="553974"/>
          </a:xfrm>
          <a:prstGeom prst="rect">
            <a:avLst/>
          </a:prstGeom>
        </p:spPr>
        <p:txBody>
          <a:bodyPr wrap="square" lIns="121895" tIns="60948" rIns="121895" bIns="60948">
            <a:noAutofit/>
          </a:bodyPr>
          <a:lstStyle/>
          <a:p>
            <a:pPr algn="ctr" defTabSz="1219078" fontAlgn="ctr">
              <a:defRPr/>
            </a:pPr>
            <a:r>
              <a:rPr lang="en-US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Ultra-large scale and ultra-dense</a:t>
            </a:r>
            <a:endParaRPr lang="en-US" altLang="zh-CN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CE2A9329-6BD8-4977-A4B4-D2151C6C6E6C}"/>
              </a:ext>
            </a:extLst>
          </p:cNvPr>
          <p:cNvSpPr/>
          <p:nvPr/>
        </p:nvSpPr>
        <p:spPr>
          <a:xfrm>
            <a:off x="2224156" y="3207278"/>
            <a:ext cx="1963117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>
              <a:defRPr/>
            </a:pPr>
            <a:r>
              <a:rPr lang="en-US" sz="2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80, 645</a:t>
            </a:r>
            <a:r>
              <a:rPr lang="en-US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pectators</a:t>
            </a:r>
            <a:endParaRPr lang="en-US" altLang="zh-CN" sz="10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4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image39.png" descr="鸟瞰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" y="99"/>
            <a:ext cx="12191824" cy="6857802"/>
          </a:xfrm>
          <a:prstGeom prst="rect">
            <a:avLst/>
          </a:prstGeom>
          <a:ln w="12700">
            <a:miter lim="400000"/>
          </a:ln>
          <a:effectLst>
            <a:outerShdw blurRad="76200" dist="38100" dir="7800000" rotWithShape="0">
              <a:srgbClr val="000000">
                <a:alpha val="40000"/>
              </a:srgbClr>
            </a:outerShdw>
          </a:effectLst>
        </p:spPr>
      </p:pic>
      <p:sp>
        <p:nvSpPr>
          <p:cNvPr id="42" name="矩形 41">
            <a:extLst>
              <a:ext uri="{FF2B5EF4-FFF2-40B4-BE49-F238E27FC236}">
                <a16:creationId xmlns="" xmlns:a16="http://schemas.microsoft.com/office/drawing/2014/main" id="{251FD888-506B-4B8B-B9DE-1D025DBCF3B3}"/>
              </a:ext>
            </a:extLst>
          </p:cNvPr>
          <p:cNvSpPr/>
          <p:nvPr/>
        </p:nvSpPr>
        <p:spPr>
          <a:xfrm>
            <a:off x="-46880" y="99"/>
            <a:ext cx="12285759" cy="6949254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50000"/>
                </a:schemeClr>
              </a:gs>
              <a:gs pos="31000">
                <a:srgbClr val="07101B"/>
              </a:gs>
              <a:gs pos="71000">
                <a:srgbClr val="07101B">
                  <a:alpha val="4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7">
            <a:extLst>
              <a:ext uri="{FF2B5EF4-FFF2-40B4-BE49-F238E27FC236}">
                <a16:creationId xmlns="" xmlns:a16="http://schemas.microsoft.com/office/drawing/2014/main" id="{63DA2F4A-9275-4D34-9D5B-B683C70F7385}"/>
              </a:ext>
            </a:extLst>
          </p:cNvPr>
          <p:cNvSpPr>
            <a:spLocks/>
          </p:cNvSpPr>
          <p:nvPr/>
        </p:nvSpPr>
        <p:spPr bwMode="auto">
          <a:xfrm>
            <a:off x="8871852" y="1299839"/>
            <a:ext cx="3258290" cy="1034129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177747" indent="-177747" defTabSz="685411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ne fiber for multiple services</a:t>
            </a:r>
            <a:endParaRPr lang="en-US" altLang="zh-CN" sz="1400" kern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177747" indent="-177747" defTabSz="1219078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Simplified architecture and easy O&amp;M</a:t>
            </a:r>
            <a:endParaRPr lang="en-US" altLang="zh-CN" sz="1400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  <a:sym typeface="Huawei Script" charset="0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="" xmlns:a16="http://schemas.microsoft.com/office/drawing/2014/main" id="{2B2D30BB-0FD0-43A8-A8DA-721F22AE3107}"/>
              </a:ext>
            </a:extLst>
          </p:cNvPr>
          <p:cNvGrpSpPr/>
          <p:nvPr/>
        </p:nvGrpSpPr>
        <p:grpSpPr>
          <a:xfrm>
            <a:off x="7934576" y="1429427"/>
            <a:ext cx="801549" cy="774951"/>
            <a:chOff x="594243" y="5360858"/>
            <a:chExt cx="720000" cy="720000"/>
          </a:xfrm>
        </p:grpSpPr>
        <p:sp>
          <p:nvSpPr>
            <p:cNvPr id="47" name="椭圆 46">
              <a:extLst>
                <a:ext uri="{FF2B5EF4-FFF2-40B4-BE49-F238E27FC236}">
                  <a16:creationId xmlns="" xmlns:a16="http://schemas.microsoft.com/office/drawing/2014/main" id="{346727FE-94E7-4858-8626-D696FADB3C2E}"/>
                </a:ext>
              </a:extLst>
            </p:cNvPr>
            <p:cNvSpPr/>
            <p:nvPr/>
          </p:nvSpPr>
          <p:spPr>
            <a:xfrm>
              <a:off x="594243" y="5360858"/>
              <a:ext cx="720000" cy="720000"/>
            </a:xfrm>
            <a:prstGeom prst="ellipse">
              <a:avLst/>
            </a:prstGeom>
            <a:noFill/>
            <a:ln w="28575">
              <a:solidFill>
                <a:srgbClr val="EB60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8514" tIns="34257" rIns="68514" bIns="34257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椭圆 47">
              <a:extLst>
                <a:ext uri="{FF2B5EF4-FFF2-40B4-BE49-F238E27FC236}">
                  <a16:creationId xmlns="" xmlns:a16="http://schemas.microsoft.com/office/drawing/2014/main" id="{49A461B8-A928-4E3E-8C43-064B6D3D828C}"/>
                </a:ext>
              </a:extLst>
            </p:cNvPr>
            <p:cNvSpPr/>
            <p:nvPr/>
          </p:nvSpPr>
          <p:spPr>
            <a:xfrm>
              <a:off x="639243" y="5405858"/>
              <a:ext cx="630000" cy="630000"/>
            </a:xfrm>
            <a:prstGeom prst="ellipse">
              <a:avLst/>
            </a:prstGeom>
            <a:solidFill>
              <a:srgbClr val="EB6035">
                <a:alpha val="6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TextBox 88">
              <a:extLst>
                <a:ext uri="{FF2B5EF4-FFF2-40B4-BE49-F238E27FC236}">
                  <a16:creationId xmlns="" xmlns:a16="http://schemas.microsoft.com/office/drawing/2014/main" id="{D819AF5A-6DE4-480F-B283-CF4A09D9F829}"/>
                </a:ext>
              </a:extLst>
            </p:cNvPr>
            <p:cNvSpPr txBox="1"/>
            <p:nvPr/>
          </p:nvSpPr>
          <p:spPr>
            <a:xfrm>
              <a:off x="701771" y="5429009"/>
              <a:ext cx="504945" cy="5716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r>
                <a:rPr lang="en-US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Simple</a:t>
              </a:r>
              <a:endPara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  <p:sp>
        <p:nvSpPr>
          <p:cNvPr id="51" name="Rectangle 7">
            <a:extLst>
              <a:ext uri="{FF2B5EF4-FFF2-40B4-BE49-F238E27FC236}">
                <a16:creationId xmlns="" xmlns:a16="http://schemas.microsoft.com/office/drawing/2014/main" id="{EAA08CED-CA2B-4646-956A-E7C6835AF67C}"/>
              </a:ext>
            </a:extLst>
          </p:cNvPr>
          <p:cNvSpPr>
            <a:spLocks/>
          </p:cNvSpPr>
          <p:nvPr/>
        </p:nvSpPr>
        <p:spPr bwMode="auto">
          <a:xfrm>
            <a:off x="8871855" y="2089866"/>
            <a:ext cx="2529570" cy="1551194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177747" indent="-177747" defTabSz="685411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Active devices replaced by passive devices</a:t>
            </a:r>
            <a:endParaRPr lang="en-US" altLang="zh-CN" sz="1400" kern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Huawei Script" charset="0"/>
            </a:endParaRPr>
          </a:p>
          <a:p>
            <a:pPr marL="177747" indent="-177747" defTabSz="1219078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pper cables replaced by optical fibers</a:t>
            </a:r>
            <a:endParaRPr lang="en-US" altLang="zh-CN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Huawei Script" charset="0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="" xmlns:a16="http://schemas.microsoft.com/office/drawing/2014/main" id="{6CDFBB09-7E05-47EB-9324-717EEE7C0C44}"/>
              </a:ext>
            </a:extLst>
          </p:cNvPr>
          <p:cNvGrpSpPr/>
          <p:nvPr/>
        </p:nvGrpSpPr>
        <p:grpSpPr>
          <a:xfrm>
            <a:off x="7934576" y="2477987"/>
            <a:ext cx="801549" cy="774951"/>
            <a:chOff x="3536182" y="5360858"/>
            <a:chExt cx="720000" cy="720000"/>
          </a:xfrm>
        </p:grpSpPr>
        <p:sp>
          <p:nvSpPr>
            <p:cNvPr id="53" name="椭圆 52">
              <a:extLst>
                <a:ext uri="{FF2B5EF4-FFF2-40B4-BE49-F238E27FC236}">
                  <a16:creationId xmlns="" xmlns:a16="http://schemas.microsoft.com/office/drawing/2014/main" id="{D8F0D6D7-3B18-4340-A951-773403FFA78A}"/>
                </a:ext>
              </a:extLst>
            </p:cNvPr>
            <p:cNvSpPr/>
            <p:nvPr/>
          </p:nvSpPr>
          <p:spPr>
            <a:xfrm>
              <a:off x="3536182" y="5360858"/>
              <a:ext cx="720000" cy="720000"/>
            </a:xfrm>
            <a:prstGeom prst="ellipse">
              <a:avLst/>
            </a:prstGeom>
            <a:noFill/>
            <a:ln w="28575">
              <a:solidFill>
                <a:srgbClr val="4158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8514" tIns="34257" rIns="68514" bIns="34257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椭圆 53">
              <a:extLst>
                <a:ext uri="{FF2B5EF4-FFF2-40B4-BE49-F238E27FC236}">
                  <a16:creationId xmlns="" xmlns:a16="http://schemas.microsoft.com/office/drawing/2014/main" id="{787134B6-E25B-4686-B927-D7EA72E90A7E}"/>
                </a:ext>
              </a:extLst>
            </p:cNvPr>
            <p:cNvSpPr/>
            <p:nvPr/>
          </p:nvSpPr>
          <p:spPr>
            <a:xfrm>
              <a:off x="3581182" y="5405858"/>
              <a:ext cx="630000" cy="630000"/>
            </a:xfrm>
            <a:prstGeom prst="ellipse">
              <a:avLst/>
            </a:prstGeom>
            <a:solidFill>
              <a:srgbClr val="415871">
                <a:alpha val="6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5" name="TextBox 88">
              <a:extLst>
                <a:ext uri="{FF2B5EF4-FFF2-40B4-BE49-F238E27FC236}">
                  <a16:creationId xmlns="" xmlns:a16="http://schemas.microsoft.com/office/drawing/2014/main" id="{2A227AC5-B538-454E-8D70-E22F7EABFE64}"/>
                </a:ext>
              </a:extLst>
            </p:cNvPr>
            <p:cNvSpPr txBox="1"/>
            <p:nvPr/>
          </p:nvSpPr>
          <p:spPr>
            <a:xfrm>
              <a:off x="3591753" y="5429009"/>
              <a:ext cx="608859" cy="5716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r>
                <a:rPr lang="en-US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Reliable</a:t>
              </a:r>
              <a:endPara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  <p:sp>
        <p:nvSpPr>
          <p:cNvPr id="57" name="Rectangle 7">
            <a:extLst>
              <a:ext uri="{FF2B5EF4-FFF2-40B4-BE49-F238E27FC236}">
                <a16:creationId xmlns="" xmlns:a16="http://schemas.microsoft.com/office/drawing/2014/main" id="{60F8CA3E-8763-4FCF-BDA7-49F31A18E88F}"/>
              </a:ext>
            </a:extLst>
          </p:cNvPr>
          <p:cNvSpPr>
            <a:spLocks/>
          </p:cNvSpPr>
          <p:nvPr/>
        </p:nvSpPr>
        <p:spPr bwMode="auto">
          <a:xfrm>
            <a:off x="8871855" y="3574660"/>
            <a:ext cx="2919551" cy="775597"/>
          </a:xfrm>
          <a:prstGeom prst="rect">
            <a:avLst/>
          </a:prstGeom>
          <a:noFill/>
          <a:ln w="12700" cap="rnd">
            <a:noFill/>
            <a:round/>
            <a:headEnd type="none" w="med" len="med"/>
            <a:tailEnd type="none" w="med" len="med"/>
          </a:ln>
        </p:spPr>
        <p:txBody>
          <a:bodyPr wrap="square" lIns="0" tIns="0" rIns="0" bIns="0" anchor="ctr" anchorCtr="0">
            <a:noAutofit/>
          </a:bodyPr>
          <a:lstStyle/>
          <a:p>
            <a:pPr marL="177747" indent="-177747" defTabSz="1219078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pen cloud access</a:t>
            </a:r>
            <a:endParaRPr lang="en-US" altLang="zh-CN" sz="1400" kern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Huawei Script" charset="0"/>
            </a:endParaRPr>
          </a:p>
          <a:p>
            <a:pPr marL="177747" indent="-177747" defTabSz="1219078" fontAlgn="ctr">
              <a:lnSpc>
                <a:spcPct val="120000"/>
              </a:lnSpc>
              <a:buClr>
                <a:prstClr val="white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entralized device management</a:t>
            </a:r>
            <a:endParaRPr lang="en-US" altLang="zh-CN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  <a:sym typeface="Huawei Script" charset="0"/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="" xmlns:a16="http://schemas.microsoft.com/office/drawing/2014/main" id="{C33451E9-01B0-4D19-924E-90A79F0EC4F8}"/>
              </a:ext>
            </a:extLst>
          </p:cNvPr>
          <p:cNvGrpSpPr/>
          <p:nvPr/>
        </p:nvGrpSpPr>
        <p:grpSpPr>
          <a:xfrm>
            <a:off x="7934576" y="3574982"/>
            <a:ext cx="801549" cy="774951"/>
            <a:chOff x="6213815" y="5360858"/>
            <a:chExt cx="720000" cy="720000"/>
          </a:xfrm>
        </p:grpSpPr>
        <p:sp>
          <p:nvSpPr>
            <p:cNvPr id="59" name="椭圆 58">
              <a:extLst>
                <a:ext uri="{FF2B5EF4-FFF2-40B4-BE49-F238E27FC236}">
                  <a16:creationId xmlns="" xmlns:a16="http://schemas.microsoft.com/office/drawing/2014/main" id="{A04DD633-833D-4259-A9CE-61DFD36136C7}"/>
                </a:ext>
              </a:extLst>
            </p:cNvPr>
            <p:cNvSpPr/>
            <p:nvPr/>
          </p:nvSpPr>
          <p:spPr>
            <a:xfrm>
              <a:off x="6213815" y="5360858"/>
              <a:ext cx="720000" cy="720000"/>
            </a:xfrm>
            <a:prstGeom prst="ellipse">
              <a:avLst/>
            </a:prstGeom>
            <a:noFill/>
            <a:ln w="28575">
              <a:solidFill>
                <a:srgbClr val="3B3B3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8514" tIns="34257" rIns="68514" bIns="34257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0" name="椭圆 59">
              <a:extLst>
                <a:ext uri="{FF2B5EF4-FFF2-40B4-BE49-F238E27FC236}">
                  <a16:creationId xmlns="" xmlns:a16="http://schemas.microsoft.com/office/drawing/2014/main" id="{858EE6AE-C42B-4DBB-88B0-DDD4A5540C1B}"/>
                </a:ext>
              </a:extLst>
            </p:cNvPr>
            <p:cNvSpPr/>
            <p:nvPr/>
          </p:nvSpPr>
          <p:spPr>
            <a:xfrm>
              <a:off x="6258815" y="5405858"/>
              <a:ext cx="630000" cy="630000"/>
            </a:xfrm>
            <a:prstGeom prst="ellipse">
              <a:avLst/>
            </a:prstGeom>
            <a:solidFill>
              <a:srgbClr val="3B3B3B">
                <a:alpha val="6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1" name="TextBox 88">
              <a:extLst>
                <a:ext uri="{FF2B5EF4-FFF2-40B4-BE49-F238E27FC236}">
                  <a16:creationId xmlns="" xmlns:a16="http://schemas.microsoft.com/office/drawing/2014/main" id="{9938DFFE-F2DA-49E4-BA0F-CB4D237B0248}"/>
                </a:ext>
              </a:extLst>
            </p:cNvPr>
            <p:cNvSpPr txBox="1"/>
            <p:nvPr/>
          </p:nvSpPr>
          <p:spPr>
            <a:xfrm>
              <a:off x="6276745" y="5434671"/>
              <a:ext cx="612070" cy="5716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r>
                <a:rPr lang="en-US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Flexible</a:t>
              </a:r>
              <a:endPara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  <p:sp>
        <p:nvSpPr>
          <p:cNvPr id="62" name="Shape 345">
            <a:extLst>
              <a:ext uri="{FF2B5EF4-FFF2-40B4-BE49-F238E27FC236}">
                <a16:creationId xmlns="" xmlns:a16="http://schemas.microsoft.com/office/drawing/2014/main" id="{8E2712E5-25EB-43F2-BF46-48528DBA5D2B}"/>
              </a:ext>
            </a:extLst>
          </p:cNvPr>
          <p:cNvSpPr/>
          <p:nvPr/>
        </p:nvSpPr>
        <p:spPr>
          <a:xfrm>
            <a:off x="7709433" y="4663483"/>
            <a:ext cx="3930260" cy="1573868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14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8600000" scaled="0"/>
            </a:gradFill>
            <a:round/>
            <a:headEnd/>
            <a:tailEnd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sz="2399" dirty="0">
              <a:solidFill>
                <a:prstClr val="white"/>
              </a:solidFill>
              <a:latin typeface="Arial" panose="020B0604020202020204" pitchFamily="34" charset="0"/>
              <a:sym typeface="微软雅黑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A2C22EDD-E76D-4875-901A-EFE40FE2E314}"/>
              </a:ext>
            </a:extLst>
          </p:cNvPr>
          <p:cNvSpPr/>
          <p:nvPr/>
        </p:nvSpPr>
        <p:spPr>
          <a:xfrm>
            <a:off x="471306" y="5363024"/>
            <a:ext cx="5128305" cy="156966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Project 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Name: </a:t>
            </a:r>
            <a:r>
              <a:rPr lang="en-US" sz="16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ngfu</a:t>
            </a:r>
            <a:r>
              <a:rPr lang="en-US" sz="1600" dirty="0" smtClean="0"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</a:t>
            </a:r>
          </a:p>
          <a:p>
            <a:pPr defTabSz="1219078" fontAlgn="ctr">
              <a:lnSpc>
                <a:spcPct val="12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</a:rPr>
              <a:t>Total land 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area: </a:t>
            </a:r>
            <a:r>
              <a:rPr lang="en-US" sz="16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66 </a:t>
            </a:r>
            <a:r>
              <a:rPr lang="en-US" sz="16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 square meters</a:t>
            </a:r>
            <a:endParaRPr lang="en-US" altLang="zh-CN" sz="1600" b="1" dirty="0">
              <a:solidFill>
                <a:srgbClr val="FF3300"/>
              </a:solidFill>
              <a:latin typeface="Arial" panose="020B0604020202020204" pitchFamily="34" charset="0"/>
              <a:cs typeface="Arial" panose="020B0604020202020204" pitchFamily="34" charset="0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</a:rPr>
              <a:t>Total construction </a:t>
            </a:r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area: </a:t>
            </a:r>
            <a:r>
              <a:rPr lang="en-US" sz="16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6 </a:t>
            </a:r>
            <a:r>
              <a:rPr lang="en-US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 square meters</a:t>
            </a:r>
            <a:endParaRPr lang="en-US" altLang="zh-CN" sz="1600" b="1" dirty="0">
              <a:solidFill>
                <a:srgbClr val="FF330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="" xmlns:a16="http://schemas.microsoft.com/office/drawing/2014/main" id="{705755E1-1F10-4B05-867E-78C3F21C4CE5}"/>
              </a:ext>
            </a:extLst>
          </p:cNvPr>
          <p:cNvSpPr/>
          <p:nvPr/>
        </p:nvSpPr>
        <p:spPr>
          <a:xfrm>
            <a:off x="7868064" y="4861736"/>
            <a:ext cx="2007575" cy="14986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Residence: 5, 000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cs typeface="微软雅黑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tore: 1000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cs typeface="微软雅黑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arge shopping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all: 1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cs typeface="微软雅黑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4-star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otel: 1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cs typeface="微软雅黑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ffice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uilding: 7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C69F1865-054F-46F4-B3BC-35FC4F029DF2}"/>
              </a:ext>
            </a:extLst>
          </p:cNvPr>
          <p:cNvSpPr/>
          <p:nvPr/>
        </p:nvSpPr>
        <p:spPr>
          <a:xfrm>
            <a:off x="9726671" y="4861736"/>
            <a:ext cx="1998911" cy="120032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5-star health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enter: 1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chool: 2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arking </a:t>
            </a: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pot: 10, 000</a:t>
            </a:r>
            <a:endParaRPr lang="en-US" altLang="zh-CN" sz="1200" b="1" dirty="0" smtClean="0">
              <a:solidFill>
                <a:prstClr val="white"/>
              </a:solidFill>
              <a:latin typeface="Arial" panose="020B0604020202020204" pitchFamily="34" charset="0"/>
              <a:sym typeface="微软雅黑"/>
            </a:endParaRPr>
          </a:p>
          <a:p>
            <a:pPr defTabSz="1219078" fontAlgn="ctr">
              <a:lnSpc>
                <a:spcPct val="120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opulation: 100, 000–120, 000</a:t>
            </a: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3" name="TextBox 2">
            <a:extLst>
              <a:ext uri="{FF2B5EF4-FFF2-40B4-BE49-F238E27FC236}">
                <a16:creationId xmlns="" xmlns:a16="http://schemas.microsoft.com/office/drawing/2014/main" id="{4D378ED6-96C4-47E5-A105-FCEB67EB92FA}"/>
              </a:ext>
            </a:extLst>
          </p:cNvPr>
          <p:cNvSpPr txBox="1"/>
          <p:nvPr/>
        </p:nvSpPr>
        <p:spPr>
          <a:xfrm>
            <a:off x="541281" y="365692"/>
            <a:ext cx="11697425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gile All-Optical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Network, Support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ife, Office, and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usiness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8784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D58D40DF-85DD-4980-B7CE-8E261A196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l="15872" r="27628"/>
          <a:stretch/>
        </p:blipFill>
        <p:spPr bwMode="auto">
          <a:xfrm>
            <a:off x="566383" y="1423132"/>
            <a:ext cx="2205913" cy="3872212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715A3D2-F2BC-474A-A5B6-D1A9066AE30A}"/>
              </a:ext>
            </a:extLst>
          </p:cNvPr>
          <p:cNvSpPr txBox="1"/>
          <p:nvPr/>
        </p:nvSpPr>
        <p:spPr>
          <a:xfrm>
            <a:off x="541281" y="581063"/>
            <a:ext cx="9031531" cy="4307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hallenges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Faced in Longgang District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0FF9D790-6774-4C6C-9A62-40ABE67B2C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l="16151" r="28220"/>
          <a:stretch/>
        </p:blipFill>
        <p:spPr bwMode="auto">
          <a:xfrm>
            <a:off x="2792169" y="1413580"/>
            <a:ext cx="2195976" cy="38862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3">
            <a:extLst>
              <a:ext uri="{FF2B5EF4-FFF2-40B4-BE49-F238E27FC236}">
                <a16:creationId xmlns="" xmlns:a16="http://schemas.microsoft.com/office/drawing/2014/main" id="{F8DC4224-1CFB-4000-9024-278722448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/>
          <a:srcRect l="19892" r="23436"/>
          <a:stretch/>
        </p:blipFill>
        <p:spPr bwMode="auto">
          <a:xfrm>
            <a:off x="9413692" y="1403559"/>
            <a:ext cx="2226003" cy="388595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5">
            <a:extLst>
              <a:ext uri="{FF2B5EF4-FFF2-40B4-BE49-F238E27FC236}">
                <a16:creationId xmlns="" xmlns:a16="http://schemas.microsoft.com/office/drawing/2014/main" id="{A21DF465-7A00-4686-81BC-D1B664CF18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33017" r="14437"/>
          <a:stretch/>
        </p:blipFill>
        <p:spPr bwMode="auto">
          <a:xfrm>
            <a:off x="5008019" y="1409201"/>
            <a:ext cx="2176102" cy="38917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4">
            <a:extLst>
              <a:ext uri="{FF2B5EF4-FFF2-40B4-BE49-F238E27FC236}">
                <a16:creationId xmlns="" xmlns:a16="http://schemas.microsoft.com/office/drawing/2014/main" id="{3E20932F-3DD0-4B78-8061-3E9B4D1F31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/>
          <a:srcRect l="5235" r="41236"/>
          <a:stretch/>
        </p:blipFill>
        <p:spPr bwMode="auto">
          <a:xfrm>
            <a:off x="7171455" y="1419993"/>
            <a:ext cx="2228515" cy="3869519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TextBox 68">
            <a:extLst>
              <a:ext uri="{FF2B5EF4-FFF2-40B4-BE49-F238E27FC236}">
                <a16:creationId xmlns="" xmlns:a16="http://schemas.microsoft.com/office/drawing/2014/main" id="{A71CADD3-D89A-47B5-B9B1-4EE4ECF2EBF2}"/>
              </a:ext>
            </a:extLst>
          </p:cNvPr>
          <p:cNvSpPr txBox="1"/>
          <p:nvPr/>
        </p:nvSpPr>
        <p:spPr>
          <a:xfrm>
            <a:off x="1443003" y="5558803"/>
            <a:ext cx="9296106" cy="60319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647553">
              <a:defRPr>
                <a:solidFill>
                  <a:prstClr val="white"/>
                </a:solidFill>
              </a:defRPr>
            </a:lvl1pPr>
            <a:lvl5pPr marL="2438382" lvl="4" defTabSz="1219190">
              <a:defRPr sz="1800">
                <a:solidFill>
                  <a:prstClr val="black"/>
                </a:solidFill>
              </a:defRPr>
            </a:lvl5pPr>
          </a:lstStyle>
          <a:p>
            <a:pPr defTabSz="1219078" fontAlgn="ctr"/>
            <a:r>
              <a:rPr lang="en-US" sz="1999" dirty="0" smtClean="0">
                <a:latin typeface="Arial" panose="020B0604020202020204" pitchFamily="34" charset="0"/>
              </a:rPr>
              <a:t>Covering an area of 385.94 square </a:t>
            </a:r>
            <a:r>
              <a:rPr lang="en-US" sz="1999" dirty="0" smtClean="0">
                <a:latin typeface="Arial" panose="020B0604020202020204" pitchFamily="34" charset="0"/>
              </a:rPr>
              <a:t>kilometers, Longgang </a:t>
            </a:r>
            <a:r>
              <a:rPr lang="en-US" sz="1999" dirty="0" smtClean="0">
                <a:latin typeface="Arial" panose="020B0604020202020204" pitchFamily="34" charset="0"/>
              </a:rPr>
              <a:t>has a population of 4.25 </a:t>
            </a:r>
            <a:r>
              <a:rPr lang="en-US" sz="1999" dirty="0" smtClean="0">
                <a:latin typeface="Arial" panose="020B0604020202020204" pitchFamily="34" charset="0"/>
              </a:rPr>
              <a:t>million, among </a:t>
            </a:r>
            <a:r>
              <a:rPr lang="en-US" sz="1999" dirty="0" smtClean="0">
                <a:latin typeface="Arial" panose="020B0604020202020204" pitchFamily="34" charset="0"/>
              </a:rPr>
              <a:t>which 70% is </a:t>
            </a:r>
            <a:r>
              <a:rPr lang="en-US" sz="1999" dirty="0" smtClean="0">
                <a:latin typeface="Arial" panose="020B0604020202020204" pitchFamily="34" charset="0"/>
              </a:rPr>
              <a:t>floating </a:t>
            </a:r>
            <a:r>
              <a:rPr lang="en-US" sz="1999" dirty="0" smtClean="0">
                <a:latin typeface="Arial" panose="020B0604020202020204" pitchFamily="34" charset="0"/>
              </a:rPr>
              <a:t>population. Low-end industries account for 90% of total industries.</a:t>
            </a:r>
            <a:endParaRPr lang="en-US" altLang="zh-CN" sz="1999" dirty="0"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15" name="圆角矩形 6"/>
          <p:cNvSpPr>
            <a:spLocks noChangeArrowheads="1"/>
          </p:cNvSpPr>
          <p:nvPr/>
        </p:nvSpPr>
        <p:spPr bwMode="auto">
          <a:xfrm>
            <a:off x="574895" y="1422892"/>
            <a:ext cx="2205583" cy="3876894"/>
          </a:xfrm>
          <a:prstGeom prst="roundRect">
            <a:avLst>
              <a:gd name="adj" fmla="val 0"/>
            </a:avLst>
          </a:prstGeom>
          <a:solidFill>
            <a:srgbClr val="C5710B">
              <a:alpha val="6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078" fontAlgn="ctr">
              <a:buClr>
                <a:srgbClr val="CC9900"/>
              </a:buClr>
              <a:buFont typeface="Wingdings" panose="05000000000000000000" pitchFamily="2" charset="2"/>
              <a:buChar char="n"/>
            </a:pPr>
            <a:endParaRPr lang="en-US" altLang="zh-CN" sz="2399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16" name="圆角矩形 7"/>
          <p:cNvSpPr>
            <a:spLocks noChangeArrowheads="1"/>
          </p:cNvSpPr>
          <p:nvPr/>
        </p:nvSpPr>
        <p:spPr bwMode="auto">
          <a:xfrm>
            <a:off x="2785489" y="1413580"/>
            <a:ext cx="2205583" cy="3876894"/>
          </a:xfrm>
          <a:prstGeom prst="roundRect">
            <a:avLst>
              <a:gd name="adj" fmla="val 0"/>
            </a:avLst>
          </a:prstGeom>
          <a:solidFill>
            <a:srgbClr val="00B0F0">
              <a:alpha val="5607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078" fontAlgn="ctr">
              <a:buClr>
                <a:srgbClr val="CC9900"/>
              </a:buClr>
              <a:buFont typeface="Wingdings" panose="05000000000000000000" pitchFamily="2" charset="2"/>
              <a:buChar char="n"/>
            </a:pPr>
            <a:endParaRPr lang="en-US" altLang="zh-CN" sz="2399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17" name="圆角矩形 8"/>
          <p:cNvSpPr>
            <a:spLocks noChangeArrowheads="1"/>
          </p:cNvSpPr>
          <p:nvPr/>
        </p:nvSpPr>
        <p:spPr bwMode="auto">
          <a:xfrm>
            <a:off x="4988266" y="1412618"/>
            <a:ext cx="2195855" cy="3876894"/>
          </a:xfrm>
          <a:prstGeom prst="roundRect">
            <a:avLst>
              <a:gd name="adj" fmla="val 0"/>
            </a:avLst>
          </a:prstGeom>
          <a:solidFill>
            <a:srgbClr val="00B050">
              <a:alpha val="6588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078" fontAlgn="ctr">
              <a:buClr>
                <a:srgbClr val="CC9900"/>
              </a:buClr>
              <a:buFont typeface="Wingdings" panose="05000000000000000000" pitchFamily="2" charset="2"/>
              <a:buChar char="n"/>
            </a:pPr>
            <a:endParaRPr lang="en-US" altLang="zh-CN" sz="2399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18" name="圆角矩形 9"/>
          <p:cNvSpPr>
            <a:spLocks noChangeArrowheads="1"/>
          </p:cNvSpPr>
          <p:nvPr/>
        </p:nvSpPr>
        <p:spPr bwMode="auto">
          <a:xfrm>
            <a:off x="7184121" y="1413580"/>
            <a:ext cx="2223643" cy="3893745"/>
          </a:xfrm>
          <a:prstGeom prst="roundRect">
            <a:avLst>
              <a:gd name="adj" fmla="val 0"/>
            </a:avLst>
          </a:prstGeom>
          <a:solidFill>
            <a:srgbClr val="0070C0">
              <a:alpha val="7803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078" fontAlgn="ctr">
              <a:buClr>
                <a:srgbClr val="CC9900"/>
              </a:buClr>
              <a:buFont typeface="Wingdings" panose="05000000000000000000" pitchFamily="2" charset="2"/>
              <a:buChar char="n"/>
            </a:pPr>
            <a:endParaRPr lang="en-US" altLang="zh-CN" sz="2399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33" name="圆角矩形 9"/>
          <p:cNvSpPr>
            <a:spLocks noChangeArrowheads="1"/>
          </p:cNvSpPr>
          <p:nvPr/>
        </p:nvSpPr>
        <p:spPr bwMode="auto">
          <a:xfrm>
            <a:off x="9410690" y="1403559"/>
            <a:ext cx="2221176" cy="3891786"/>
          </a:xfrm>
          <a:prstGeom prst="roundRect">
            <a:avLst>
              <a:gd name="adj" fmla="val 0"/>
            </a:avLst>
          </a:prstGeom>
          <a:solidFill>
            <a:schemeClr val="accent5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228531" algn="ctr" defTabSz="1219078" fontAlgn="ctr">
              <a:buClr>
                <a:srgbClr val="990000"/>
              </a:buClr>
              <a:buSzPct val="60000"/>
            </a:pPr>
            <a:endParaRPr lang="en-US" altLang="zh-CN" sz="1799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119" name="组合 10"/>
          <p:cNvGrpSpPr>
            <a:grpSpLocks/>
          </p:cNvGrpSpPr>
          <p:nvPr/>
        </p:nvGrpSpPr>
        <p:grpSpPr bwMode="auto">
          <a:xfrm>
            <a:off x="837366" y="2753723"/>
            <a:ext cx="10600564" cy="1634896"/>
            <a:chOff x="1152651" y="3620332"/>
            <a:chExt cx="11738211" cy="1809708"/>
          </a:xfrm>
        </p:grpSpPr>
        <p:sp>
          <p:nvSpPr>
            <p:cNvPr id="124" name="椭圆 123"/>
            <p:cNvSpPr/>
            <p:nvPr/>
          </p:nvSpPr>
          <p:spPr bwMode="auto">
            <a:xfrm>
              <a:off x="1152651" y="3620332"/>
              <a:ext cx="1810352" cy="1809708"/>
            </a:xfrm>
            <a:prstGeom prst="ellips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noAutofit/>
            </a:bodyPr>
            <a:lstStyle/>
            <a:p>
              <a:pPr defTabSz="1219078" fontAlgn="ctr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en-US" altLang="zh-CN" sz="2399" b="1" dirty="0">
                <a:solidFill>
                  <a:prstClr val="black"/>
                </a:solidFill>
                <a:latin typeface="Arial" panose="020B0604020202020204" pitchFamily="34" charset="0"/>
                <a:ea typeface="SimSun" pitchFamily="2" charset="-122"/>
              </a:endParaRPr>
            </a:p>
          </p:txBody>
        </p:sp>
        <p:sp>
          <p:nvSpPr>
            <p:cNvPr id="125" name="椭圆 124"/>
            <p:cNvSpPr/>
            <p:nvPr/>
          </p:nvSpPr>
          <p:spPr bwMode="auto">
            <a:xfrm>
              <a:off x="3620198" y="3620332"/>
              <a:ext cx="1808310" cy="1809708"/>
            </a:xfrm>
            <a:prstGeom prst="ellips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noAutofit/>
            </a:bodyPr>
            <a:lstStyle/>
            <a:p>
              <a:pPr defTabSz="1219078" fontAlgn="ctr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en-US" altLang="zh-CN" sz="2399" b="1" dirty="0">
                <a:solidFill>
                  <a:prstClr val="black"/>
                </a:solidFill>
                <a:latin typeface="Arial" panose="020B0604020202020204" pitchFamily="34" charset="0"/>
                <a:ea typeface="SimSun" pitchFamily="2" charset="-122"/>
              </a:endParaRPr>
            </a:p>
          </p:txBody>
        </p:sp>
        <p:sp>
          <p:nvSpPr>
            <p:cNvPr id="126" name="椭圆 125"/>
            <p:cNvSpPr/>
            <p:nvPr/>
          </p:nvSpPr>
          <p:spPr bwMode="auto">
            <a:xfrm>
              <a:off x="6085705" y="3620332"/>
              <a:ext cx="1810350" cy="1809708"/>
            </a:xfrm>
            <a:prstGeom prst="ellips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noAutofit/>
            </a:bodyPr>
            <a:lstStyle/>
            <a:p>
              <a:pPr defTabSz="1219078" fontAlgn="ctr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en-US" altLang="zh-CN" sz="2399" b="1" dirty="0">
                <a:solidFill>
                  <a:prstClr val="black"/>
                </a:solidFill>
                <a:latin typeface="Arial" panose="020B0604020202020204" pitchFamily="34" charset="0"/>
                <a:ea typeface="SimSun" pitchFamily="2" charset="-122"/>
              </a:endParaRPr>
            </a:p>
          </p:txBody>
        </p:sp>
        <p:sp>
          <p:nvSpPr>
            <p:cNvPr id="127" name="椭圆 126"/>
            <p:cNvSpPr/>
            <p:nvPr/>
          </p:nvSpPr>
          <p:spPr bwMode="auto">
            <a:xfrm>
              <a:off x="8608358" y="3620332"/>
              <a:ext cx="1810350" cy="1809708"/>
            </a:xfrm>
            <a:prstGeom prst="ellips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noAutofit/>
            </a:bodyPr>
            <a:lstStyle/>
            <a:p>
              <a:pPr defTabSz="1219078" fontAlgn="ctr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en-US" altLang="zh-CN" sz="2399" b="1" dirty="0">
                <a:solidFill>
                  <a:prstClr val="black"/>
                </a:solidFill>
                <a:latin typeface="Arial" panose="020B0604020202020204" pitchFamily="34" charset="0"/>
                <a:ea typeface="SimSun" pitchFamily="2" charset="-122"/>
              </a:endParaRPr>
            </a:p>
          </p:txBody>
        </p:sp>
        <p:cxnSp>
          <p:nvCxnSpPr>
            <p:cNvPr id="128" name="直接连接符 19"/>
            <p:cNvCxnSpPr>
              <a:cxnSpLocks noChangeShapeType="1"/>
              <a:stCxn id="124" idx="6"/>
              <a:endCxn id="125" idx="2"/>
            </p:cNvCxnSpPr>
            <p:nvPr/>
          </p:nvCxnSpPr>
          <p:spPr bwMode="auto">
            <a:xfrm>
              <a:off x="2961768" y="4524375"/>
              <a:ext cx="657225" cy="1588"/>
            </a:xfrm>
            <a:prstGeom prst="line">
              <a:avLst/>
            </a:prstGeom>
            <a:noFill/>
            <a:ln w="28575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9" name="直接连接符 20"/>
            <p:cNvCxnSpPr>
              <a:cxnSpLocks noChangeShapeType="1"/>
            </p:cNvCxnSpPr>
            <p:nvPr/>
          </p:nvCxnSpPr>
          <p:spPr bwMode="auto">
            <a:xfrm>
              <a:off x="5447793" y="4524375"/>
              <a:ext cx="657225" cy="1588"/>
            </a:xfrm>
            <a:prstGeom prst="line">
              <a:avLst/>
            </a:prstGeom>
            <a:noFill/>
            <a:ln w="28575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0" name="直接连接符 21"/>
            <p:cNvCxnSpPr>
              <a:cxnSpLocks noChangeShapeType="1"/>
            </p:cNvCxnSpPr>
            <p:nvPr/>
          </p:nvCxnSpPr>
          <p:spPr bwMode="auto">
            <a:xfrm>
              <a:off x="7924293" y="4524375"/>
              <a:ext cx="657225" cy="1588"/>
            </a:xfrm>
            <a:prstGeom prst="line">
              <a:avLst/>
            </a:prstGeom>
            <a:noFill/>
            <a:ln w="28575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8" name="直接连接符 21"/>
            <p:cNvCxnSpPr>
              <a:cxnSpLocks noChangeShapeType="1"/>
            </p:cNvCxnSpPr>
            <p:nvPr/>
          </p:nvCxnSpPr>
          <p:spPr bwMode="auto">
            <a:xfrm>
              <a:off x="10423288" y="4524375"/>
              <a:ext cx="657224" cy="1588"/>
            </a:xfrm>
            <a:prstGeom prst="line">
              <a:avLst/>
            </a:prstGeom>
            <a:noFill/>
            <a:ln w="28575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9" name="椭圆 158"/>
            <p:cNvSpPr/>
            <p:nvPr/>
          </p:nvSpPr>
          <p:spPr bwMode="auto">
            <a:xfrm>
              <a:off x="11080512" y="3620332"/>
              <a:ext cx="1810350" cy="1809708"/>
            </a:xfrm>
            <a:prstGeom prst="ellips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noAutofit/>
            </a:bodyPr>
            <a:lstStyle/>
            <a:p>
              <a:pPr defTabSz="1219078" fontAlgn="ctr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en-US" altLang="zh-CN" sz="2399" b="1" dirty="0">
                <a:solidFill>
                  <a:prstClr val="black"/>
                </a:solidFill>
                <a:latin typeface="Arial" panose="020B0604020202020204" pitchFamily="34" charset="0"/>
                <a:ea typeface="SimSun" pitchFamily="2" charset="-122"/>
              </a:endParaRPr>
            </a:p>
          </p:txBody>
        </p:sp>
      </p:grpSp>
      <p:sp>
        <p:nvSpPr>
          <p:cNvPr id="42" name="副标题 1">
            <a:extLst>
              <a:ext uri="{FF2B5EF4-FFF2-40B4-BE49-F238E27FC236}">
                <a16:creationId xmlns="" xmlns:a16="http://schemas.microsoft.com/office/drawing/2014/main" id="{F6B1C021-F902-4EED-95FD-21913BD31CAC}"/>
              </a:ext>
            </a:extLst>
          </p:cNvPr>
          <p:cNvSpPr txBox="1">
            <a:spLocks/>
          </p:cNvSpPr>
          <p:nvPr/>
        </p:nvSpPr>
        <p:spPr>
          <a:xfrm>
            <a:off x="824548" y="2862471"/>
            <a:ext cx="1629183" cy="1452020"/>
          </a:xfrm>
          <a:prstGeom prst="rect">
            <a:avLst/>
          </a:prstGeom>
        </p:spPr>
        <p:txBody>
          <a:bodyPr wrap="square" lIns="91398" tIns="45698" rIns="91398" bIns="45698" anchor="ctr">
            <a:noAutofit/>
          </a:bodyPr>
          <a:lstStyle/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Lack of development impetus due to geographical constraints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41" name="副标题 1">
            <a:extLst>
              <a:ext uri="{FF2B5EF4-FFF2-40B4-BE49-F238E27FC236}">
                <a16:creationId xmlns="" xmlns:a16="http://schemas.microsoft.com/office/drawing/2014/main" id="{EFB89B1F-F373-4E2E-AF9B-01DB1030C2E3}"/>
              </a:ext>
            </a:extLst>
          </p:cNvPr>
          <p:cNvSpPr txBox="1">
            <a:spLocks/>
          </p:cNvSpPr>
          <p:nvPr/>
        </p:nvSpPr>
        <p:spPr>
          <a:xfrm>
            <a:off x="3221809" y="2993212"/>
            <a:ext cx="1342102" cy="1190538"/>
          </a:xfrm>
          <a:prstGeom prst="rect">
            <a:avLst/>
          </a:prstGeom>
        </p:spPr>
        <p:txBody>
          <a:bodyPr wrap="square" lIns="91398" tIns="45698" rIns="91398" bIns="45698" anchor="ctr">
            <a:noAutofit/>
          </a:bodyPr>
          <a:lstStyle/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Difficult social governance</a:t>
            </a:r>
            <a:endParaRPr lang="en-US" altLang="zh-CN" sz="1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3" name="副标题 1">
            <a:extLst>
              <a:ext uri="{FF2B5EF4-FFF2-40B4-BE49-F238E27FC236}">
                <a16:creationId xmlns="" xmlns:a16="http://schemas.microsoft.com/office/drawing/2014/main" id="{515F0B80-737A-46F1-902C-13AEB8561FDE}"/>
              </a:ext>
            </a:extLst>
          </p:cNvPr>
          <p:cNvSpPr txBox="1">
            <a:spLocks/>
          </p:cNvSpPr>
          <p:nvPr/>
        </p:nvSpPr>
        <p:spPr>
          <a:xfrm>
            <a:off x="5474894" y="3123953"/>
            <a:ext cx="1269738" cy="929056"/>
          </a:xfrm>
          <a:prstGeom prst="rect">
            <a:avLst/>
          </a:prstGeom>
        </p:spPr>
        <p:txBody>
          <a:bodyPr wrap="square" lIns="91398" tIns="45698" rIns="91398" bIns="45698" anchor="ctr">
            <a:noAutofit/>
          </a:bodyPr>
          <a:lstStyle/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efficient public services</a:t>
            </a:r>
            <a:endParaRPr lang="en-US" altLang="zh-CN" sz="1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副标题 1">
            <a:extLst>
              <a:ext uri="{FF2B5EF4-FFF2-40B4-BE49-F238E27FC236}">
                <a16:creationId xmlns="" xmlns:a16="http://schemas.microsoft.com/office/drawing/2014/main" id="{A0A7CB24-ED13-4EC4-999A-33A35E7571C6}"/>
              </a:ext>
            </a:extLst>
          </p:cNvPr>
          <p:cNvSpPr txBox="1">
            <a:spLocks/>
          </p:cNvSpPr>
          <p:nvPr/>
        </p:nvSpPr>
        <p:spPr>
          <a:xfrm>
            <a:off x="7612070" y="3123953"/>
            <a:ext cx="1506364" cy="929056"/>
          </a:xfrm>
          <a:prstGeom prst="rect">
            <a:avLst/>
          </a:prstGeom>
        </p:spPr>
        <p:txBody>
          <a:bodyPr wrap="square" lIns="91398" tIns="45698" rIns="91398" bIns="45698" anchor="ctr">
            <a:noAutofit/>
          </a:bodyPr>
          <a:lstStyle/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ainly low-end</a:t>
            </a:r>
            <a:endParaRPr lang="en-US" altLang="zh-CN" sz="1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dustries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44" name="副标题 1">
            <a:extLst>
              <a:ext uri="{FF2B5EF4-FFF2-40B4-BE49-F238E27FC236}">
                <a16:creationId xmlns="" xmlns:a16="http://schemas.microsoft.com/office/drawing/2014/main" id="{02A57E09-4CC7-47D0-97FC-3879ADC3ED10}"/>
              </a:ext>
            </a:extLst>
          </p:cNvPr>
          <p:cNvSpPr txBox="1">
            <a:spLocks/>
          </p:cNvSpPr>
          <p:nvPr/>
        </p:nvSpPr>
        <p:spPr>
          <a:xfrm>
            <a:off x="9729376" y="2722176"/>
            <a:ext cx="1790597" cy="1713502"/>
          </a:xfrm>
          <a:prstGeom prst="rect">
            <a:avLst/>
          </a:prstGeom>
        </p:spPr>
        <p:txBody>
          <a:bodyPr wrap="square" lIns="91398" tIns="45698" rIns="91398" bIns="45698" anchor="ctr">
            <a:noAutofit/>
          </a:bodyPr>
          <a:lstStyle/>
          <a:p>
            <a:pPr algn="ctr" defTabSz="1219078" fontAlgn="ctr">
              <a:spcBef>
                <a:spcPct val="20000"/>
              </a:spcBef>
              <a:defRPr/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Decentralization of core resources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90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AF1BBF9A-948D-4CC9-B5EC-40754EF1B8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5" r="4665"/>
          <a:stretch/>
        </p:blipFill>
        <p:spPr>
          <a:xfrm>
            <a:off x="6179" y="99"/>
            <a:ext cx="12185822" cy="6857802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="" xmlns:a16="http://schemas.microsoft.com/office/drawing/2014/main" id="{90631263-9423-4953-B87F-F228A5CEFB58}"/>
              </a:ext>
            </a:extLst>
          </p:cNvPr>
          <p:cNvSpPr/>
          <p:nvPr/>
        </p:nvSpPr>
        <p:spPr>
          <a:xfrm>
            <a:off x="-46880" y="99"/>
            <a:ext cx="12285759" cy="6949254"/>
          </a:xfrm>
          <a:prstGeom prst="rect">
            <a:avLst/>
          </a:prstGeom>
          <a:gradFill>
            <a:gsLst>
              <a:gs pos="1000">
                <a:schemeClr val="tx2">
                  <a:lumMod val="50000"/>
                  <a:alpha val="5300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="" xmlns:a16="http://schemas.microsoft.com/office/drawing/2014/main" id="{7EC4CD65-31BF-490E-A3B9-906CD4B38B81}"/>
              </a:ext>
            </a:extLst>
          </p:cNvPr>
          <p:cNvSpPr/>
          <p:nvPr/>
        </p:nvSpPr>
        <p:spPr>
          <a:xfrm>
            <a:off x="2567914" y="-118680"/>
            <a:ext cx="7068033" cy="7068033"/>
          </a:xfrm>
          <a:prstGeom prst="ellipse">
            <a:avLst/>
          </a:prstGeom>
          <a:solidFill>
            <a:schemeClr val="accent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="" xmlns:a16="http://schemas.microsoft.com/office/drawing/2014/main" id="{53795748-48C7-4357-8272-7F3E4E6FE1D6}"/>
              </a:ext>
            </a:extLst>
          </p:cNvPr>
          <p:cNvSpPr/>
          <p:nvPr/>
        </p:nvSpPr>
        <p:spPr>
          <a:xfrm>
            <a:off x="2490139" y="-176861"/>
            <a:ext cx="7211722" cy="7211722"/>
          </a:xfrm>
          <a:prstGeom prst="ellipse">
            <a:avLst/>
          </a:prstGeom>
          <a:noFill/>
          <a:ln w="63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="" xmlns:a16="http://schemas.microsoft.com/office/drawing/2014/main" id="{155D18FA-8F62-4568-9C45-896D952F6ED8}"/>
              </a:ext>
            </a:extLst>
          </p:cNvPr>
          <p:cNvSpPr/>
          <p:nvPr/>
        </p:nvSpPr>
        <p:spPr>
          <a:xfrm>
            <a:off x="9286863" y="1911254"/>
            <a:ext cx="262505" cy="262505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="" xmlns:a16="http://schemas.microsoft.com/office/drawing/2014/main" id="{601724F9-8808-4730-A926-19FD5AC20DA3}"/>
              </a:ext>
            </a:extLst>
          </p:cNvPr>
          <p:cNvSpPr/>
          <p:nvPr/>
        </p:nvSpPr>
        <p:spPr>
          <a:xfrm>
            <a:off x="9531084" y="2471107"/>
            <a:ext cx="104863" cy="104863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="" xmlns:a16="http://schemas.microsoft.com/office/drawing/2014/main" id="{2D444939-F0DF-4681-BD5E-BA61EE65B8FA}"/>
              </a:ext>
            </a:extLst>
          </p:cNvPr>
          <p:cNvSpPr/>
          <p:nvPr/>
        </p:nvSpPr>
        <p:spPr>
          <a:xfrm>
            <a:off x="8364440" y="745100"/>
            <a:ext cx="976332" cy="976332"/>
          </a:xfrm>
          <a:prstGeom prst="ellipse">
            <a:avLst/>
          </a:prstGeom>
          <a:gradFill flip="none" rotWithShape="1">
            <a:gsLst>
              <a:gs pos="56000">
                <a:schemeClr val="accent1">
                  <a:tint val="44500"/>
                  <a:satMod val="160000"/>
                </a:schemeClr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="" xmlns:a16="http://schemas.microsoft.com/office/drawing/2014/main" id="{256DFBEF-DE16-46DF-9F35-FF9DA2960F67}"/>
              </a:ext>
            </a:extLst>
          </p:cNvPr>
          <p:cNvSpPr>
            <a:spLocks noEditPoints="1"/>
          </p:cNvSpPr>
          <p:nvPr/>
        </p:nvSpPr>
        <p:spPr bwMode="auto">
          <a:xfrm>
            <a:off x="8552648" y="932514"/>
            <a:ext cx="599919" cy="601506"/>
          </a:xfrm>
          <a:custGeom>
            <a:avLst/>
            <a:gdLst>
              <a:gd name="T0" fmla="*/ 109 w 551"/>
              <a:gd name="T1" fmla="*/ 339 h 551"/>
              <a:gd name="T2" fmla="*/ 442 w 551"/>
              <a:gd name="T3" fmla="*/ 339 h 551"/>
              <a:gd name="T4" fmla="*/ 211 w 551"/>
              <a:gd name="T5" fmla="*/ 109 h 551"/>
              <a:gd name="T6" fmla="*/ 339 w 551"/>
              <a:gd name="T7" fmla="*/ 408 h 551"/>
              <a:gd name="T8" fmla="*/ 143 w 551"/>
              <a:gd name="T9" fmla="*/ 211 h 551"/>
              <a:gd name="T10" fmla="*/ 408 w 551"/>
              <a:gd name="T11" fmla="*/ 211 h 551"/>
              <a:gd name="T12" fmla="*/ 165 w 551"/>
              <a:gd name="T13" fmla="*/ 316 h 551"/>
              <a:gd name="T14" fmla="*/ 386 w 551"/>
              <a:gd name="T15" fmla="*/ 316 h 551"/>
              <a:gd name="T16" fmla="*/ 235 w 551"/>
              <a:gd name="T17" fmla="*/ 165 h 551"/>
              <a:gd name="T18" fmla="*/ 315 w 551"/>
              <a:gd name="T19" fmla="*/ 352 h 551"/>
              <a:gd name="T20" fmla="*/ 198 w 551"/>
              <a:gd name="T21" fmla="*/ 235 h 551"/>
              <a:gd name="T22" fmla="*/ 352 w 551"/>
              <a:gd name="T23" fmla="*/ 235 h 551"/>
              <a:gd name="T24" fmla="*/ 412 w 551"/>
              <a:gd name="T25" fmla="*/ 0 h 551"/>
              <a:gd name="T26" fmla="*/ 412 w 551"/>
              <a:gd name="T27" fmla="*/ 75 h 551"/>
              <a:gd name="T28" fmla="*/ 476 w 551"/>
              <a:gd name="T29" fmla="*/ 139 h 551"/>
              <a:gd name="T30" fmla="*/ 551 w 551"/>
              <a:gd name="T31" fmla="*/ 139 h 551"/>
              <a:gd name="T32" fmla="*/ 551 w 551"/>
              <a:gd name="T33" fmla="*/ 233 h 551"/>
              <a:gd name="T34" fmla="*/ 476 w 551"/>
              <a:gd name="T35" fmla="*/ 233 h 551"/>
              <a:gd name="T36" fmla="*/ 551 w 551"/>
              <a:gd name="T37" fmla="*/ 258 h 551"/>
              <a:gd name="T38" fmla="*/ 476 w 551"/>
              <a:gd name="T39" fmla="*/ 352 h 551"/>
              <a:gd name="T40" fmla="*/ 476 w 551"/>
              <a:gd name="T41" fmla="*/ 318 h 551"/>
              <a:gd name="T42" fmla="*/ 501 w 551"/>
              <a:gd name="T43" fmla="*/ 412 h 551"/>
              <a:gd name="T44" fmla="*/ 378 w 551"/>
              <a:gd name="T45" fmla="*/ 476 h 551"/>
              <a:gd name="T46" fmla="*/ 412 w 551"/>
              <a:gd name="T47" fmla="*/ 526 h 551"/>
              <a:gd name="T48" fmla="*/ 551 w 551"/>
              <a:gd name="T49" fmla="*/ 378 h 551"/>
              <a:gd name="T50" fmla="*/ 74 w 551"/>
              <a:gd name="T51" fmla="*/ 139 h 551"/>
              <a:gd name="T52" fmla="*/ 139 w 551"/>
              <a:gd name="T53" fmla="*/ 75 h 551"/>
              <a:gd name="T54" fmla="*/ 139 w 551"/>
              <a:gd name="T55" fmla="*/ 0 h 551"/>
              <a:gd name="T56" fmla="*/ 0 w 551"/>
              <a:gd name="T57" fmla="*/ 139 h 551"/>
              <a:gd name="T58" fmla="*/ 74 w 551"/>
              <a:gd name="T59" fmla="*/ 139 h 551"/>
              <a:gd name="T60" fmla="*/ 0 w 551"/>
              <a:gd name="T61" fmla="*/ 233 h 551"/>
              <a:gd name="T62" fmla="*/ 74 w 551"/>
              <a:gd name="T63" fmla="*/ 258 h 551"/>
              <a:gd name="T64" fmla="*/ 74 w 551"/>
              <a:gd name="T65" fmla="*/ 292 h 551"/>
              <a:gd name="T66" fmla="*/ 0 w 551"/>
              <a:gd name="T67" fmla="*/ 318 h 551"/>
              <a:gd name="T68" fmla="*/ 74 w 551"/>
              <a:gd name="T69" fmla="*/ 318 h 551"/>
              <a:gd name="T70" fmla="*/ 199 w 551"/>
              <a:gd name="T71" fmla="*/ 75 h 551"/>
              <a:gd name="T72" fmla="*/ 292 w 551"/>
              <a:gd name="T73" fmla="*/ 0 h 551"/>
              <a:gd name="T74" fmla="*/ 292 w 551"/>
              <a:gd name="T75" fmla="*/ 75 h 551"/>
              <a:gd name="T76" fmla="*/ 318 w 551"/>
              <a:gd name="T77" fmla="*/ 0 h 551"/>
              <a:gd name="T78" fmla="*/ 352 w 551"/>
              <a:gd name="T79" fmla="*/ 0 h 551"/>
              <a:gd name="T80" fmla="*/ 74 w 551"/>
              <a:gd name="T81" fmla="*/ 412 h 551"/>
              <a:gd name="T82" fmla="*/ 0 w 551"/>
              <a:gd name="T83" fmla="*/ 412 h 551"/>
              <a:gd name="T84" fmla="*/ 139 w 551"/>
              <a:gd name="T85" fmla="*/ 551 h 551"/>
              <a:gd name="T86" fmla="*/ 139 w 551"/>
              <a:gd name="T87" fmla="*/ 476 h 551"/>
              <a:gd name="T88" fmla="*/ 233 w 551"/>
              <a:gd name="T89" fmla="*/ 551 h 551"/>
              <a:gd name="T90" fmla="*/ 199 w 551"/>
              <a:gd name="T91" fmla="*/ 551 h 551"/>
              <a:gd name="T92" fmla="*/ 292 w 551"/>
              <a:gd name="T93" fmla="*/ 476 h 551"/>
              <a:gd name="T94" fmla="*/ 318 w 551"/>
              <a:gd name="T95" fmla="*/ 551 h 551"/>
              <a:gd name="T96" fmla="*/ 318 w 551"/>
              <a:gd name="T97" fmla="*/ 476 h 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51" h="551">
                <a:moveTo>
                  <a:pt x="211" y="109"/>
                </a:moveTo>
                <a:cubicBezTo>
                  <a:pt x="155" y="109"/>
                  <a:pt x="109" y="155"/>
                  <a:pt x="109" y="211"/>
                </a:cubicBezTo>
                <a:cubicBezTo>
                  <a:pt x="109" y="339"/>
                  <a:pt x="109" y="339"/>
                  <a:pt x="109" y="339"/>
                </a:cubicBezTo>
                <a:cubicBezTo>
                  <a:pt x="109" y="396"/>
                  <a:pt x="155" y="442"/>
                  <a:pt x="211" y="442"/>
                </a:cubicBezTo>
                <a:cubicBezTo>
                  <a:pt x="339" y="442"/>
                  <a:pt x="339" y="442"/>
                  <a:pt x="339" y="442"/>
                </a:cubicBezTo>
                <a:cubicBezTo>
                  <a:pt x="396" y="442"/>
                  <a:pt x="442" y="396"/>
                  <a:pt x="442" y="339"/>
                </a:cubicBezTo>
                <a:cubicBezTo>
                  <a:pt x="442" y="211"/>
                  <a:pt x="442" y="211"/>
                  <a:pt x="442" y="211"/>
                </a:cubicBezTo>
                <a:cubicBezTo>
                  <a:pt x="442" y="155"/>
                  <a:pt x="396" y="109"/>
                  <a:pt x="339" y="109"/>
                </a:cubicBezTo>
                <a:lnTo>
                  <a:pt x="211" y="109"/>
                </a:lnTo>
                <a:close/>
                <a:moveTo>
                  <a:pt x="408" y="211"/>
                </a:moveTo>
                <a:cubicBezTo>
                  <a:pt x="408" y="339"/>
                  <a:pt x="408" y="339"/>
                  <a:pt x="408" y="339"/>
                </a:cubicBezTo>
                <a:cubicBezTo>
                  <a:pt x="408" y="377"/>
                  <a:pt x="377" y="408"/>
                  <a:pt x="339" y="408"/>
                </a:cubicBezTo>
                <a:cubicBezTo>
                  <a:pt x="211" y="408"/>
                  <a:pt x="211" y="408"/>
                  <a:pt x="211" y="408"/>
                </a:cubicBezTo>
                <a:cubicBezTo>
                  <a:pt x="173" y="408"/>
                  <a:pt x="143" y="377"/>
                  <a:pt x="143" y="339"/>
                </a:cubicBezTo>
                <a:cubicBezTo>
                  <a:pt x="143" y="211"/>
                  <a:pt x="143" y="211"/>
                  <a:pt x="143" y="211"/>
                </a:cubicBezTo>
                <a:cubicBezTo>
                  <a:pt x="143" y="173"/>
                  <a:pt x="173" y="143"/>
                  <a:pt x="211" y="143"/>
                </a:cubicBezTo>
                <a:cubicBezTo>
                  <a:pt x="339" y="143"/>
                  <a:pt x="339" y="143"/>
                  <a:pt x="339" y="143"/>
                </a:cubicBezTo>
                <a:cubicBezTo>
                  <a:pt x="377" y="143"/>
                  <a:pt x="408" y="173"/>
                  <a:pt x="408" y="211"/>
                </a:cubicBezTo>
                <a:close/>
                <a:moveTo>
                  <a:pt x="235" y="165"/>
                </a:moveTo>
                <a:cubicBezTo>
                  <a:pt x="196" y="165"/>
                  <a:pt x="165" y="196"/>
                  <a:pt x="165" y="235"/>
                </a:cubicBezTo>
                <a:cubicBezTo>
                  <a:pt x="165" y="316"/>
                  <a:pt x="165" y="316"/>
                  <a:pt x="165" y="316"/>
                </a:cubicBezTo>
                <a:cubicBezTo>
                  <a:pt x="165" y="354"/>
                  <a:pt x="196" y="386"/>
                  <a:pt x="235" y="386"/>
                </a:cubicBezTo>
                <a:cubicBezTo>
                  <a:pt x="315" y="386"/>
                  <a:pt x="315" y="386"/>
                  <a:pt x="315" y="386"/>
                </a:cubicBezTo>
                <a:cubicBezTo>
                  <a:pt x="354" y="386"/>
                  <a:pt x="386" y="354"/>
                  <a:pt x="386" y="316"/>
                </a:cubicBezTo>
                <a:cubicBezTo>
                  <a:pt x="386" y="235"/>
                  <a:pt x="386" y="235"/>
                  <a:pt x="386" y="235"/>
                </a:cubicBezTo>
                <a:cubicBezTo>
                  <a:pt x="386" y="196"/>
                  <a:pt x="354" y="165"/>
                  <a:pt x="315" y="165"/>
                </a:cubicBezTo>
                <a:lnTo>
                  <a:pt x="235" y="165"/>
                </a:lnTo>
                <a:close/>
                <a:moveTo>
                  <a:pt x="352" y="235"/>
                </a:moveTo>
                <a:cubicBezTo>
                  <a:pt x="352" y="316"/>
                  <a:pt x="352" y="316"/>
                  <a:pt x="352" y="316"/>
                </a:cubicBezTo>
                <a:cubicBezTo>
                  <a:pt x="352" y="336"/>
                  <a:pt x="336" y="352"/>
                  <a:pt x="315" y="352"/>
                </a:cubicBezTo>
                <a:cubicBezTo>
                  <a:pt x="235" y="352"/>
                  <a:pt x="235" y="352"/>
                  <a:pt x="235" y="352"/>
                </a:cubicBezTo>
                <a:cubicBezTo>
                  <a:pt x="215" y="352"/>
                  <a:pt x="198" y="336"/>
                  <a:pt x="198" y="316"/>
                </a:cubicBezTo>
                <a:cubicBezTo>
                  <a:pt x="198" y="235"/>
                  <a:pt x="198" y="235"/>
                  <a:pt x="198" y="235"/>
                </a:cubicBezTo>
                <a:cubicBezTo>
                  <a:pt x="198" y="215"/>
                  <a:pt x="215" y="199"/>
                  <a:pt x="235" y="199"/>
                </a:cubicBezTo>
                <a:cubicBezTo>
                  <a:pt x="315" y="199"/>
                  <a:pt x="315" y="199"/>
                  <a:pt x="315" y="199"/>
                </a:cubicBezTo>
                <a:cubicBezTo>
                  <a:pt x="336" y="199"/>
                  <a:pt x="352" y="215"/>
                  <a:pt x="352" y="235"/>
                </a:cubicBezTo>
                <a:close/>
                <a:moveTo>
                  <a:pt x="526" y="139"/>
                </a:moveTo>
                <a:cubicBezTo>
                  <a:pt x="526" y="76"/>
                  <a:pt x="475" y="24"/>
                  <a:pt x="412" y="24"/>
                </a:cubicBezTo>
                <a:cubicBezTo>
                  <a:pt x="412" y="0"/>
                  <a:pt x="412" y="0"/>
                  <a:pt x="412" y="0"/>
                </a:cubicBezTo>
                <a:cubicBezTo>
                  <a:pt x="378" y="0"/>
                  <a:pt x="378" y="0"/>
                  <a:pt x="378" y="0"/>
                </a:cubicBezTo>
                <a:cubicBezTo>
                  <a:pt x="378" y="75"/>
                  <a:pt x="378" y="75"/>
                  <a:pt x="378" y="75"/>
                </a:cubicBezTo>
                <a:cubicBezTo>
                  <a:pt x="412" y="75"/>
                  <a:pt x="412" y="75"/>
                  <a:pt x="412" y="75"/>
                </a:cubicBezTo>
                <a:cubicBezTo>
                  <a:pt x="412" y="50"/>
                  <a:pt x="412" y="50"/>
                  <a:pt x="412" y="50"/>
                </a:cubicBezTo>
                <a:cubicBezTo>
                  <a:pt x="461" y="50"/>
                  <a:pt x="501" y="90"/>
                  <a:pt x="501" y="139"/>
                </a:cubicBezTo>
                <a:cubicBezTo>
                  <a:pt x="476" y="139"/>
                  <a:pt x="476" y="139"/>
                  <a:pt x="476" y="139"/>
                </a:cubicBezTo>
                <a:cubicBezTo>
                  <a:pt x="476" y="173"/>
                  <a:pt x="476" y="173"/>
                  <a:pt x="476" y="173"/>
                </a:cubicBezTo>
                <a:cubicBezTo>
                  <a:pt x="551" y="173"/>
                  <a:pt x="551" y="173"/>
                  <a:pt x="551" y="173"/>
                </a:cubicBezTo>
                <a:cubicBezTo>
                  <a:pt x="551" y="139"/>
                  <a:pt x="551" y="139"/>
                  <a:pt x="551" y="139"/>
                </a:cubicBezTo>
                <a:lnTo>
                  <a:pt x="526" y="139"/>
                </a:lnTo>
                <a:close/>
                <a:moveTo>
                  <a:pt x="476" y="233"/>
                </a:moveTo>
                <a:cubicBezTo>
                  <a:pt x="551" y="233"/>
                  <a:pt x="551" y="233"/>
                  <a:pt x="551" y="233"/>
                </a:cubicBezTo>
                <a:cubicBezTo>
                  <a:pt x="551" y="199"/>
                  <a:pt x="551" y="199"/>
                  <a:pt x="551" y="199"/>
                </a:cubicBezTo>
                <a:cubicBezTo>
                  <a:pt x="476" y="199"/>
                  <a:pt x="476" y="199"/>
                  <a:pt x="476" y="199"/>
                </a:cubicBezTo>
                <a:lnTo>
                  <a:pt x="476" y="233"/>
                </a:lnTo>
                <a:close/>
                <a:moveTo>
                  <a:pt x="476" y="292"/>
                </a:moveTo>
                <a:cubicBezTo>
                  <a:pt x="551" y="292"/>
                  <a:pt x="551" y="292"/>
                  <a:pt x="551" y="292"/>
                </a:cubicBezTo>
                <a:cubicBezTo>
                  <a:pt x="551" y="258"/>
                  <a:pt x="551" y="258"/>
                  <a:pt x="551" y="258"/>
                </a:cubicBezTo>
                <a:cubicBezTo>
                  <a:pt x="476" y="258"/>
                  <a:pt x="476" y="258"/>
                  <a:pt x="476" y="258"/>
                </a:cubicBezTo>
                <a:lnTo>
                  <a:pt x="476" y="292"/>
                </a:lnTo>
                <a:close/>
                <a:moveTo>
                  <a:pt x="476" y="352"/>
                </a:moveTo>
                <a:cubicBezTo>
                  <a:pt x="551" y="352"/>
                  <a:pt x="551" y="352"/>
                  <a:pt x="551" y="352"/>
                </a:cubicBezTo>
                <a:cubicBezTo>
                  <a:pt x="551" y="318"/>
                  <a:pt x="551" y="318"/>
                  <a:pt x="551" y="318"/>
                </a:cubicBezTo>
                <a:cubicBezTo>
                  <a:pt x="476" y="318"/>
                  <a:pt x="476" y="318"/>
                  <a:pt x="476" y="318"/>
                </a:cubicBezTo>
                <a:lnTo>
                  <a:pt x="476" y="352"/>
                </a:lnTo>
                <a:close/>
                <a:moveTo>
                  <a:pt x="476" y="412"/>
                </a:moveTo>
                <a:cubicBezTo>
                  <a:pt x="501" y="412"/>
                  <a:pt x="501" y="412"/>
                  <a:pt x="501" y="412"/>
                </a:cubicBezTo>
                <a:cubicBezTo>
                  <a:pt x="501" y="461"/>
                  <a:pt x="461" y="501"/>
                  <a:pt x="412" y="501"/>
                </a:cubicBezTo>
                <a:cubicBezTo>
                  <a:pt x="412" y="476"/>
                  <a:pt x="412" y="476"/>
                  <a:pt x="412" y="476"/>
                </a:cubicBezTo>
                <a:cubicBezTo>
                  <a:pt x="378" y="476"/>
                  <a:pt x="378" y="476"/>
                  <a:pt x="378" y="476"/>
                </a:cubicBezTo>
                <a:cubicBezTo>
                  <a:pt x="378" y="551"/>
                  <a:pt x="378" y="551"/>
                  <a:pt x="378" y="551"/>
                </a:cubicBezTo>
                <a:cubicBezTo>
                  <a:pt x="412" y="551"/>
                  <a:pt x="412" y="551"/>
                  <a:pt x="412" y="551"/>
                </a:cubicBezTo>
                <a:cubicBezTo>
                  <a:pt x="412" y="526"/>
                  <a:pt x="412" y="526"/>
                  <a:pt x="412" y="526"/>
                </a:cubicBezTo>
                <a:cubicBezTo>
                  <a:pt x="475" y="526"/>
                  <a:pt x="526" y="475"/>
                  <a:pt x="526" y="412"/>
                </a:cubicBezTo>
                <a:cubicBezTo>
                  <a:pt x="551" y="412"/>
                  <a:pt x="551" y="412"/>
                  <a:pt x="551" y="412"/>
                </a:cubicBezTo>
                <a:cubicBezTo>
                  <a:pt x="551" y="378"/>
                  <a:pt x="551" y="378"/>
                  <a:pt x="551" y="378"/>
                </a:cubicBezTo>
                <a:cubicBezTo>
                  <a:pt x="476" y="378"/>
                  <a:pt x="476" y="378"/>
                  <a:pt x="476" y="378"/>
                </a:cubicBezTo>
                <a:lnTo>
                  <a:pt x="476" y="412"/>
                </a:lnTo>
                <a:close/>
                <a:moveTo>
                  <a:pt x="74" y="139"/>
                </a:moveTo>
                <a:cubicBezTo>
                  <a:pt x="50" y="139"/>
                  <a:pt x="50" y="139"/>
                  <a:pt x="50" y="139"/>
                </a:cubicBezTo>
                <a:cubicBezTo>
                  <a:pt x="50" y="90"/>
                  <a:pt x="90" y="50"/>
                  <a:pt x="139" y="50"/>
                </a:cubicBezTo>
                <a:cubicBezTo>
                  <a:pt x="139" y="75"/>
                  <a:pt x="139" y="75"/>
                  <a:pt x="139" y="75"/>
                </a:cubicBezTo>
                <a:cubicBezTo>
                  <a:pt x="173" y="75"/>
                  <a:pt x="173" y="75"/>
                  <a:pt x="173" y="75"/>
                </a:cubicBezTo>
                <a:cubicBezTo>
                  <a:pt x="173" y="0"/>
                  <a:pt x="173" y="0"/>
                  <a:pt x="17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39" y="24"/>
                  <a:pt x="139" y="24"/>
                  <a:pt x="139" y="24"/>
                </a:cubicBezTo>
                <a:cubicBezTo>
                  <a:pt x="76" y="24"/>
                  <a:pt x="24" y="76"/>
                  <a:pt x="24" y="139"/>
                </a:cubicBezTo>
                <a:cubicBezTo>
                  <a:pt x="0" y="139"/>
                  <a:pt x="0" y="139"/>
                  <a:pt x="0" y="139"/>
                </a:cubicBezTo>
                <a:cubicBezTo>
                  <a:pt x="0" y="173"/>
                  <a:pt x="0" y="173"/>
                  <a:pt x="0" y="173"/>
                </a:cubicBezTo>
                <a:cubicBezTo>
                  <a:pt x="74" y="173"/>
                  <a:pt x="74" y="173"/>
                  <a:pt x="74" y="173"/>
                </a:cubicBezTo>
                <a:lnTo>
                  <a:pt x="74" y="139"/>
                </a:lnTo>
                <a:close/>
                <a:moveTo>
                  <a:pt x="74" y="199"/>
                </a:moveTo>
                <a:cubicBezTo>
                  <a:pt x="0" y="199"/>
                  <a:pt x="0" y="199"/>
                  <a:pt x="0" y="199"/>
                </a:cubicBezTo>
                <a:cubicBezTo>
                  <a:pt x="0" y="233"/>
                  <a:pt x="0" y="233"/>
                  <a:pt x="0" y="233"/>
                </a:cubicBezTo>
                <a:cubicBezTo>
                  <a:pt x="74" y="233"/>
                  <a:pt x="74" y="233"/>
                  <a:pt x="74" y="233"/>
                </a:cubicBezTo>
                <a:lnTo>
                  <a:pt x="74" y="199"/>
                </a:lnTo>
                <a:close/>
                <a:moveTo>
                  <a:pt x="74" y="258"/>
                </a:moveTo>
                <a:cubicBezTo>
                  <a:pt x="0" y="258"/>
                  <a:pt x="0" y="258"/>
                  <a:pt x="0" y="258"/>
                </a:cubicBezTo>
                <a:cubicBezTo>
                  <a:pt x="0" y="292"/>
                  <a:pt x="0" y="292"/>
                  <a:pt x="0" y="292"/>
                </a:cubicBezTo>
                <a:cubicBezTo>
                  <a:pt x="74" y="292"/>
                  <a:pt x="74" y="292"/>
                  <a:pt x="74" y="292"/>
                </a:cubicBezTo>
                <a:lnTo>
                  <a:pt x="74" y="258"/>
                </a:lnTo>
                <a:close/>
                <a:moveTo>
                  <a:pt x="74" y="318"/>
                </a:moveTo>
                <a:cubicBezTo>
                  <a:pt x="0" y="318"/>
                  <a:pt x="0" y="318"/>
                  <a:pt x="0" y="318"/>
                </a:cubicBezTo>
                <a:cubicBezTo>
                  <a:pt x="0" y="352"/>
                  <a:pt x="0" y="352"/>
                  <a:pt x="0" y="352"/>
                </a:cubicBezTo>
                <a:cubicBezTo>
                  <a:pt x="74" y="352"/>
                  <a:pt x="74" y="352"/>
                  <a:pt x="74" y="352"/>
                </a:cubicBezTo>
                <a:lnTo>
                  <a:pt x="74" y="318"/>
                </a:lnTo>
                <a:close/>
                <a:moveTo>
                  <a:pt x="233" y="0"/>
                </a:moveTo>
                <a:cubicBezTo>
                  <a:pt x="199" y="0"/>
                  <a:pt x="199" y="0"/>
                  <a:pt x="199" y="0"/>
                </a:cubicBezTo>
                <a:cubicBezTo>
                  <a:pt x="199" y="75"/>
                  <a:pt x="199" y="75"/>
                  <a:pt x="199" y="75"/>
                </a:cubicBezTo>
                <a:cubicBezTo>
                  <a:pt x="233" y="75"/>
                  <a:pt x="233" y="75"/>
                  <a:pt x="233" y="75"/>
                </a:cubicBezTo>
                <a:lnTo>
                  <a:pt x="233" y="0"/>
                </a:lnTo>
                <a:close/>
                <a:moveTo>
                  <a:pt x="292" y="0"/>
                </a:moveTo>
                <a:cubicBezTo>
                  <a:pt x="258" y="0"/>
                  <a:pt x="258" y="0"/>
                  <a:pt x="258" y="0"/>
                </a:cubicBezTo>
                <a:cubicBezTo>
                  <a:pt x="258" y="75"/>
                  <a:pt x="258" y="75"/>
                  <a:pt x="258" y="75"/>
                </a:cubicBezTo>
                <a:cubicBezTo>
                  <a:pt x="292" y="75"/>
                  <a:pt x="292" y="75"/>
                  <a:pt x="292" y="75"/>
                </a:cubicBezTo>
                <a:lnTo>
                  <a:pt x="292" y="0"/>
                </a:lnTo>
                <a:close/>
                <a:moveTo>
                  <a:pt x="352" y="0"/>
                </a:moveTo>
                <a:cubicBezTo>
                  <a:pt x="318" y="0"/>
                  <a:pt x="318" y="0"/>
                  <a:pt x="318" y="0"/>
                </a:cubicBezTo>
                <a:cubicBezTo>
                  <a:pt x="318" y="75"/>
                  <a:pt x="318" y="75"/>
                  <a:pt x="318" y="75"/>
                </a:cubicBezTo>
                <a:cubicBezTo>
                  <a:pt x="352" y="75"/>
                  <a:pt x="352" y="75"/>
                  <a:pt x="352" y="75"/>
                </a:cubicBezTo>
                <a:lnTo>
                  <a:pt x="352" y="0"/>
                </a:lnTo>
                <a:close/>
                <a:moveTo>
                  <a:pt x="139" y="501"/>
                </a:moveTo>
                <a:cubicBezTo>
                  <a:pt x="90" y="501"/>
                  <a:pt x="50" y="461"/>
                  <a:pt x="50" y="412"/>
                </a:cubicBezTo>
                <a:cubicBezTo>
                  <a:pt x="74" y="412"/>
                  <a:pt x="74" y="412"/>
                  <a:pt x="74" y="412"/>
                </a:cubicBezTo>
                <a:cubicBezTo>
                  <a:pt x="74" y="378"/>
                  <a:pt x="74" y="378"/>
                  <a:pt x="74" y="378"/>
                </a:cubicBezTo>
                <a:cubicBezTo>
                  <a:pt x="0" y="378"/>
                  <a:pt x="0" y="378"/>
                  <a:pt x="0" y="378"/>
                </a:cubicBezTo>
                <a:cubicBezTo>
                  <a:pt x="0" y="412"/>
                  <a:pt x="0" y="412"/>
                  <a:pt x="0" y="412"/>
                </a:cubicBezTo>
                <a:cubicBezTo>
                  <a:pt x="24" y="412"/>
                  <a:pt x="24" y="412"/>
                  <a:pt x="24" y="412"/>
                </a:cubicBezTo>
                <a:cubicBezTo>
                  <a:pt x="24" y="475"/>
                  <a:pt x="76" y="526"/>
                  <a:pt x="139" y="526"/>
                </a:cubicBezTo>
                <a:cubicBezTo>
                  <a:pt x="139" y="551"/>
                  <a:pt x="139" y="551"/>
                  <a:pt x="139" y="551"/>
                </a:cubicBezTo>
                <a:cubicBezTo>
                  <a:pt x="173" y="551"/>
                  <a:pt x="173" y="551"/>
                  <a:pt x="173" y="551"/>
                </a:cubicBezTo>
                <a:cubicBezTo>
                  <a:pt x="173" y="476"/>
                  <a:pt x="173" y="476"/>
                  <a:pt x="173" y="476"/>
                </a:cubicBezTo>
                <a:cubicBezTo>
                  <a:pt x="139" y="476"/>
                  <a:pt x="139" y="476"/>
                  <a:pt x="139" y="476"/>
                </a:cubicBezTo>
                <a:lnTo>
                  <a:pt x="139" y="501"/>
                </a:lnTo>
                <a:close/>
                <a:moveTo>
                  <a:pt x="199" y="551"/>
                </a:moveTo>
                <a:cubicBezTo>
                  <a:pt x="233" y="551"/>
                  <a:pt x="233" y="551"/>
                  <a:pt x="233" y="551"/>
                </a:cubicBezTo>
                <a:cubicBezTo>
                  <a:pt x="233" y="476"/>
                  <a:pt x="233" y="476"/>
                  <a:pt x="233" y="476"/>
                </a:cubicBezTo>
                <a:cubicBezTo>
                  <a:pt x="199" y="476"/>
                  <a:pt x="199" y="476"/>
                  <a:pt x="199" y="476"/>
                </a:cubicBezTo>
                <a:lnTo>
                  <a:pt x="199" y="551"/>
                </a:lnTo>
                <a:close/>
                <a:moveTo>
                  <a:pt x="258" y="551"/>
                </a:moveTo>
                <a:cubicBezTo>
                  <a:pt x="292" y="551"/>
                  <a:pt x="292" y="551"/>
                  <a:pt x="292" y="551"/>
                </a:cubicBezTo>
                <a:cubicBezTo>
                  <a:pt x="292" y="476"/>
                  <a:pt x="292" y="476"/>
                  <a:pt x="292" y="476"/>
                </a:cubicBezTo>
                <a:cubicBezTo>
                  <a:pt x="258" y="476"/>
                  <a:pt x="258" y="476"/>
                  <a:pt x="258" y="476"/>
                </a:cubicBezTo>
                <a:lnTo>
                  <a:pt x="258" y="551"/>
                </a:lnTo>
                <a:close/>
                <a:moveTo>
                  <a:pt x="318" y="551"/>
                </a:moveTo>
                <a:cubicBezTo>
                  <a:pt x="352" y="551"/>
                  <a:pt x="352" y="551"/>
                  <a:pt x="352" y="551"/>
                </a:cubicBezTo>
                <a:cubicBezTo>
                  <a:pt x="352" y="476"/>
                  <a:pt x="352" y="476"/>
                  <a:pt x="352" y="476"/>
                </a:cubicBezTo>
                <a:cubicBezTo>
                  <a:pt x="318" y="476"/>
                  <a:pt x="318" y="476"/>
                  <a:pt x="318" y="476"/>
                </a:cubicBezTo>
                <a:lnTo>
                  <a:pt x="318" y="55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CA2DD3F5-8A33-48BD-8EA0-E367DB848E6E}"/>
              </a:ext>
            </a:extLst>
          </p:cNvPr>
          <p:cNvSpPr/>
          <p:nvPr/>
        </p:nvSpPr>
        <p:spPr>
          <a:xfrm>
            <a:off x="4913228" y="2423174"/>
            <a:ext cx="2459006" cy="64620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359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ensing</a:t>
            </a:r>
            <a:endParaRPr lang="en-US" sz="359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="" xmlns:a16="http://schemas.microsoft.com/office/drawing/2014/main" id="{09180313-FD50-4334-A243-494ADD71ADC4}"/>
              </a:ext>
            </a:extLst>
          </p:cNvPr>
          <p:cNvCxnSpPr/>
          <p:nvPr/>
        </p:nvCxnSpPr>
        <p:spPr>
          <a:xfrm>
            <a:off x="3958313" y="4613061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="" xmlns:a16="http://schemas.microsoft.com/office/drawing/2014/main" id="{833A84F0-8398-4D6D-AEBD-51E62D968A09}"/>
              </a:ext>
            </a:extLst>
          </p:cNvPr>
          <p:cNvCxnSpPr/>
          <p:nvPr/>
        </p:nvCxnSpPr>
        <p:spPr>
          <a:xfrm>
            <a:off x="3958313" y="2346448"/>
            <a:ext cx="428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286684D1-44EB-48A0-B146-EAA580CAE1A2}"/>
              </a:ext>
            </a:extLst>
          </p:cNvPr>
          <p:cNvSpPr/>
          <p:nvPr/>
        </p:nvSpPr>
        <p:spPr>
          <a:xfrm>
            <a:off x="4082070" y="3738093"/>
            <a:ext cx="4166579" cy="64620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4799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telligence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986B7B33-0979-4D43-B2F2-737FCD64E43B}"/>
              </a:ext>
            </a:extLst>
          </p:cNvPr>
          <p:cNvSpPr/>
          <p:nvPr/>
        </p:nvSpPr>
        <p:spPr>
          <a:xfrm>
            <a:off x="4325406" y="3098712"/>
            <a:ext cx="3575018" cy="83086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359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onnection</a:t>
            </a:r>
          </a:p>
        </p:txBody>
      </p:sp>
    </p:spTree>
    <p:extLst>
      <p:ext uri="{BB962C8B-B14F-4D97-AF65-F5344CB8AC3E}">
        <p14:creationId xmlns:p14="http://schemas.microsoft.com/office/powerpoint/2010/main" val="50474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="" xmlns:a16="http://schemas.microsoft.com/office/drawing/2014/main" id="{5D32A258-1E94-4E4A-B5C6-601467521F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97" r="16089"/>
          <a:stretch/>
        </p:blipFill>
        <p:spPr>
          <a:xfrm>
            <a:off x="1" y="24270"/>
            <a:ext cx="12192000" cy="6858113"/>
          </a:xfrm>
          <a:prstGeom prst="rect">
            <a:avLst/>
          </a:prstGeom>
        </p:spPr>
      </p:pic>
      <p:sp>
        <p:nvSpPr>
          <p:cNvPr id="118" name="矩形 117">
            <a:extLst>
              <a:ext uri="{FF2B5EF4-FFF2-40B4-BE49-F238E27FC236}">
                <a16:creationId xmlns="" xmlns:a16="http://schemas.microsoft.com/office/drawing/2014/main" id="{895520C8-04DD-4123-ACDC-FEBFB1F3E43E}"/>
              </a:ext>
            </a:extLst>
          </p:cNvPr>
          <p:cNvSpPr/>
          <p:nvPr/>
        </p:nvSpPr>
        <p:spPr>
          <a:xfrm>
            <a:off x="-6947" y="99"/>
            <a:ext cx="12285759" cy="6949254"/>
          </a:xfrm>
          <a:prstGeom prst="rect">
            <a:avLst/>
          </a:prstGeom>
          <a:gradFill>
            <a:gsLst>
              <a:gs pos="100000">
                <a:schemeClr val="tx2">
                  <a:lumMod val="50000"/>
                </a:schemeClr>
              </a:gs>
              <a:gs pos="0">
                <a:srgbClr val="07101B"/>
              </a:gs>
              <a:gs pos="57000">
                <a:srgbClr val="07101B">
                  <a:alpha val="40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119" name="图片 118">
            <a:extLst>
              <a:ext uri="{FF2B5EF4-FFF2-40B4-BE49-F238E27FC236}">
                <a16:creationId xmlns="" xmlns:a16="http://schemas.microsoft.com/office/drawing/2014/main" id="{7D714BA5-DB61-4F38-8A1A-C073B4DF73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671" y="1916078"/>
            <a:ext cx="4573204" cy="3571455"/>
          </a:xfrm>
          <a:prstGeom prst="rect">
            <a:avLst/>
          </a:prstGeom>
        </p:spPr>
      </p:pic>
      <p:sp>
        <p:nvSpPr>
          <p:cNvPr id="120" name="TextBox 2">
            <a:extLst>
              <a:ext uri="{FF2B5EF4-FFF2-40B4-BE49-F238E27FC236}">
                <a16:creationId xmlns="" xmlns:a16="http://schemas.microsoft.com/office/drawing/2014/main" id="{B8D3C377-87F8-48D3-9385-FAFC2EB0FA27}"/>
              </a:ext>
            </a:extLst>
          </p:cNvPr>
          <p:cNvSpPr txBox="1"/>
          <p:nvPr/>
        </p:nvSpPr>
        <p:spPr>
          <a:xfrm>
            <a:off x="541281" y="365692"/>
            <a:ext cx="10156346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OC Acts as the City Brain and Supports Scientific City Management and Decision-Making based on Big Data.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1" name="任意多边形 119">
            <a:extLst>
              <a:ext uri="{FF2B5EF4-FFF2-40B4-BE49-F238E27FC236}">
                <a16:creationId xmlns="" xmlns:a16="http://schemas.microsoft.com/office/drawing/2014/main" id="{B5D0E2DB-3BE2-4B84-A064-3F2926A4DC04}"/>
              </a:ext>
            </a:extLst>
          </p:cNvPr>
          <p:cNvSpPr>
            <a:spLocks noChangeAspect="1"/>
          </p:cNvSpPr>
          <p:nvPr/>
        </p:nvSpPr>
        <p:spPr>
          <a:xfrm>
            <a:off x="8994447" y="1507302"/>
            <a:ext cx="2645248" cy="4174097"/>
          </a:xfrm>
          <a:custGeom>
            <a:avLst/>
            <a:gdLst/>
            <a:ahLst/>
            <a:cxnLst/>
            <a:rect l="l" t="t" r="r" b="b"/>
            <a:pathLst>
              <a:path w="2645937" h="4105393">
                <a:moveTo>
                  <a:pt x="404890" y="3192501"/>
                </a:moveTo>
                <a:lnTo>
                  <a:pt x="807526" y="3391055"/>
                </a:lnTo>
                <a:lnTo>
                  <a:pt x="807526" y="3906839"/>
                </a:lnTo>
                <a:lnTo>
                  <a:pt x="404890" y="4105393"/>
                </a:lnTo>
                <a:lnTo>
                  <a:pt x="2256" y="3906839"/>
                </a:lnTo>
                <a:lnTo>
                  <a:pt x="2256" y="3391055"/>
                </a:lnTo>
                <a:close/>
                <a:moveTo>
                  <a:pt x="1324410" y="3183238"/>
                </a:moveTo>
                <a:lnTo>
                  <a:pt x="1727046" y="3381792"/>
                </a:lnTo>
                <a:lnTo>
                  <a:pt x="1727046" y="3897576"/>
                </a:lnTo>
                <a:lnTo>
                  <a:pt x="1324410" y="4096130"/>
                </a:lnTo>
                <a:lnTo>
                  <a:pt x="921776" y="3897576"/>
                </a:lnTo>
                <a:lnTo>
                  <a:pt x="921776" y="3381792"/>
                </a:lnTo>
                <a:close/>
                <a:moveTo>
                  <a:pt x="2223634" y="3180778"/>
                </a:moveTo>
                <a:lnTo>
                  <a:pt x="2626270" y="3379332"/>
                </a:lnTo>
                <a:lnTo>
                  <a:pt x="2626270" y="3895116"/>
                </a:lnTo>
                <a:lnTo>
                  <a:pt x="2223634" y="4093670"/>
                </a:lnTo>
                <a:lnTo>
                  <a:pt x="1821000" y="3895116"/>
                </a:lnTo>
                <a:lnTo>
                  <a:pt x="1821000" y="3379332"/>
                </a:lnTo>
                <a:close/>
                <a:moveTo>
                  <a:pt x="856806" y="2396451"/>
                </a:moveTo>
                <a:lnTo>
                  <a:pt x="1259441" y="2595005"/>
                </a:lnTo>
                <a:lnTo>
                  <a:pt x="1259441" y="3110789"/>
                </a:lnTo>
                <a:lnTo>
                  <a:pt x="856806" y="3309343"/>
                </a:lnTo>
                <a:lnTo>
                  <a:pt x="454171" y="3110789"/>
                </a:lnTo>
                <a:lnTo>
                  <a:pt x="454171" y="2595005"/>
                </a:lnTo>
                <a:close/>
                <a:moveTo>
                  <a:pt x="1779618" y="2387188"/>
                </a:moveTo>
                <a:lnTo>
                  <a:pt x="2182254" y="2585742"/>
                </a:lnTo>
                <a:lnTo>
                  <a:pt x="2182254" y="3101526"/>
                </a:lnTo>
                <a:lnTo>
                  <a:pt x="1779618" y="3300080"/>
                </a:lnTo>
                <a:lnTo>
                  <a:pt x="1376984" y="3101526"/>
                </a:lnTo>
                <a:lnTo>
                  <a:pt x="1376984" y="2585742"/>
                </a:lnTo>
                <a:close/>
                <a:moveTo>
                  <a:pt x="1323780" y="1605150"/>
                </a:moveTo>
                <a:lnTo>
                  <a:pt x="1726415" y="1803704"/>
                </a:lnTo>
                <a:lnTo>
                  <a:pt x="1726415" y="2319488"/>
                </a:lnTo>
                <a:lnTo>
                  <a:pt x="1323780" y="2518042"/>
                </a:lnTo>
                <a:lnTo>
                  <a:pt x="921145" y="2319488"/>
                </a:lnTo>
                <a:lnTo>
                  <a:pt x="921145" y="1803704"/>
                </a:lnTo>
                <a:close/>
                <a:moveTo>
                  <a:pt x="402634" y="1596735"/>
                </a:moveTo>
                <a:lnTo>
                  <a:pt x="805270" y="1795289"/>
                </a:lnTo>
                <a:lnTo>
                  <a:pt x="805270" y="2311073"/>
                </a:lnTo>
                <a:lnTo>
                  <a:pt x="402634" y="2509627"/>
                </a:lnTo>
                <a:lnTo>
                  <a:pt x="0" y="2311073"/>
                </a:lnTo>
                <a:lnTo>
                  <a:pt x="0" y="1795289"/>
                </a:lnTo>
                <a:close/>
                <a:moveTo>
                  <a:pt x="2243302" y="1587350"/>
                </a:moveTo>
                <a:lnTo>
                  <a:pt x="2645937" y="1785904"/>
                </a:lnTo>
                <a:lnTo>
                  <a:pt x="2645937" y="2301688"/>
                </a:lnTo>
                <a:lnTo>
                  <a:pt x="2243302" y="2500242"/>
                </a:lnTo>
                <a:lnTo>
                  <a:pt x="1840667" y="2301688"/>
                </a:lnTo>
                <a:lnTo>
                  <a:pt x="1840667" y="1785904"/>
                </a:lnTo>
                <a:close/>
                <a:moveTo>
                  <a:pt x="1767796" y="793273"/>
                </a:moveTo>
                <a:lnTo>
                  <a:pt x="2170431" y="991827"/>
                </a:lnTo>
                <a:lnTo>
                  <a:pt x="2170431" y="1507611"/>
                </a:lnTo>
                <a:lnTo>
                  <a:pt x="1767796" y="1706165"/>
                </a:lnTo>
                <a:lnTo>
                  <a:pt x="1365161" y="1507611"/>
                </a:lnTo>
                <a:lnTo>
                  <a:pt x="1365161" y="991827"/>
                </a:lnTo>
                <a:close/>
                <a:moveTo>
                  <a:pt x="860382" y="793272"/>
                </a:moveTo>
                <a:lnTo>
                  <a:pt x="1263018" y="991826"/>
                </a:lnTo>
                <a:lnTo>
                  <a:pt x="1263018" y="1507610"/>
                </a:lnTo>
                <a:lnTo>
                  <a:pt x="860382" y="1706164"/>
                </a:lnTo>
                <a:lnTo>
                  <a:pt x="457748" y="1507610"/>
                </a:lnTo>
                <a:lnTo>
                  <a:pt x="457748" y="991826"/>
                </a:lnTo>
                <a:close/>
                <a:moveTo>
                  <a:pt x="1318130" y="0"/>
                </a:moveTo>
                <a:lnTo>
                  <a:pt x="1720766" y="198554"/>
                </a:lnTo>
                <a:lnTo>
                  <a:pt x="1720766" y="714338"/>
                </a:lnTo>
                <a:lnTo>
                  <a:pt x="1318130" y="912892"/>
                </a:lnTo>
                <a:lnTo>
                  <a:pt x="915496" y="714338"/>
                </a:lnTo>
                <a:lnTo>
                  <a:pt x="915496" y="198554"/>
                </a:lnTo>
                <a:close/>
              </a:path>
            </a:pathLst>
          </a:cu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  <a:cs typeface="Calibri" pitchFamily="34" charset="0"/>
            </a:endParaRPr>
          </a:p>
        </p:txBody>
      </p:sp>
      <p:sp>
        <p:nvSpPr>
          <p:cNvPr id="122" name="矩形 121">
            <a:extLst>
              <a:ext uri="{FF2B5EF4-FFF2-40B4-BE49-F238E27FC236}">
                <a16:creationId xmlns="" xmlns:a16="http://schemas.microsoft.com/office/drawing/2014/main" id="{B64097A5-12E1-45F8-A563-620636841390}"/>
              </a:ext>
            </a:extLst>
          </p:cNvPr>
          <p:cNvSpPr>
            <a:spLocks noChangeAspect="1"/>
          </p:cNvSpPr>
          <p:nvPr/>
        </p:nvSpPr>
        <p:spPr>
          <a:xfrm>
            <a:off x="9943568" y="1916050"/>
            <a:ext cx="746999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Economy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3" name="矩形 122">
            <a:extLst>
              <a:ext uri="{FF2B5EF4-FFF2-40B4-BE49-F238E27FC236}">
                <a16:creationId xmlns="" xmlns:a16="http://schemas.microsoft.com/office/drawing/2014/main" id="{1A00F006-9BF9-4533-A762-83D9D32CF067}"/>
              </a:ext>
            </a:extLst>
          </p:cNvPr>
          <p:cNvSpPr>
            <a:spLocks noChangeAspect="1"/>
          </p:cNvSpPr>
          <p:nvPr/>
        </p:nvSpPr>
        <p:spPr>
          <a:xfrm>
            <a:off x="9993261" y="5086124"/>
            <a:ext cx="647614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Security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4" name="矩形 123">
            <a:extLst>
              <a:ext uri="{FF2B5EF4-FFF2-40B4-BE49-F238E27FC236}">
                <a16:creationId xmlns="" xmlns:a16="http://schemas.microsoft.com/office/drawing/2014/main" id="{A5163133-C2FA-4D39-9AAA-E673A58DAC7C}"/>
              </a:ext>
            </a:extLst>
          </p:cNvPr>
          <p:cNvSpPr>
            <a:spLocks noChangeAspect="1"/>
          </p:cNvSpPr>
          <p:nvPr/>
        </p:nvSpPr>
        <p:spPr>
          <a:xfrm>
            <a:off x="8894384" y="5086124"/>
            <a:ext cx="984244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Government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5" name="矩形 124">
            <a:extLst>
              <a:ext uri="{FF2B5EF4-FFF2-40B4-BE49-F238E27FC236}">
                <a16:creationId xmlns="" xmlns:a16="http://schemas.microsoft.com/office/drawing/2014/main" id="{AB599F39-6AFD-4965-949B-C792CD9D3FAD}"/>
              </a:ext>
            </a:extLst>
          </p:cNvPr>
          <p:cNvSpPr>
            <a:spLocks noChangeAspect="1"/>
          </p:cNvSpPr>
          <p:nvPr/>
        </p:nvSpPr>
        <p:spPr>
          <a:xfrm>
            <a:off x="10917081" y="5070583"/>
            <a:ext cx="714254" cy="24051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Public opinions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6" name="矩形 125">
            <a:extLst>
              <a:ext uri="{FF2B5EF4-FFF2-40B4-BE49-F238E27FC236}">
                <a16:creationId xmlns="" xmlns:a16="http://schemas.microsoft.com/office/drawing/2014/main" id="{0A67BB13-F69E-4817-B83F-8018CEBA6B6B}"/>
              </a:ext>
            </a:extLst>
          </p:cNvPr>
          <p:cNvSpPr>
            <a:spLocks noChangeAspect="1"/>
          </p:cNvSpPr>
          <p:nvPr/>
        </p:nvSpPr>
        <p:spPr>
          <a:xfrm>
            <a:off x="10317160" y="4308862"/>
            <a:ext cx="865623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Healthcare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7" name="矩形 126">
            <a:extLst>
              <a:ext uri="{FF2B5EF4-FFF2-40B4-BE49-F238E27FC236}">
                <a16:creationId xmlns="" xmlns:a16="http://schemas.microsoft.com/office/drawing/2014/main" id="{77FEFEE4-581A-45FE-8F8A-CB2F0905EF9E}"/>
              </a:ext>
            </a:extLst>
          </p:cNvPr>
          <p:cNvSpPr>
            <a:spLocks noChangeAspect="1"/>
          </p:cNvSpPr>
          <p:nvPr/>
        </p:nvSpPr>
        <p:spPr>
          <a:xfrm>
            <a:off x="9421062" y="4308862"/>
            <a:ext cx="796693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Education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8" name="矩形 127">
            <a:extLst>
              <a:ext uri="{FF2B5EF4-FFF2-40B4-BE49-F238E27FC236}">
                <a16:creationId xmlns="" xmlns:a16="http://schemas.microsoft.com/office/drawing/2014/main" id="{FC15FF63-41F8-4D0A-BCFC-F5645DB74684}"/>
              </a:ext>
            </a:extLst>
          </p:cNvPr>
          <p:cNvSpPr>
            <a:spLocks noChangeAspect="1"/>
          </p:cNvSpPr>
          <p:nvPr/>
        </p:nvSpPr>
        <p:spPr>
          <a:xfrm>
            <a:off x="9864219" y="3502361"/>
            <a:ext cx="905697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Emergency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9" name="矩形 128">
            <a:extLst>
              <a:ext uri="{FF2B5EF4-FFF2-40B4-BE49-F238E27FC236}">
                <a16:creationId xmlns="" xmlns:a16="http://schemas.microsoft.com/office/drawing/2014/main" id="{717C4330-9A28-4F82-87A1-537E7BE967A6}"/>
              </a:ext>
            </a:extLst>
          </p:cNvPr>
          <p:cNvSpPr>
            <a:spLocks noChangeAspect="1"/>
          </p:cNvSpPr>
          <p:nvPr/>
        </p:nvSpPr>
        <p:spPr>
          <a:xfrm>
            <a:off x="8883964" y="3502361"/>
            <a:ext cx="1005083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Environment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0" name="矩形 129">
            <a:extLst>
              <a:ext uri="{FF2B5EF4-FFF2-40B4-BE49-F238E27FC236}">
                <a16:creationId xmlns="" xmlns:a16="http://schemas.microsoft.com/office/drawing/2014/main" id="{46A1644B-9859-4344-8983-016BEF4AE59C}"/>
              </a:ext>
            </a:extLst>
          </p:cNvPr>
          <p:cNvSpPr>
            <a:spLocks noChangeAspect="1"/>
          </p:cNvSpPr>
          <p:nvPr/>
        </p:nvSpPr>
        <p:spPr>
          <a:xfrm>
            <a:off x="10735511" y="3427477"/>
            <a:ext cx="1000873" cy="29032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ity management</a:t>
            </a:r>
            <a:endParaRPr lang="en-US"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131" name="矩形 130">
            <a:extLst>
              <a:ext uri="{FF2B5EF4-FFF2-40B4-BE49-F238E27FC236}">
                <a16:creationId xmlns="" xmlns:a16="http://schemas.microsoft.com/office/drawing/2014/main" id="{35FC7B4E-F5BD-4785-9E74-97A45B2BBB4E}"/>
              </a:ext>
            </a:extLst>
          </p:cNvPr>
          <p:cNvSpPr>
            <a:spLocks noChangeAspect="1"/>
          </p:cNvSpPr>
          <p:nvPr/>
        </p:nvSpPr>
        <p:spPr>
          <a:xfrm>
            <a:off x="10419041" y="2689652"/>
            <a:ext cx="702288" cy="236271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Water affairs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2" name="矩形 131">
            <a:extLst>
              <a:ext uri="{FF2B5EF4-FFF2-40B4-BE49-F238E27FC236}">
                <a16:creationId xmlns="" xmlns:a16="http://schemas.microsoft.com/office/drawing/2014/main" id="{4941E7D0-1A80-4C3E-B6BB-67D5E9C38E10}"/>
              </a:ext>
            </a:extLst>
          </p:cNvPr>
          <p:cNvSpPr>
            <a:spLocks noChangeAspect="1"/>
          </p:cNvSpPr>
          <p:nvPr/>
        </p:nvSpPr>
        <p:spPr>
          <a:xfrm>
            <a:off x="9291273" y="2680226"/>
            <a:ext cx="1145891" cy="2154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defTabSz="1219078" fontAlgn="ctr"/>
            <a:r>
              <a:rPr lang="en-US" sz="105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Transportation</a:t>
            </a:r>
            <a:endParaRPr lang="en-US" altLang="zh-CN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3" name="Freeform 16">
            <a:extLst>
              <a:ext uri="{FF2B5EF4-FFF2-40B4-BE49-F238E27FC236}">
                <a16:creationId xmlns="" xmlns:a16="http://schemas.microsoft.com/office/drawing/2014/main" id="{98DBFBC5-F17B-41DC-8578-DD3A14390658}"/>
              </a:ext>
            </a:extLst>
          </p:cNvPr>
          <p:cNvSpPr>
            <a:spLocks/>
          </p:cNvSpPr>
          <p:nvPr/>
        </p:nvSpPr>
        <p:spPr bwMode="auto">
          <a:xfrm rot="16200000">
            <a:off x="634764" y="3094799"/>
            <a:ext cx="4041149" cy="1051275"/>
          </a:xfrm>
          <a:custGeom>
            <a:avLst/>
            <a:gdLst>
              <a:gd name="T0" fmla="*/ 1190 w 1190"/>
              <a:gd name="T1" fmla="*/ 0 h 574"/>
              <a:gd name="T2" fmla="*/ 704 w 1190"/>
              <a:gd name="T3" fmla="*/ 0 h 574"/>
              <a:gd name="T4" fmla="*/ 595 w 1190"/>
              <a:gd name="T5" fmla="*/ 166 h 574"/>
              <a:gd name="T6" fmla="*/ 595 w 1190"/>
              <a:gd name="T7" fmla="*/ 166 h 574"/>
              <a:gd name="T8" fmla="*/ 595 w 1190"/>
              <a:gd name="T9" fmla="*/ 166 h 574"/>
              <a:gd name="T10" fmla="*/ 486 w 1190"/>
              <a:gd name="T11" fmla="*/ 0 h 574"/>
              <a:gd name="T12" fmla="*/ 0 w 1190"/>
              <a:gd name="T13" fmla="*/ 0 h 574"/>
              <a:gd name="T14" fmla="*/ 501 w 1190"/>
              <a:gd name="T15" fmla="*/ 424 h 574"/>
              <a:gd name="T16" fmla="*/ 501 w 1190"/>
              <a:gd name="T17" fmla="*/ 424 h 574"/>
              <a:gd name="T18" fmla="*/ 501 w 1190"/>
              <a:gd name="T19" fmla="*/ 424 h 574"/>
              <a:gd name="T20" fmla="*/ 501 w 1190"/>
              <a:gd name="T21" fmla="*/ 425 h 574"/>
              <a:gd name="T22" fmla="*/ 395 w 1190"/>
              <a:gd name="T23" fmla="*/ 425 h 574"/>
              <a:gd name="T24" fmla="*/ 598 w 1190"/>
              <a:gd name="T25" fmla="*/ 574 h 574"/>
              <a:gd name="T26" fmla="*/ 801 w 1190"/>
              <a:gd name="T27" fmla="*/ 425 h 574"/>
              <a:gd name="T28" fmla="*/ 689 w 1190"/>
              <a:gd name="T29" fmla="*/ 425 h 574"/>
              <a:gd name="T30" fmla="*/ 689 w 1190"/>
              <a:gd name="T31" fmla="*/ 424 h 574"/>
              <a:gd name="T32" fmla="*/ 1190 w 1190"/>
              <a:gd name="T33" fmla="*/ 0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90" h="574">
                <a:moveTo>
                  <a:pt x="1190" y="0"/>
                </a:moveTo>
                <a:cubicBezTo>
                  <a:pt x="704" y="0"/>
                  <a:pt x="704" y="0"/>
                  <a:pt x="704" y="0"/>
                </a:cubicBezTo>
                <a:cubicBezTo>
                  <a:pt x="704" y="0"/>
                  <a:pt x="649" y="65"/>
                  <a:pt x="595" y="166"/>
                </a:cubicBezTo>
                <a:cubicBezTo>
                  <a:pt x="595" y="166"/>
                  <a:pt x="595" y="166"/>
                  <a:pt x="595" y="166"/>
                </a:cubicBezTo>
                <a:cubicBezTo>
                  <a:pt x="595" y="166"/>
                  <a:pt x="595" y="166"/>
                  <a:pt x="595" y="166"/>
                </a:cubicBezTo>
                <a:cubicBezTo>
                  <a:pt x="541" y="65"/>
                  <a:pt x="486" y="0"/>
                  <a:pt x="486" y="0"/>
                </a:cubicBezTo>
                <a:cubicBezTo>
                  <a:pt x="0" y="0"/>
                  <a:pt x="0" y="0"/>
                  <a:pt x="0" y="0"/>
                </a:cubicBezTo>
                <a:cubicBezTo>
                  <a:pt x="313" y="135"/>
                  <a:pt x="468" y="369"/>
                  <a:pt x="501" y="424"/>
                </a:cubicBezTo>
                <a:cubicBezTo>
                  <a:pt x="501" y="424"/>
                  <a:pt x="501" y="424"/>
                  <a:pt x="501" y="424"/>
                </a:cubicBezTo>
                <a:cubicBezTo>
                  <a:pt x="501" y="424"/>
                  <a:pt x="501" y="424"/>
                  <a:pt x="501" y="424"/>
                </a:cubicBezTo>
                <a:cubicBezTo>
                  <a:pt x="501" y="424"/>
                  <a:pt x="501" y="424"/>
                  <a:pt x="501" y="425"/>
                </a:cubicBezTo>
                <a:cubicBezTo>
                  <a:pt x="395" y="425"/>
                  <a:pt x="395" y="425"/>
                  <a:pt x="395" y="425"/>
                </a:cubicBezTo>
                <a:cubicBezTo>
                  <a:pt x="598" y="574"/>
                  <a:pt x="598" y="574"/>
                  <a:pt x="598" y="574"/>
                </a:cubicBezTo>
                <a:cubicBezTo>
                  <a:pt x="801" y="425"/>
                  <a:pt x="801" y="425"/>
                  <a:pt x="801" y="425"/>
                </a:cubicBezTo>
                <a:cubicBezTo>
                  <a:pt x="689" y="425"/>
                  <a:pt x="689" y="425"/>
                  <a:pt x="689" y="425"/>
                </a:cubicBezTo>
                <a:cubicBezTo>
                  <a:pt x="689" y="424"/>
                  <a:pt x="689" y="424"/>
                  <a:pt x="689" y="424"/>
                </a:cubicBezTo>
                <a:cubicBezTo>
                  <a:pt x="722" y="369"/>
                  <a:pt x="877" y="135"/>
                  <a:pt x="1190" y="0"/>
                </a:cubicBezTo>
                <a:close/>
              </a:path>
            </a:pathLst>
          </a:cu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16200000" scaled="0"/>
          </a:gradFill>
          <a:ln w="9525">
            <a:gradFill>
              <a:gsLst>
                <a:gs pos="13000">
                  <a:srgbClr val="002060">
                    <a:alpha val="5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34" name="Freeform 16">
            <a:extLst>
              <a:ext uri="{FF2B5EF4-FFF2-40B4-BE49-F238E27FC236}">
                <a16:creationId xmlns="" xmlns:a16="http://schemas.microsoft.com/office/drawing/2014/main" id="{D8D2F521-18B7-4C8E-894C-E3C585193E0F}"/>
              </a:ext>
            </a:extLst>
          </p:cNvPr>
          <p:cNvSpPr>
            <a:spLocks/>
          </p:cNvSpPr>
          <p:nvPr/>
        </p:nvSpPr>
        <p:spPr bwMode="auto">
          <a:xfrm rot="16200000">
            <a:off x="6331562" y="3343939"/>
            <a:ext cx="4041149" cy="899766"/>
          </a:xfrm>
          <a:custGeom>
            <a:avLst/>
            <a:gdLst>
              <a:gd name="T0" fmla="*/ 1190 w 1190"/>
              <a:gd name="T1" fmla="*/ 0 h 574"/>
              <a:gd name="T2" fmla="*/ 704 w 1190"/>
              <a:gd name="T3" fmla="*/ 0 h 574"/>
              <a:gd name="T4" fmla="*/ 595 w 1190"/>
              <a:gd name="T5" fmla="*/ 166 h 574"/>
              <a:gd name="T6" fmla="*/ 595 w 1190"/>
              <a:gd name="T7" fmla="*/ 166 h 574"/>
              <a:gd name="T8" fmla="*/ 595 w 1190"/>
              <a:gd name="T9" fmla="*/ 166 h 574"/>
              <a:gd name="T10" fmla="*/ 486 w 1190"/>
              <a:gd name="T11" fmla="*/ 0 h 574"/>
              <a:gd name="T12" fmla="*/ 0 w 1190"/>
              <a:gd name="T13" fmla="*/ 0 h 574"/>
              <a:gd name="T14" fmla="*/ 501 w 1190"/>
              <a:gd name="T15" fmla="*/ 424 h 574"/>
              <a:gd name="T16" fmla="*/ 501 w 1190"/>
              <a:gd name="T17" fmla="*/ 424 h 574"/>
              <a:gd name="T18" fmla="*/ 501 w 1190"/>
              <a:gd name="T19" fmla="*/ 424 h 574"/>
              <a:gd name="T20" fmla="*/ 501 w 1190"/>
              <a:gd name="T21" fmla="*/ 425 h 574"/>
              <a:gd name="T22" fmla="*/ 395 w 1190"/>
              <a:gd name="T23" fmla="*/ 425 h 574"/>
              <a:gd name="T24" fmla="*/ 598 w 1190"/>
              <a:gd name="T25" fmla="*/ 574 h 574"/>
              <a:gd name="T26" fmla="*/ 801 w 1190"/>
              <a:gd name="T27" fmla="*/ 425 h 574"/>
              <a:gd name="T28" fmla="*/ 689 w 1190"/>
              <a:gd name="T29" fmla="*/ 425 h 574"/>
              <a:gd name="T30" fmla="*/ 689 w 1190"/>
              <a:gd name="T31" fmla="*/ 424 h 574"/>
              <a:gd name="T32" fmla="*/ 1190 w 1190"/>
              <a:gd name="T33" fmla="*/ 0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90" h="574">
                <a:moveTo>
                  <a:pt x="1190" y="0"/>
                </a:moveTo>
                <a:cubicBezTo>
                  <a:pt x="704" y="0"/>
                  <a:pt x="704" y="0"/>
                  <a:pt x="704" y="0"/>
                </a:cubicBezTo>
                <a:cubicBezTo>
                  <a:pt x="704" y="0"/>
                  <a:pt x="649" y="65"/>
                  <a:pt x="595" y="166"/>
                </a:cubicBezTo>
                <a:cubicBezTo>
                  <a:pt x="595" y="166"/>
                  <a:pt x="595" y="166"/>
                  <a:pt x="595" y="166"/>
                </a:cubicBezTo>
                <a:cubicBezTo>
                  <a:pt x="595" y="166"/>
                  <a:pt x="595" y="166"/>
                  <a:pt x="595" y="166"/>
                </a:cubicBezTo>
                <a:cubicBezTo>
                  <a:pt x="541" y="65"/>
                  <a:pt x="486" y="0"/>
                  <a:pt x="486" y="0"/>
                </a:cubicBezTo>
                <a:cubicBezTo>
                  <a:pt x="0" y="0"/>
                  <a:pt x="0" y="0"/>
                  <a:pt x="0" y="0"/>
                </a:cubicBezTo>
                <a:cubicBezTo>
                  <a:pt x="313" y="135"/>
                  <a:pt x="468" y="369"/>
                  <a:pt x="501" y="424"/>
                </a:cubicBezTo>
                <a:cubicBezTo>
                  <a:pt x="501" y="424"/>
                  <a:pt x="501" y="424"/>
                  <a:pt x="501" y="424"/>
                </a:cubicBezTo>
                <a:cubicBezTo>
                  <a:pt x="501" y="424"/>
                  <a:pt x="501" y="424"/>
                  <a:pt x="501" y="424"/>
                </a:cubicBezTo>
                <a:cubicBezTo>
                  <a:pt x="501" y="424"/>
                  <a:pt x="501" y="424"/>
                  <a:pt x="501" y="425"/>
                </a:cubicBezTo>
                <a:cubicBezTo>
                  <a:pt x="395" y="425"/>
                  <a:pt x="395" y="425"/>
                  <a:pt x="395" y="425"/>
                </a:cubicBezTo>
                <a:cubicBezTo>
                  <a:pt x="598" y="574"/>
                  <a:pt x="598" y="574"/>
                  <a:pt x="598" y="574"/>
                </a:cubicBezTo>
                <a:cubicBezTo>
                  <a:pt x="801" y="425"/>
                  <a:pt x="801" y="425"/>
                  <a:pt x="801" y="425"/>
                </a:cubicBezTo>
                <a:cubicBezTo>
                  <a:pt x="689" y="425"/>
                  <a:pt x="689" y="425"/>
                  <a:pt x="689" y="425"/>
                </a:cubicBezTo>
                <a:cubicBezTo>
                  <a:pt x="689" y="424"/>
                  <a:pt x="689" y="424"/>
                  <a:pt x="689" y="424"/>
                </a:cubicBezTo>
                <a:cubicBezTo>
                  <a:pt x="722" y="369"/>
                  <a:pt x="877" y="135"/>
                  <a:pt x="1190" y="0"/>
                </a:cubicBezTo>
                <a:close/>
              </a:path>
            </a:pathLst>
          </a:cu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16200000" scaled="0"/>
          </a:gradFill>
          <a:ln w="9525">
            <a:gradFill>
              <a:gsLst>
                <a:gs pos="13000">
                  <a:srgbClr val="002060">
                    <a:alpha val="5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35" name="矩形 134">
            <a:extLst>
              <a:ext uri="{FF2B5EF4-FFF2-40B4-BE49-F238E27FC236}">
                <a16:creationId xmlns="" xmlns:a16="http://schemas.microsoft.com/office/drawing/2014/main" id="{027D756F-C7C7-423D-B992-86A5A5AD9E8D}"/>
              </a:ext>
            </a:extLst>
          </p:cNvPr>
          <p:cNvSpPr/>
          <p:nvPr/>
        </p:nvSpPr>
        <p:spPr>
          <a:xfrm>
            <a:off x="623589" y="2578503"/>
            <a:ext cx="1441100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defTabSz="1218834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Management data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36" name="矩形 135">
            <a:extLst>
              <a:ext uri="{FF2B5EF4-FFF2-40B4-BE49-F238E27FC236}">
                <a16:creationId xmlns="" xmlns:a16="http://schemas.microsoft.com/office/drawing/2014/main" id="{EBAE323C-6CB9-4038-811A-D2552C4DB47A}"/>
              </a:ext>
            </a:extLst>
          </p:cNvPr>
          <p:cNvSpPr/>
          <p:nvPr/>
        </p:nvSpPr>
        <p:spPr>
          <a:xfrm>
            <a:off x="1017959" y="5826627"/>
            <a:ext cx="652358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defTabSz="1218834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IoT data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37" name="矩形 136">
            <a:extLst>
              <a:ext uri="{FF2B5EF4-FFF2-40B4-BE49-F238E27FC236}">
                <a16:creationId xmlns="" xmlns:a16="http://schemas.microsoft.com/office/drawing/2014/main" id="{6886B58B-0F92-43A5-A41E-787121CEFAA1}"/>
              </a:ext>
            </a:extLst>
          </p:cNvPr>
          <p:cNvSpPr/>
          <p:nvPr/>
        </p:nvSpPr>
        <p:spPr>
          <a:xfrm>
            <a:off x="842398" y="4198041"/>
            <a:ext cx="1003480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defTabSz="1218834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Internet data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38" name="组合 105">
            <a:extLst>
              <a:ext uri="{FF2B5EF4-FFF2-40B4-BE49-F238E27FC236}">
                <a16:creationId xmlns="" xmlns:a16="http://schemas.microsoft.com/office/drawing/2014/main" id="{2BEACB4E-B32E-4041-AAE6-935C3B080349}"/>
              </a:ext>
            </a:extLst>
          </p:cNvPr>
          <p:cNvGrpSpPr/>
          <p:nvPr/>
        </p:nvGrpSpPr>
        <p:grpSpPr>
          <a:xfrm>
            <a:off x="815633" y="1407060"/>
            <a:ext cx="1057011" cy="1056819"/>
            <a:chOff x="6760814" y="2037804"/>
            <a:chExt cx="1075334" cy="1075334"/>
          </a:xfrm>
        </p:grpSpPr>
        <p:sp>
          <p:nvSpPr>
            <p:cNvPr id="139" name="椭圆 138">
              <a:extLst>
                <a:ext uri="{FF2B5EF4-FFF2-40B4-BE49-F238E27FC236}">
                  <a16:creationId xmlns="" xmlns:a16="http://schemas.microsoft.com/office/drawing/2014/main" id="{54A2E89A-F00C-43B9-9387-7B3E3093F756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椭圆 139">
              <a:extLst>
                <a:ext uri="{FF2B5EF4-FFF2-40B4-BE49-F238E27FC236}">
                  <a16:creationId xmlns="" xmlns:a16="http://schemas.microsoft.com/office/drawing/2014/main" id="{E69792D6-34CF-425A-9BE8-9CD93915ED69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Freeform 10">
              <a:extLst>
                <a:ext uri="{FF2B5EF4-FFF2-40B4-BE49-F238E27FC236}">
                  <a16:creationId xmlns="" xmlns:a16="http://schemas.microsoft.com/office/drawing/2014/main" id="{6CCC3B2F-9DBF-4D61-906E-A2019BB28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椭圆 141">
              <a:extLst>
                <a:ext uri="{FF2B5EF4-FFF2-40B4-BE49-F238E27FC236}">
                  <a16:creationId xmlns="" xmlns:a16="http://schemas.microsoft.com/office/drawing/2014/main" id="{13FA3EE1-DD2A-42D2-9E23-91F97C21413E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43" name="组合 105">
            <a:extLst>
              <a:ext uri="{FF2B5EF4-FFF2-40B4-BE49-F238E27FC236}">
                <a16:creationId xmlns="" xmlns:a16="http://schemas.microsoft.com/office/drawing/2014/main" id="{18888A22-91AB-435B-AFFF-8B0D37B875FB}"/>
              </a:ext>
            </a:extLst>
          </p:cNvPr>
          <p:cNvGrpSpPr/>
          <p:nvPr/>
        </p:nvGrpSpPr>
        <p:grpSpPr>
          <a:xfrm>
            <a:off x="815633" y="3037498"/>
            <a:ext cx="1057011" cy="1056819"/>
            <a:chOff x="6760814" y="2037804"/>
            <a:chExt cx="1075334" cy="1075334"/>
          </a:xfrm>
        </p:grpSpPr>
        <p:sp>
          <p:nvSpPr>
            <p:cNvPr id="144" name="椭圆 143">
              <a:extLst>
                <a:ext uri="{FF2B5EF4-FFF2-40B4-BE49-F238E27FC236}">
                  <a16:creationId xmlns="" xmlns:a16="http://schemas.microsoft.com/office/drawing/2014/main" id="{CD0AABE7-B958-47BC-88C5-EFE3F8ABE230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椭圆 144">
              <a:extLst>
                <a:ext uri="{FF2B5EF4-FFF2-40B4-BE49-F238E27FC236}">
                  <a16:creationId xmlns="" xmlns:a16="http://schemas.microsoft.com/office/drawing/2014/main" id="{E905E82D-02AE-45CC-9962-1BFD4DE9DC47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Freeform 10">
              <a:extLst>
                <a:ext uri="{FF2B5EF4-FFF2-40B4-BE49-F238E27FC236}">
                  <a16:creationId xmlns="" xmlns:a16="http://schemas.microsoft.com/office/drawing/2014/main" id="{A4CB0ABA-F0AA-4AD1-BD95-C8FB39A71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椭圆 146">
              <a:extLst>
                <a:ext uri="{FF2B5EF4-FFF2-40B4-BE49-F238E27FC236}">
                  <a16:creationId xmlns="" xmlns:a16="http://schemas.microsoft.com/office/drawing/2014/main" id="{AD38916E-614C-4F10-8F6D-EDC4EF320513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48" name="组合 105">
            <a:extLst>
              <a:ext uri="{FF2B5EF4-FFF2-40B4-BE49-F238E27FC236}">
                <a16:creationId xmlns="" xmlns:a16="http://schemas.microsoft.com/office/drawing/2014/main" id="{BEC20726-860C-454D-81AC-E6850848DA9F}"/>
              </a:ext>
            </a:extLst>
          </p:cNvPr>
          <p:cNvGrpSpPr/>
          <p:nvPr/>
        </p:nvGrpSpPr>
        <p:grpSpPr>
          <a:xfrm>
            <a:off x="815633" y="4667936"/>
            <a:ext cx="1057011" cy="1056819"/>
            <a:chOff x="6760814" y="2037804"/>
            <a:chExt cx="1075334" cy="1075334"/>
          </a:xfrm>
        </p:grpSpPr>
        <p:sp>
          <p:nvSpPr>
            <p:cNvPr id="149" name="椭圆 148">
              <a:extLst>
                <a:ext uri="{FF2B5EF4-FFF2-40B4-BE49-F238E27FC236}">
                  <a16:creationId xmlns="" xmlns:a16="http://schemas.microsoft.com/office/drawing/2014/main" id="{4C3511D3-2773-4846-A75F-28701B813AD4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椭圆 149">
              <a:extLst>
                <a:ext uri="{FF2B5EF4-FFF2-40B4-BE49-F238E27FC236}">
                  <a16:creationId xmlns="" xmlns:a16="http://schemas.microsoft.com/office/drawing/2014/main" id="{C08F4727-E56B-4A96-9751-D01ACA197A22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="" xmlns:a16="http://schemas.microsoft.com/office/drawing/2014/main" id="{C0A1B74C-3ADE-4FBF-84D3-559C3B0D71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椭圆 151">
              <a:extLst>
                <a:ext uri="{FF2B5EF4-FFF2-40B4-BE49-F238E27FC236}">
                  <a16:creationId xmlns="" xmlns:a16="http://schemas.microsoft.com/office/drawing/2014/main" id="{50C7451C-8C6C-494E-B82B-2297AE7B651A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6595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53" name="组合 61">
            <a:extLst>
              <a:ext uri="{FF2B5EF4-FFF2-40B4-BE49-F238E27FC236}">
                <a16:creationId xmlns="" xmlns:a16="http://schemas.microsoft.com/office/drawing/2014/main" id="{E346BC45-B169-4680-9134-8424B84E8E0D}"/>
              </a:ext>
            </a:extLst>
          </p:cNvPr>
          <p:cNvGrpSpPr/>
          <p:nvPr/>
        </p:nvGrpSpPr>
        <p:grpSpPr>
          <a:xfrm>
            <a:off x="1082295" y="1653148"/>
            <a:ext cx="523686" cy="480045"/>
            <a:chOff x="13433425" y="1704975"/>
            <a:chExt cx="342900" cy="320675"/>
          </a:xfrm>
          <a:solidFill>
            <a:schemeClr val="bg1"/>
          </a:solidFill>
        </p:grpSpPr>
        <p:sp>
          <p:nvSpPr>
            <p:cNvPr id="154" name="Freeform 38">
              <a:extLst>
                <a:ext uri="{FF2B5EF4-FFF2-40B4-BE49-F238E27FC236}">
                  <a16:creationId xmlns="" xmlns:a16="http://schemas.microsoft.com/office/drawing/2014/main" id="{C0DC873A-D0A6-4BB8-9153-3D4ED1AAC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71525" y="1809750"/>
              <a:ext cx="38100" cy="171450"/>
            </a:xfrm>
            <a:custGeom>
              <a:avLst/>
              <a:gdLst/>
              <a:ahLst/>
              <a:cxnLst>
                <a:cxn ang="0">
                  <a:pos x="24" y="104"/>
                </a:cxn>
                <a:cxn ang="0">
                  <a:pos x="24" y="104"/>
                </a:cxn>
                <a:cxn ang="0">
                  <a:pos x="22" y="106"/>
                </a:cxn>
                <a:cxn ang="0">
                  <a:pos x="20" y="108"/>
                </a:cxn>
                <a:cxn ang="0">
                  <a:pos x="2" y="108"/>
                </a:cxn>
                <a:cxn ang="0">
                  <a:pos x="2" y="108"/>
                </a:cxn>
                <a:cxn ang="0">
                  <a:pos x="0" y="106"/>
                </a:cxn>
                <a:cxn ang="0">
                  <a:pos x="0" y="10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4" y="4"/>
                </a:cxn>
                <a:cxn ang="0">
                  <a:pos x="24" y="104"/>
                </a:cxn>
              </a:cxnLst>
              <a:rect l="0" t="0" r="r" b="b"/>
              <a:pathLst>
                <a:path w="24" h="108">
                  <a:moveTo>
                    <a:pt x="24" y="104"/>
                  </a:moveTo>
                  <a:lnTo>
                    <a:pt x="24" y="104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0" y="106"/>
                  </a:lnTo>
                  <a:lnTo>
                    <a:pt x="0" y="10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4"/>
                  </a:lnTo>
                  <a:lnTo>
                    <a:pt x="24" y="1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55" name="Freeform 39">
              <a:extLst>
                <a:ext uri="{FF2B5EF4-FFF2-40B4-BE49-F238E27FC236}">
                  <a16:creationId xmlns="" xmlns:a16="http://schemas.microsoft.com/office/drawing/2014/main" id="{F3625DE0-0D86-4744-B23F-4B3904180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28675" y="1809750"/>
              <a:ext cx="38100" cy="171450"/>
            </a:xfrm>
            <a:custGeom>
              <a:avLst/>
              <a:gdLst/>
              <a:ahLst/>
              <a:cxnLst>
                <a:cxn ang="0">
                  <a:pos x="24" y="104"/>
                </a:cxn>
                <a:cxn ang="0">
                  <a:pos x="24" y="104"/>
                </a:cxn>
                <a:cxn ang="0">
                  <a:pos x="22" y="106"/>
                </a:cxn>
                <a:cxn ang="0">
                  <a:pos x="20" y="108"/>
                </a:cxn>
                <a:cxn ang="0">
                  <a:pos x="4" y="108"/>
                </a:cxn>
                <a:cxn ang="0">
                  <a:pos x="4" y="108"/>
                </a:cxn>
                <a:cxn ang="0">
                  <a:pos x="0" y="106"/>
                </a:cxn>
                <a:cxn ang="0">
                  <a:pos x="0" y="10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4" y="4"/>
                </a:cxn>
                <a:cxn ang="0">
                  <a:pos x="24" y="104"/>
                </a:cxn>
              </a:cxnLst>
              <a:rect l="0" t="0" r="r" b="b"/>
              <a:pathLst>
                <a:path w="24" h="108">
                  <a:moveTo>
                    <a:pt x="24" y="104"/>
                  </a:moveTo>
                  <a:lnTo>
                    <a:pt x="24" y="104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0" y="106"/>
                  </a:lnTo>
                  <a:lnTo>
                    <a:pt x="0" y="10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4"/>
                  </a:lnTo>
                  <a:lnTo>
                    <a:pt x="24" y="1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56" name="Freeform 40">
              <a:extLst>
                <a:ext uri="{FF2B5EF4-FFF2-40B4-BE49-F238E27FC236}">
                  <a16:creationId xmlns="" xmlns:a16="http://schemas.microsoft.com/office/drawing/2014/main" id="{DE5D3E29-C0A6-4C9F-848B-BE08FE58B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2975" y="1809750"/>
              <a:ext cx="38100" cy="171450"/>
            </a:xfrm>
            <a:custGeom>
              <a:avLst/>
              <a:gdLst/>
              <a:ahLst/>
              <a:cxnLst>
                <a:cxn ang="0">
                  <a:pos x="24" y="104"/>
                </a:cxn>
                <a:cxn ang="0">
                  <a:pos x="24" y="104"/>
                </a:cxn>
                <a:cxn ang="0">
                  <a:pos x="24" y="106"/>
                </a:cxn>
                <a:cxn ang="0">
                  <a:pos x="20" y="108"/>
                </a:cxn>
                <a:cxn ang="0">
                  <a:pos x="4" y="108"/>
                </a:cxn>
                <a:cxn ang="0">
                  <a:pos x="4" y="108"/>
                </a:cxn>
                <a:cxn ang="0">
                  <a:pos x="2" y="106"/>
                </a:cxn>
                <a:cxn ang="0">
                  <a:pos x="0" y="10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104"/>
                </a:cxn>
              </a:cxnLst>
              <a:rect l="0" t="0" r="r" b="b"/>
              <a:pathLst>
                <a:path w="24" h="108">
                  <a:moveTo>
                    <a:pt x="24" y="104"/>
                  </a:moveTo>
                  <a:lnTo>
                    <a:pt x="24" y="104"/>
                  </a:lnTo>
                  <a:lnTo>
                    <a:pt x="24" y="106"/>
                  </a:lnTo>
                  <a:lnTo>
                    <a:pt x="20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2" y="106"/>
                  </a:lnTo>
                  <a:lnTo>
                    <a:pt x="0" y="10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1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57" name="Freeform 41">
              <a:extLst>
                <a:ext uri="{FF2B5EF4-FFF2-40B4-BE49-F238E27FC236}">
                  <a16:creationId xmlns="" xmlns:a16="http://schemas.microsoft.com/office/drawing/2014/main" id="{89E1EB79-4A4B-420F-B24E-F43FB9D52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5824" y="1809750"/>
              <a:ext cx="38100" cy="171450"/>
            </a:xfrm>
            <a:custGeom>
              <a:avLst/>
              <a:gdLst/>
              <a:ahLst/>
              <a:cxnLst>
                <a:cxn ang="0">
                  <a:pos x="24" y="104"/>
                </a:cxn>
                <a:cxn ang="0">
                  <a:pos x="24" y="104"/>
                </a:cxn>
                <a:cxn ang="0">
                  <a:pos x="22" y="106"/>
                </a:cxn>
                <a:cxn ang="0">
                  <a:pos x="20" y="108"/>
                </a:cxn>
                <a:cxn ang="0">
                  <a:pos x="4" y="108"/>
                </a:cxn>
                <a:cxn ang="0">
                  <a:pos x="4" y="108"/>
                </a:cxn>
                <a:cxn ang="0">
                  <a:pos x="2" y="106"/>
                </a:cxn>
                <a:cxn ang="0">
                  <a:pos x="0" y="10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4" y="4"/>
                </a:cxn>
                <a:cxn ang="0">
                  <a:pos x="24" y="104"/>
                </a:cxn>
              </a:cxnLst>
              <a:rect l="0" t="0" r="r" b="b"/>
              <a:pathLst>
                <a:path w="24" h="108">
                  <a:moveTo>
                    <a:pt x="24" y="104"/>
                  </a:moveTo>
                  <a:lnTo>
                    <a:pt x="24" y="104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2" y="106"/>
                  </a:lnTo>
                  <a:lnTo>
                    <a:pt x="0" y="10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4"/>
                  </a:lnTo>
                  <a:lnTo>
                    <a:pt x="24" y="1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58" name="Freeform 42">
              <a:extLst>
                <a:ext uri="{FF2B5EF4-FFF2-40B4-BE49-F238E27FC236}">
                  <a16:creationId xmlns="" xmlns:a16="http://schemas.microsoft.com/office/drawing/2014/main" id="{B79AEBB4-13B0-47C7-923E-1E3300551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0125" y="1809750"/>
              <a:ext cx="38100" cy="171450"/>
            </a:xfrm>
            <a:custGeom>
              <a:avLst/>
              <a:gdLst/>
              <a:ahLst/>
              <a:cxnLst>
                <a:cxn ang="0">
                  <a:pos x="24" y="106"/>
                </a:cxn>
                <a:cxn ang="0">
                  <a:pos x="24" y="106"/>
                </a:cxn>
                <a:cxn ang="0">
                  <a:pos x="24" y="108"/>
                </a:cxn>
                <a:cxn ang="0">
                  <a:pos x="22" y="108"/>
                </a:cxn>
                <a:cxn ang="0">
                  <a:pos x="4" y="108"/>
                </a:cxn>
                <a:cxn ang="0">
                  <a:pos x="4" y="108"/>
                </a:cxn>
                <a:cxn ang="0">
                  <a:pos x="2" y="108"/>
                </a:cxn>
                <a:cxn ang="0">
                  <a:pos x="0" y="106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4" y="2"/>
                </a:cxn>
                <a:cxn ang="0">
                  <a:pos x="24" y="4"/>
                </a:cxn>
                <a:cxn ang="0">
                  <a:pos x="24" y="106"/>
                </a:cxn>
              </a:cxnLst>
              <a:rect l="0" t="0" r="r" b="b"/>
              <a:pathLst>
                <a:path w="24" h="108">
                  <a:moveTo>
                    <a:pt x="24" y="106"/>
                  </a:move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2" y="108"/>
                  </a:lnTo>
                  <a:lnTo>
                    <a:pt x="0" y="106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4" y="4"/>
                  </a:lnTo>
                  <a:lnTo>
                    <a:pt x="24" y="1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59" name="Freeform 43">
              <a:extLst>
                <a:ext uri="{FF2B5EF4-FFF2-40B4-BE49-F238E27FC236}">
                  <a16:creationId xmlns="" xmlns:a16="http://schemas.microsoft.com/office/drawing/2014/main" id="{0101011C-17D9-449C-8AE8-361B21DAB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2000" y="1704975"/>
              <a:ext cx="285750" cy="88900"/>
            </a:xfrm>
            <a:custGeom>
              <a:avLst/>
              <a:gdLst/>
              <a:ahLst/>
              <a:cxnLst>
                <a:cxn ang="0">
                  <a:pos x="58" y="8"/>
                </a:cxn>
                <a:cxn ang="0">
                  <a:pos x="58" y="8"/>
                </a:cxn>
                <a:cxn ang="0">
                  <a:pos x="64" y="6"/>
                </a:cxn>
                <a:cxn ang="0">
                  <a:pos x="72" y="2"/>
                </a:cxn>
                <a:cxn ang="0">
                  <a:pos x="90" y="0"/>
                </a:cxn>
                <a:cxn ang="0">
                  <a:pos x="108" y="2"/>
                </a:cxn>
                <a:cxn ang="0">
                  <a:pos x="116" y="6"/>
                </a:cxn>
                <a:cxn ang="0">
                  <a:pos x="122" y="8"/>
                </a:cxn>
                <a:cxn ang="0">
                  <a:pos x="168" y="36"/>
                </a:cxn>
                <a:cxn ang="0">
                  <a:pos x="168" y="36"/>
                </a:cxn>
                <a:cxn ang="0">
                  <a:pos x="178" y="44"/>
                </a:cxn>
                <a:cxn ang="0">
                  <a:pos x="180" y="48"/>
                </a:cxn>
                <a:cxn ang="0">
                  <a:pos x="180" y="50"/>
                </a:cxn>
                <a:cxn ang="0">
                  <a:pos x="178" y="52"/>
                </a:cxn>
                <a:cxn ang="0">
                  <a:pos x="174" y="54"/>
                </a:cxn>
                <a:cxn ang="0">
                  <a:pos x="162" y="56"/>
                </a:cxn>
                <a:cxn ang="0">
                  <a:pos x="128" y="56"/>
                </a:cxn>
                <a:cxn ang="0">
                  <a:pos x="128" y="56"/>
                </a:cxn>
                <a:cxn ang="0">
                  <a:pos x="52" y="56"/>
                </a:cxn>
                <a:cxn ang="0">
                  <a:pos x="18" y="56"/>
                </a:cxn>
                <a:cxn ang="0">
                  <a:pos x="18" y="56"/>
                </a:cxn>
                <a:cxn ang="0">
                  <a:pos x="6" y="54"/>
                </a:cxn>
                <a:cxn ang="0">
                  <a:pos x="2" y="52"/>
                </a:cxn>
                <a:cxn ang="0">
                  <a:pos x="0" y="50"/>
                </a:cxn>
                <a:cxn ang="0">
                  <a:pos x="0" y="48"/>
                </a:cxn>
                <a:cxn ang="0">
                  <a:pos x="2" y="44"/>
                </a:cxn>
                <a:cxn ang="0">
                  <a:pos x="12" y="36"/>
                </a:cxn>
                <a:cxn ang="0">
                  <a:pos x="58" y="8"/>
                </a:cxn>
              </a:cxnLst>
              <a:rect l="0" t="0" r="r" b="b"/>
              <a:pathLst>
                <a:path w="180" h="56">
                  <a:moveTo>
                    <a:pt x="58" y="8"/>
                  </a:moveTo>
                  <a:lnTo>
                    <a:pt x="58" y="8"/>
                  </a:lnTo>
                  <a:lnTo>
                    <a:pt x="64" y="6"/>
                  </a:lnTo>
                  <a:lnTo>
                    <a:pt x="72" y="2"/>
                  </a:lnTo>
                  <a:lnTo>
                    <a:pt x="90" y="0"/>
                  </a:lnTo>
                  <a:lnTo>
                    <a:pt x="108" y="2"/>
                  </a:lnTo>
                  <a:lnTo>
                    <a:pt x="116" y="6"/>
                  </a:lnTo>
                  <a:lnTo>
                    <a:pt x="122" y="8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78" y="44"/>
                  </a:lnTo>
                  <a:lnTo>
                    <a:pt x="180" y="48"/>
                  </a:lnTo>
                  <a:lnTo>
                    <a:pt x="180" y="50"/>
                  </a:lnTo>
                  <a:lnTo>
                    <a:pt x="178" y="52"/>
                  </a:lnTo>
                  <a:lnTo>
                    <a:pt x="174" y="54"/>
                  </a:lnTo>
                  <a:lnTo>
                    <a:pt x="162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52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6" y="54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4"/>
                  </a:lnTo>
                  <a:lnTo>
                    <a:pt x="12" y="36"/>
                  </a:lnTo>
                  <a:lnTo>
                    <a:pt x="58" y="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0" name="Freeform 44">
              <a:extLst>
                <a:ext uri="{FF2B5EF4-FFF2-40B4-BE49-F238E27FC236}">
                  <a16:creationId xmlns="" xmlns:a16="http://schemas.microsoft.com/office/drawing/2014/main" id="{0D34A77D-C6E4-4D18-87F3-DA91A76866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33425" y="1987550"/>
              <a:ext cx="342900" cy="38100"/>
            </a:xfrm>
            <a:custGeom>
              <a:avLst/>
              <a:gdLst/>
              <a:ahLst/>
              <a:cxnLst>
                <a:cxn ang="0">
                  <a:pos x="21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4" y="24"/>
                </a:cxn>
                <a:cxn ang="0">
                  <a:pos x="212" y="24"/>
                </a:cxn>
                <a:cxn ang="0">
                  <a:pos x="212" y="24"/>
                </a:cxn>
                <a:cxn ang="0">
                  <a:pos x="214" y="24"/>
                </a:cxn>
                <a:cxn ang="0">
                  <a:pos x="216" y="22"/>
                </a:cxn>
                <a:cxn ang="0">
                  <a:pos x="216" y="2"/>
                </a:cxn>
                <a:cxn ang="0">
                  <a:pos x="216" y="2"/>
                </a:cxn>
                <a:cxn ang="0">
                  <a:pos x="214" y="0"/>
                </a:cxn>
                <a:cxn ang="0">
                  <a:pos x="212" y="0"/>
                </a:cxn>
                <a:cxn ang="0">
                  <a:pos x="212" y="0"/>
                </a:cxn>
                <a:cxn ang="0">
                  <a:pos x="148" y="18"/>
                </a:cxn>
                <a:cxn ang="0">
                  <a:pos x="148" y="18"/>
                </a:cxn>
                <a:cxn ang="0">
                  <a:pos x="146" y="20"/>
                </a:cxn>
                <a:cxn ang="0">
                  <a:pos x="144" y="20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0" y="20"/>
                </a:cxn>
                <a:cxn ang="0">
                  <a:pos x="68" y="18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0" y="14"/>
                </a:cxn>
                <a:cxn ang="0">
                  <a:pos x="72" y="14"/>
                </a:cxn>
                <a:cxn ang="0">
                  <a:pos x="144" y="14"/>
                </a:cxn>
                <a:cxn ang="0">
                  <a:pos x="144" y="14"/>
                </a:cxn>
                <a:cxn ang="0">
                  <a:pos x="146" y="14"/>
                </a:cxn>
                <a:cxn ang="0">
                  <a:pos x="148" y="16"/>
                </a:cxn>
                <a:cxn ang="0">
                  <a:pos x="148" y="18"/>
                </a:cxn>
                <a:cxn ang="0">
                  <a:pos x="148" y="8"/>
                </a:cxn>
                <a:cxn ang="0">
                  <a:pos x="148" y="8"/>
                </a:cxn>
                <a:cxn ang="0">
                  <a:pos x="146" y="10"/>
                </a:cxn>
                <a:cxn ang="0">
                  <a:pos x="144" y="10"/>
                </a:cxn>
                <a:cxn ang="0">
                  <a:pos x="72" y="10"/>
                </a:cxn>
                <a:cxn ang="0">
                  <a:pos x="72" y="10"/>
                </a:cxn>
                <a:cxn ang="0">
                  <a:pos x="70" y="10"/>
                </a:cxn>
                <a:cxn ang="0">
                  <a:pos x="68" y="8"/>
                </a:cxn>
                <a:cxn ang="0">
                  <a:pos x="68" y="6"/>
                </a:cxn>
                <a:cxn ang="0">
                  <a:pos x="68" y="6"/>
                </a:cxn>
                <a:cxn ang="0">
                  <a:pos x="70" y="4"/>
                </a:cxn>
                <a:cxn ang="0">
                  <a:pos x="72" y="4"/>
                </a:cxn>
                <a:cxn ang="0">
                  <a:pos x="144" y="4"/>
                </a:cxn>
                <a:cxn ang="0">
                  <a:pos x="144" y="4"/>
                </a:cxn>
                <a:cxn ang="0">
                  <a:pos x="146" y="4"/>
                </a:cxn>
                <a:cxn ang="0">
                  <a:pos x="148" y="6"/>
                </a:cxn>
                <a:cxn ang="0">
                  <a:pos x="148" y="8"/>
                </a:cxn>
              </a:cxnLst>
              <a:rect l="0" t="0" r="r" b="b"/>
              <a:pathLst>
                <a:path w="216" h="24">
                  <a:moveTo>
                    <a:pt x="21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212" y="24"/>
                  </a:lnTo>
                  <a:lnTo>
                    <a:pt x="212" y="24"/>
                  </a:lnTo>
                  <a:lnTo>
                    <a:pt x="214" y="24"/>
                  </a:lnTo>
                  <a:lnTo>
                    <a:pt x="216" y="22"/>
                  </a:lnTo>
                  <a:lnTo>
                    <a:pt x="216" y="2"/>
                  </a:lnTo>
                  <a:lnTo>
                    <a:pt x="216" y="2"/>
                  </a:lnTo>
                  <a:lnTo>
                    <a:pt x="214" y="0"/>
                  </a:lnTo>
                  <a:lnTo>
                    <a:pt x="212" y="0"/>
                  </a:lnTo>
                  <a:lnTo>
                    <a:pt x="212" y="0"/>
                  </a:lnTo>
                  <a:close/>
                  <a:moveTo>
                    <a:pt x="148" y="18"/>
                  </a:moveTo>
                  <a:lnTo>
                    <a:pt x="148" y="18"/>
                  </a:lnTo>
                  <a:lnTo>
                    <a:pt x="146" y="20"/>
                  </a:lnTo>
                  <a:lnTo>
                    <a:pt x="14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20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8" y="16"/>
                  </a:lnTo>
                  <a:lnTo>
                    <a:pt x="148" y="18"/>
                  </a:lnTo>
                  <a:close/>
                  <a:moveTo>
                    <a:pt x="148" y="8"/>
                  </a:moveTo>
                  <a:lnTo>
                    <a:pt x="148" y="8"/>
                  </a:lnTo>
                  <a:lnTo>
                    <a:pt x="146" y="10"/>
                  </a:lnTo>
                  <a:lnTo>
                    <a:pt x="144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68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0" y="4"/>
                  </a:lnTo>
                  <a:lnTo>
                    <a:pt x="72" y="4"/>
                  </a:lnTo>
                  <a:lnTo>
                    <a:pt x="144" y="4"/>
                  </a:lnTo>
                  <a:lnTo>
                    <a:pt x="144" y="4"/>
                  </a:lnTo>
                  <a:lnTo>
                    <a:pt x="146" y="4"/>
                  </a:lnTo>
                  <a:lnTo>
                    <a:pt x="148" y="6"/>
                  </a:lnTo>
                  <a:lnTo>
                    <a:pt x="148" y="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161" name="组合 141">
            <a:extLst>
              <a:ext uri="{FF2B5EF4-FFF2-40B4-BE49-F238E27FC236}">
                <a16:creationId xmlns="" xmlns:a16="http://schemas.microsoft.com/office/drawing/2014/main" id="{17A0C99E-3234-4C14-A9AD-54389E36B152}"/>
              </a:ext>
            </a:extLst>
          </p:cNvPr>
          <p:cNvGrpSpPr/>
          <p:nvPr/>
        </p:nvGrpSpPr>
        <p:grpSpPr>
          <a:xfrm>
            <a:off x="1118309" y="4964064"/>
            <a:ext cx="451660" cy="484024"/>
            <a:chOff x="2792413" y="2185300"/>
            <a:chExt cx="320111" cy="273759"/>
          </a:xfrm>
          <a:solidFill>
            <a:schemeClr val="bg1"/>
          </a:solidFill>
        </p:grpSpPr>
        <p:sp>
          <p:nvSpPr>
            <p:cNvPr id="162" name="Freeform 17">
              <a:extLst>
                <a:ext uri="{FF2B5EF4-FFF2-40B4-BE49-F238E27FC236}">
                  <a16:creationId xmlns="" xmlns:a16="http://schemas.microsoft.com/office/drawing/2014/main" id="{AFE345B2-5726-4502-8D99-7070D30896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2413" y="2185300"/>
              <a:ext cx="290552" cy="246825"/>
            </a:xfrm>
            <a:custGeom>
              <a:avLst/>
              <a:gdLst/>
              <a:ahLst/>
              <a:cxnLst>
                <a:cxn ang="0">
                  <a:pos x="8160" y="8364"/>
                </a:cxn>
                <a:cxn ang="0">
                  <a:pos x="12036" y="9792"/>
                </a:cxn>
                <a:cxn ang="0">
                  <a:pos x="13464" y="9282"/>
                </a:cxn>
                <a:cxn ang="0">
                  <a:pos x="12240" y="11016"/>
                </a:cxn>
                <a:cxn ang="0">
                  <a:pos x="14178" y="9996"/>
                </a:cxn>
                <a:cxn ang="0">
                  <a:pos x="15096" y="7650"/>
                </a:cxn>
                <a:cxn ang="0">
                  <a:pos x="15096" y="6018"/>
                </a:cxn>
                <a:cxn ang="0">
                  <a:pos x="14076" y="3672"/>
                </a:cxn>
                <a:cxn ang="0">
                  <a:pos x="12444" y="1836"/>
                </a:cxn>
                <a:cxn ang="0">
                  <a:pos x="11016" y="816"/>
                </a:cxn>
                <a:cxn ang="0">
                  <a:pos x="7242" y="0"/>
                </a:cxn>
                <a:cxn ang="0">
                  <a:pos x="4386" y="714"/>
                </a:cxn>
                <a:cxn ang="0">
                  <a:pos x="2346" y="2142"/>
                </a:cxn>
                <a:cxn ang="0">
                  <a:pos x="816" y="4182"/>
                </a:cxn>
                <a:cxn ang="0">
                  <a:pos x="0" y="6630"/>
                </a:cxn>
                <a:cxn ang="0">
                  <a:pos x="102" y="9078"/>
                </a:cxn>
                <a:cxn ang="0">
                  <a:pos x="918" y="11322"/>
                </a:cxn>
                <a:cxn ang="0">
                  <a:pos x="3162" y="13872"/>
                </a:cxn>
                <a:cxn ang="0">
                  <a:pos x="6528" y="15198"/>
                </a:cxn>
                <a:cxn ang="0">
                  <a:pos x="8262" y="15300"/>
                </a:cxn>
                <a:cxn ang="0">
                  <a:pos x="13260" y="5508"/>
                </a:cxn>
                <a:cxn ang="0">
                  <a:pos x="12240" y="7242"/>
                </a:cxn>
                <a:cxn ang="0">
                  <a:pos x="13260" y="5508"/>
                </a:cxn>
                <a:cxn ang="0">
                  <a:pos x="12648" y="4182"/>
                </a:cxn>
                <a:cxn ang="0">
                  <a:pos x="11934" y="3366"/>
                </a:cxn>
                <a:cxn ang="0">
                  <a:pos x="9180" y="1734"/>
                </a:cxn>
                <a:cxn ang="0">
                  <a:pos x="9384" y="3468"/>
                </a:cxn>
                <a:cxn ang="0">
                  <a:pos x="8160" y="4386"/>
                </a:cxn>
                <a:cxn ang="0">
                  <a:pos x="11118" y="6018"/>
                </a:cxn>
                <a:cxn ang="0">
                  <a:pos x="8160" y="4386"/>
                </a:cxn>
                <a:cxn ang="0">
                  <a:pos x="6324" y="1734"/>
                </a:cxn>
                <a:cxn ang="0">
                  <a:pos x="6018" y="3366"/>
                </a:cxn>
                <a:cxn ang="0">
                  <a:pos x="3264" y="3366"/>
                </a:cxn>
                <a:cxn ang="0">
                  <a:pos x="3774" y="3774"/>
                </a:cxn>
                <a:cxn ang="0">
                  <a:pos x="1530" y="7140"/>
                </a:cxn>
                <a:cxn ang="0">
                  <a:pos x="1734" y="6120"/>
                </a:cxn>
                <a:cxn ang="0">
                  <a:pos x="3570" y="4896"/>
                </a:cxn>
                <a:cxn ang="0">
                  <a:pos x="1428" y="7242"/>
                </a:cxn>
                <a:cxn ang="0">
                  <a:pos x="1632" y="9180"/>
                </a:cxn>
                <a:cxn ang="0">
                  <a:pos x="3468" y="9486"/>
                </a:cxn>
                <a:cxn ang="0">
                  <a:pos x="1938" y="9894"/>
                </a:cxn>
                <a:cxn ang="0">
                  <a:pos x="3978" y="11730"/>
                </a:cxn>
                <a:cxn ang="0">
                  <a:pos x="3264" y="12036"/>
                </a:cxn>
                <a:cxn ang="0">
                  <a:pos x="7140" y="4386"/>
                </a:cxn>
                <a:cxn ang="0">
                  <a:pos x="4488" y="5916"/>
                </a:cxn>
                <a:cxn ang="0">
                  <a:pos x="7140" y="8364"/>
                </a:cxn>
                <a:cxn ang="0">
                  <a:pos x="4795" y="10914"/>
                </a:cxn>
              </a:cxnLst>
              <a:rect l="0" t="0" r="r" b="b"/>
              <a:pathLst>
                <a:path w="15198" h="15300">
                  <a:moveTo>
                    <a:pt x="4998" y="11730"/>
                  </a:moveTo>
                  <a:lnTo>
                    <a:pt x="8160" y="10914"/>
                  </a:lnTo>
                  <a:lnTo>
                    <a:pt x="8160" y="8364"/>
                  </a:lnTo>
                  <a:lnTo>
                    <a:pt x="11118" y="8364"/>
                  </a:lnTo>
                  <a:lnTo>
                    <a:pt x="10914" y="10098"/>
                  </a:lnTo>
                  <a:lnTo>
                    <a:pt x="12036" y="9792"/>
                  </a:lnTo>
                  <a:lnTo>
                    <a:pt x="12138" y="8364"/>
                  </a:lnTo>
                  <a:lnTo>
                    <a:pt x="13668" y="8364"/>
                  </a:lnTo>
                  <a:lnTo>
                    <a:pt x="13464" y="9282"/>
                  </a:lnTo>
                  <a:lnTo>
                    <a:pt x="13260" y="9996"/>
                  </a:lnTo>
                  <a:lnTo>
                    <a:pt x="12444" y="10302"/>
                  </a:lnTo>
                  <a:lnTo>
                    <a:pt x="12240" y="11016"/>
                  </a:lnTo>
                  <a:lnTo>
                    <a:pt x="13056" y="10812"/>
                  </a:lnTo>
                  <a:lnTo>
                    <a:pt x="13668" y="10506"/>
                  </a:lnTo>
                  <a:lnTo>
                    <a:pt x="14178" y="9996"/>
                  </a:lnTo>
                  <a:lnTo>
                    <a:pt x="14586" y="9384"/>
                  </a:lnTo>
                  <a:lnTo>
                    <a:pt x="14994" y="8568"/>
                  </a:lnTo>
                  <a:lnTo>
                    <a:pt x="15096" y="7650"/>
                  </a:lnTo>
                  <a:lnTo>
                    <a:pt x="15198" y="6936"/>
                  </a:lnTo>
                  <a:lnTo>
                    <a:pt x="15096" y="6120"/>
                  </a:lnTo>
                  <a:lnTo>
                    <a:pt x="15096" y="6018"/>
                  </a:lnTo>
                  <a:lnTo>
                    <a:pt x="14789" y="5202"/>
                  </a:lnTo>
                  <a:lnTo>
                    <a:pt x="14484" y="4488"/>
                  </a:lnTo>
                  <a:lnTo>
                    <a:pt x="14076" y="3672"/>
                  </a:lnTo>
                  <a:lnTo>
                    <a:pt x="13668" y="3060"/>
                  </a:lnTo>
                  <a:lnTo>
                    <a:pt x="13056" y="2346"/>
                  </a:lnTo>
                  <a:lnTo>
                    <a:pt x="12444" y="1836"/>
                  </a:lnTo>
                  <a:lnTo>
                    <a:pt x="11832" y="1327"/>
                  </a:lnTo>
                  <a:lnTo>
                    <a:pt x="11118" y="816"/>
                  </a:lnTo>
                  <a:lnTo>
                    <a:pt x="11016" y="816"/>
                  </a:lnTo>
                  <a:lnTo>
                    <a:pt x="9894" y="408"/>
                  </a:lnTo>
                  <a:lnTo>
                    <a:pt x="8568" y="102"/>
                  </a:lnTo>
                  <a:lnTo>
                    <a:pt x="7242" y="0"/>
                  </a:lnTo>
                  <a:lnTo>
                    <a:pt x="6018" y="204"/>
                  </a:lnTo>
                  <a:lnTo>
                    <a:pt x="5202" y="408"/>
                  </a:lnTo>
                  <a:lnTo>
                    <a:pt x="4386" y="714"/>
                  </a:lnTo>
                  <a:lnTo>
                    <a:pt x="3672" y="1122"/>
                  </a:lnTo>
                  <a:lnTo>
                    <a:pt x="2958" y="1632"/>
                  </a:lnTo>
                  <a:lnTo>
                    <a:pt x="2346" y="2142"/>
                  </a:lnTo>
                  <a:lnTo>
                    <a:pt x="1734" y="2754"/>
                  </a:lnTo>
                  <a:lnTo>
                    <a:pt x="1224" y="3468"/>
                  </a:lnTo>
                  <a:lnTo>
                    <a:pt x="816" y="4182"/>
                  </a:lnTo>
                  <a:lnTo>
                    <a:pt x="816" y="4284"/>
                  </a:lnTo>
                  <a:lnTo>
                    <a:pt x="306" y="5406"/>
                  </a:lnTo>
                  <a:lnTo>
                    <a:pt x="0" y="6630"/>
                  </a:lnTo>
                  <a:lnTo>
                    <a:pt x="0" y="6732"/>
                  </a:lnTo>
                  <a:lnTo>
                    <a:pt x="0" y="7956"/>
                  </a:lnTo>
                  <a:lnTo>
                    <a:pt x="102" y="9078"/>
                  </a:lnTo>
                  <a:lnTo>
                    <a:pt x="102" y="9180"/>
                  </a:lnTo>
                  <a:lnTo>
                    <a:pt x="408" y="10302"/>
                  </a:lnTo>
                  <a:lnTo>
                    <a:pt x="918" y="11322"/>
                  </a:lnTo>
                  <a:lnTo>
                    <a:pt x="1428" y="12240"/>
                  </a:lnTo>
                  <a:lnTo>
                    <a:pt x="2142" y="13056"/>
                  </a:lnTo>
                  <a:lnTo>
                    <a:pt x="3162" y="13872"/>
                  </a:lnTo>
                  <a:lnTo>
                    <a:pt x="4182" y="14484"/>
                  </a:lnTo>
                  <a:lnTo>
                    <a:pt x="5304" y="14994"/>
                  </a:lnTo>
                  <a:lnTo>
                    <a:pt x="6528" y="15198"/>
                  </a:lnTo>
                  <a:lnTo>
                    <a:pt x="6630" y="15198"/>
                  </a:lnTo>
                  <a:lnTo>
                    <a:pt x="7446" y="15300"/>
                  </a:lnTo>
                  <a:lnTo>
                    <a:pt x="8262" y="15300"/>
                  </a:lnTo>
                  <a:lnTo>
                    <a:pt x="5304" y="12138"/>
                  </a:lnTo>
                  <a:lnTo>
                    <a:pt x="4998" y="11730"/>
                  </a:lnTo>
                  <a:close/>
                  <a:moveTo>
                    <a:pt x="13260" y="5508"/>
                  </a:moveTo>
                  <a:lnTo>
                    <a:pt x="13566" y="6324"/>
                  </a:lnTo>
                  <a:lnTo>
                    <a:pt x="13668" y="7242"/>
                  </a:lnTo>
                  <a:lnTo>
                    <a:pt x="12240" y="7242"/>
                  </a:lnTo>
                  <a:lnTo>
                    <a:pt x="12138" y="6222"/>
                  </a:lnTo>
                  <a:lnTo>
                    <a:pt x="12036" y="5100"/>
                  </a:lnTo>
                  <a:lnTo>
                    <a:pt x="13260" y="5508"/>
                  </a:lnTo>
                  <a:close/>
                  <a:moveTo>
                    <a:pt x="11934" y="3366"/>
                  </a:moveTo>
                  <a:lnTo>
                    <a:pt x="12444" y="3978"/>
                  </a:lnTo>
                  <a:lnTo>
                    <a:pt x="12648" y="4182"/>
                  </a:lnTo>
                  <a:lnTo>
                    <a:pt x="11730" y="3876"/>
                  </a:lnTo>
                  <a:lnTo>
                    <a:pt x="11526" y="2958"/>
                  </a:lnTo>
                  <a:lnTo>
                    <a:pt x="11934" y="3366"/>
                  </a:lnTo>
                  <a:close/>
                  <a:moveTo>
                    <a:pt x="8160" y="1530"/>
                  </a:moveTo>
                  <a:lnTo>
                    <a:pt x="8364" y="1632"/>
                  </a:lnTo>
                  <a:lnTo>
                    <a:pt x="9180" y="1734"/>
                  </a:lnTo>
                  <a:lnTo>
                    <a:pt x="9996" y="2040"/>
                  </a:lnTo>
                  <a:lnTo>
                    <a:pt x="10608" y="3672"/>
                  </a:lnTo>
                  <a:lnTo>
                    <a:pt x="9384" y="3468"/>
                  </a:lnTo>
                  <a:lnTo>
                    <a:pt x="8160" y="3366"/>
                  </a:lnTo>
                  <a:lnTo>
                    <a:pt x="8160" y="1530"/>
                  </a:lnTo>
                  <a:close/>
                  <a:moveTo>
                    <a:pt x="8160" y="4386"/>
                  </a:moveTo>
                  <a:lnTo>
                    <a:pt x="9486" y="4488"/>
                  </a:lnTo>
                  <a:lnTo>
                    <a:pt x="10914" y="4794"/>
                  </a:lnTo>
                  <a:lnTo>
                    <a:pt x="11118" y="6018"/>
                  </a:lnTo>
                  <a:lnTo>
                    <a:pt x="11118" y="7242"/>
                  </a:lnTo>
                  <a:lnTo>
                    <a:pt x="8160" y="7242"/>
                  </a:lnTo>
                  <a:lnTo>
                    <a:pt x="8160" y="4386"/>
                  </a:lnTo>
                  <a:close/>
                  <a:moveTo>
                    <a:pt x="5610" y="1938"/>
                  </a:moveTo>
                  <a:lnTo>
                    <a:pt x="6222" y="1734"/>
                  </a:lnTo>
                  <a:lnTo>
                    <a:pt x="6324" y="1734"/>
                  </a:lnTo>
                  <a:lnTo>
                    <a:pt x="7140" y="1530"/>
                  </a:lnTo>
                  <a:lnTo>
                    <a:pt x="7140" y="3366"/>
                  </a:lnTo>
                  <a:lnTo>
                    <a:pt x="6018" y="3366"/>
                  </a:lnTo>
                  <a:lnTo>
                    <a:pt x="4998" y="3570"/>
                  </a:lnTo>
                  <a:lnTo>
                    <a:pt x="5610" y="1938"/>
                  </a:lnTo>
                  <a:close/>
                  <a:moveTo>
                    <a:pt x="3264" y="3366"/>
                  </a:moveTo>
                  <a:lnTo>
                    <a:pt x="3876" y="2857"/>
                  </a:lnTo>
                  <a:lnTo>
                    <a:pt x="4182" y="2652"/>
                  </a:lnTo>
                  <a:lnTo>
                    <a:pt x="3774" y="3774"/>
                  </a:lnTo>
                  <a:lnTo>
                    <a:pt x="2550" y="4182"/>
                  </a:lnTo>
                  <a:lnTo>
                    <a:pt x="3264" y="3366"/>
                  </a:lnTo>
                  <a:close/>
                  <a:moveTo>
                    <a:pt x="1530" y="7140"/>
                  </a:moveTo>
                  <a:lnTo>
                    <a:pt x="1530" y="6936"/>
                  </a:lnTo>
                  <a:lnTo>
                    <a:pt x="1530" y="6834"/>
                  </a:lnTo>
                  <a:lnTo>
                    <a:pt x="1734" y="6120"/>
                  </a:lnTo>
                  <a:lnTo>
                    <a:pt x="1836" y="5610"/>
                  </a:lnTo>
                  <a:lnTo>
                    <a:pt x="2652" y="5202"/>
                  </a:lnTo>
                  <a:lnTo>
                    <a:pt x="3570" y="4896"/>
                  </a:lnTo>
                  <a:lnTo>
                    <a:pt x="3366" y="6120"/>
                  </a:lnTo>
                  <a:lnTo>
                    <a:pt x="3366" y="7242"/>
                  </a:lnTo>
                  <a:lnTo>
                    <a:pt x="1428" y="7242"/>
                  </a:lnTo>
                  <a:lnTo>
                    <a:pt x="1530" y="7140"/>
                  </a:lnTo>
                  <a:close/>
                  <a:moveTo>
                    <a:pt x="1938" y="9894"/>
                  </a:moveTo>
                  <a:lnTo>
                    <a:pt x="1632" y="9180"/>
                  </a:lnTo>
                  <a:lnTo>
                    <a:pt x="1530" y="8364"/>
                  </a:lnTo>
                  <a:lnTo>
                    <a:pt x="3366" y="8364"/>
                  </a:lnTo>
                  <a:lnTo>
                    <a:pt x="3468" y="9486"/>
                  </a:lnTo>
                  <a:lnTo>
                    <a:pt x="3672" y="10608"/>
                  </a:lnTo>
                  <a:lnTo>
                    <a:pt x="2754" y="10302"/>
                  </a:lnTo>
                  <a:lnTo>
                    <a:pt x="1938" y="9894"/>
                  </a:lnTo>
                  <a:close/>
                  <a:moveTo>
                    <a:pt x="3264" y="12036"/>
                  </a:moveTo>
                  <a:lnTo>
                    <a:pt x="2754" y="11424"/>
                  </a:lnTo>
                  <a:lnTo>
                    <a:pt x="3978" y="11730"/>
                  </a:lnTo>
                  <a:lnTo>
                    <a:pt x="4182" y="12750"/>
                  </a:lnTo>
                  <a:lnTo>
                    <a:pt x="3672" y="12445"/>
                  </a:lnTo>
                  <a:lnTo>
                    <a:pt x="3264" y="12036"/>
                  </a:lnTo>
                  <a:close/>
                  <a:moveTo>
                    <a:pt x="4692" y="4692"/>
                  </a:moveTo>
                  <a:lnTo>
                    <a:pt x="5916" y="4488"/>
                  </a:lnTo>
                  <a:lnTo>
                    <a:pt x="7140" y="4386"/>
                  </a:lnTo>
                  <a:lnTo>
                    <a:pt x="7140" y="7242"/>
                  </a:lnTo>
                  <a:lnTo>
                    <a:pt x="4386" y="7242"/>
                  </a:lnTo>
                  <a:lnTo>
                    <a:pt x="4488" y="5916"/>
                  </a:lnTo>
                  <a:lnTo>
                    <a:pt x="4692" y="4692"/>
                  </a:lnTo>
                  <a:close/>
                  <a:moveTo>
                    <a:pt x="4386" y="8364"/>
                  </a:moveTo>
                  <a:lnTo>
                    <a:pt x="7140" y="8364"/>
                  </a:lnTo>
                  <a:lnTo>
                    <a:pt x="7140" y="11118"/>
                  </a:lnTo>
                  <a:lnTo>
                    <a:pt x="5916" y="11016"/>
                  </a:lnTo>
                  <a:lnTo>
                    <a:pt x="4795" y="10914"/>
                  </a:lnTo>
                  <a:lnTo>
                    <a:pt x="4590" y="9588"/>
                  </a:lnTo>
                  <a:lnTo>
                    <a:pt x="4386" y="83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3" name="Freeform 18">
              <a:extLst>
                <a:ext uri="{FF2B5EF4-FFF2-40B4-BE49-F238E27FC236}">
                  <a16:creationId xmlns="" xmlns:a16="http://schemas.microsoft.com/office/drawing/2014/main" id="{7499BE58-8F82-453E-BD52-7ED7E0F1B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628" y="2286282"/>
              <a:ext cx="184896" cy="172777"/>
            </a:xfrm>
            <a:custGeom>
              <a:avLst/>
              <a:gdLst/>
              <a:ahLst/>
              <a:cxnLst>
                <a:cxn ang="0">
                  <a:pos x="4080" y="4488"/>
                </a:cxn>
                <a:cxn ang="0">
                  <a:pos x="4386" y="3366"/>
                </a:cxn>
                <a:cxn ang="0">
                  <a:pos x="0" y="4590"/>
                </a:cxn>
                <a:cxn ang="0">
                  <a:pos x="3162" y="8058"/>
                </a:cxn>
                <a:cxn ang="0">
                  <a:pos x="3468" y="6936"/>
                </a:cxn>
                <a:cxn ang="0">
                  <a:pos x="4080" y="6936"/>
                </a:cxn>
                <a:cxn ang="0">
                  <a:pos x="4692" y="6834"/>
                </a:cxn>
                <a:cxn ang="0">
                  <a:pos x="5304" y="6630"/>
                </a:cxn>
                <a:cxn ang="0">
                  <a:pos x="5815" y="6426"/>
                </a:cxn>
                <a:cxn ang="0">
                  <a:pos x="6324" y="6120"/>
                </a:cxn>
                <a:cxn ang="0">
                  <a:pos x="6732" y="5814"/>
                </a:cxn>
                <a:cxn ang="0">
                  <a:pos x="7140" y="5406"/>
                </a:cxn>
                <a:cxn ang="0">
                  <a:pos x="7548" y="4998"/>
                </a:cxn>
                <a:cxn ang="0">
                  <a:pos x="8160" y="3978"/>
                </a:cxn>
                <a:cxn ang="0">
                  <a:pos x="8670" y="2754"/>
                </a:cxn>
                <a:cxn ang="0">
                  <a:pos x="8976" y="1428"/>
                </a:cxn>
                <a:cxn ang="0">
                  <a:pos x="9078" y="0"/>
                </a:cxn>
                <a:cxn ang="0">
                  <a:pos x="8874" y="1122"/>
                </a:cxn>
                <a:cxn ang="0">
                  <a:pos x="8568" y="2040"/>
                </a:cxn>
                <a:cxn ang="0">
                  <a:pos x="8058" y="2856"/>
                </a:cxn>
                <a:cxn ang="0">
                  <a:pos x="7446" y="3468"/>
                </a:cxn>
                <a:cxn ang="0">
                  <a:pos x="6732" y="3978"/>
                </a:cxn>
                <a:cxn ang="0">
                  <a:pos x="5916" y="4284"/>
                </a:cxn>
                <a:cxn ang="0">
                  <a:pos x="4998" y="4488"/>
                </a:cxn>
                <a:cxn ang="0">
                  <a:pos x="4080" y="4488"/>
                </a:cxn>
              </a:cxnLst>
              <a:rect l="0" t="0" r="r" b="b"/>
              <a:pathLst>
                <a:path w="9078" h="8058">
                  <a:moveTo>
                    <a:pt x="4080" y="4488"/>
                  </a:moveTo>
                  <a:lnTo>
                    <a:pt x="4386" y="3366"/>
                  </a:lnTo>
                  <a:lnTo>
                    <a:pt x="0" y="4590"/>
                  </a:lnTo>
                  <a:lnTo>
                    <a:pt x="3162" y="8058"/>
                  </a:lnTo>
                  <a:lnTo>
                    <a:pt x="3468" y="6936"/>
                  </a:lnTo>
                  <a:lnTo>
                    <a:pt x="4080" y="6936"/>
                  </a:lnTo>
                  <a:lnTo>
                    <a:pt x="4692" y="6834"/>
                  </a:lnTo>
                  <a:lnTo>
                    <a:pt x="5304" y="6630"/>
                  </a:lnTo>
                  <a:lnTo>
                    <a:pt x="5815" y="6426"/>
                  </a:lnTo>
                  <a:lnTo>
                    <a:pt x="6324" y="6120"/>
                  </a:lnTo>
                  <a:lnTo>
                    <a:pt x="6732" y="5814"/>
                  </a:lnTo>
                  <a:lnTo>
                    <a:pt x="7140" y="5406"/>
                  </a:lnTo>
                  <a:lnTo>
                    <a:pt x="7548" y="4998"/>
                  </a:lnTo>
                  <a:lnTo>
                    <a:pt x="8160" y="3978"/>
                  </a:lnTo>
                  <a:lnTo>
                    <a:pt x="8670" y="2754"/>
                  </a:lnTo>
                  <a:lnTo>
                    <a:pt x="8976" y="1428"/>
                  </a:lnTo>
                  <a:lnTo>
                    <a:pt x="9078" y="0"/>
                  </a:lnTo>
                  <a:lnTo>
                    <a:pt x="8874" y="1122"/>
                  </a:lnTo>
                  <a:lnTo>
                    <a:pt x="8568" y="2040"/>
                  </a:lnTo>
                  <a:lnTo>
                    <a:pt x="8058" y="2856"/>
                  </a:lnTo>
                  <a:lnTo>
                    <a:pt x="7446" y="3468"/>
                  </a:lnTo>
                  <a:lnTo>
                    <a:pt x="6732" y="3978"/>
                  </a:lnTo>
                  <a:lnTo>
                    <a:pt x="5916" y="4284"/>
                  </a:lnTo>
                  <a:lnTo>
                    <a:pt x="4998" y="4488"/>
                  </a:lnTo>
                  <a:lnTo>
                    <a:pt x="4080" y="44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164" name="组合 223">
            <a:extLst>
              <a:ext uri="{FF2B5EF4-FFF2-40B4-BE49-F238E27FC236}">
                <a16:creationId xmlns="" xmlns:a16="http://schemas.microsoft.com/office/drawing/2014/main" id="{EBCE2001-3A0F-45DE-B9CE-ABF83E0D79D4}"/>
              </a:ext>
            </a:extLst>
          </p:cNvPr>
          <p:cNvGrpSpPr/>
          <p:nvPr/>
        </p:nvGrpSpPr>
        <p:grpSpPr>
          <a:xfrm>
            <a:off x="1060476" y="3348494"/>
            <a:ext cx="567324" cy="392762"/>
            <a:chOff x="3475038" y="4608513"/>
            <a:chExt cx="1255712" cy="868362"/>
          </a:xfrm>
          <a:solidFill>
            <a:schemeClr val="bg1"/>
          </a:solidFill>
        </p:grpSpPr>
        <p:sp>
          <p:nvSpPr>
            <p:cNvPr id="165" name="Freeform 62">
              <a:extLst>
                <a:ext uri="{FF2B5EF4-FFF2-40B4-BE49-F238E27FC236}">
                  <a16:creationId xmlns="" xmlns:a16="http://schemas.microsoft.com/office/drawing/2014/main" id="{D971DE47-D74B-4CE0-8C64-0829EBF3A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314" y="4783138"/>
              <a:ext cx="998537" cy="666749"/>
            </a:xfrm>
            <a:custGeom>
              <a:avLst/>
              <a:gdLst/>
              <a:ahLst/>
              <a:cxnLst>
                <a:cxn ang="0">
                  <a:pos x="260" y="2202"/>
                </a:cxn>
                <a:cxn ang="0">
                  <a:pos x="2143" y="2202"/>
                </a:cxn>
                <a:cxn ang="0">
                  <a:pos x="2143" y="619"/>
                </a:cxn>
                <a:cxn ang="0">
                  <a:pos x="2718" y="619"/>
                </a:cxn>
                <a:cxn ang="0">
                  <a:pos x="2718" y="2202"/>
                </a:cxn>
                <a:cxn ang="0">
                  <a:pos x="4314" y="2202"/>
                </a:cxn>
                <a:cxn ang="0">
                  <a:pos x="4314" y="2274"/>
                </a:cxn>
                <a:cxn ang="0">
                  <a:pos x="4314" y="2777"/>
                </a:cxn>
                <a:cxn ang="0">
                  <a:pos x="4314" y="5752"/>
                </a:cxn>
                <a:cxn ang="0">
                  <a:pos x="8420" y="5752"/>
                </a:cxn>
                <a:cxn ang="0">
                  <a:pos x="9343" y="4844"/>
                </a:cxn>
                <a:cxn ang="0">
                  <a:pos x="4574" y="0"/>
                </a:cxn>
                <a:cxn ang="0">
                  <a:pos x="5381" y="0"/>
                </a:cxn>
                <a:cxn ang="0">
                  <a:pos x="7501" y="2152"/>
                </a:cxn>
                <a:cxn ang="0">
                  <a:pos x="9202" y="441"/>
                </a:cxn>
                <a:cxn ang="0">
                  <a:pos x="10012" y="441"/>
                </a:cxn>
                <a:cxn ang="0">
                  <a:pos x="7904" y="2562"/>
                </a:cxn>
                <a:cxn ang="0">
                  <a:pos x="9753" y="4441"/>
                </a:cxn>
                <a:cxn ang="0">
                  <a:pos x="13116" y="1133"/>
                </a:cxn>
                <a:cxn ang="0">
                  <a:pos x="13116" y="1859"/>
                </a:cxn>
                <a:cxn ang="0">
                  <a:pos x="13199" y="1859"/>
                </a:cxn>
                <a:cxn ang="0">
                  <a:pos x="9240" y="5752"/>
                </a:cxn>
                <a:cxn ang="0">
                  <a:pos x="12624" y="5752"/>
                </a:cxn>
                <a:cxn ang="0">
                  <a:pos x="12624" y="6327"/>
                </a:cxn>
                <a:cxn ang="0">
                  <a:pos x="8656" y="6327"/>
                </a:cxn>
                <a:cxn ang="0">
                  <a:pos x="6127" y="8815"/>
                </a:cxn>
                <a:cxn ang="0">
                  <a:pos x="5724" y="8405"/>
                </a:cxn>
                <a:cxn ang="0">
                  <a:pos x="7835" y="6327"/>
                </a:cxn>
                <a:cxn ang="0">
                  <a:pos x="4314" y="6327"/>
                </a:cxn>
                <a:cxn ang="0">
                  <a:pos x="3825" y="6327"/>
                </a:cxn>
                <a:cxn ang="0">
                  <a:pos x="3739" y="6327"/>
                </a:cxn>
                <a:cxn ang="0">
                  <a:pos x="3739" y="2777"/>
                </a:cxn>
                <a:cxn ang="0">
                  <a:pos x="2718" y="2777"/>
                </a:cxn>
                <a:cxn ang="0">
                  <a:pos x="2718" y="7433"/>
                </a:cxn>
                <a:cxn ang="0">
                  <a:pos x="2617" y="7433"/>
                </a:cxn>
                <a:cxn ang="0">
                  <a:pos x="2143" y="7433"/>
                </a:cxn>
                <a:cxn ang="0">
                  <a:pos x="0" y="7433"/>
                </a:cxn>
                <a:cxn ang="0">
                  <a:pos x="0" y="6858"/>
                </a:cxn>
                <a:cxn ang="0">
                  <a:pos x="2143" y="6858"/>
                </a:cxn>
                <a:cxn ang="0">
                  <a:pos x="2143" y="2777"/>
                </a:cxn>
                <a:cxn ang="0">
                  <a:pos x="260" y="2777"/>
                </a:cxn>
                <a:cxn ang="0">
                  <a:pos x="260" y="2202"/>
                </a:cxn>
              </a:cxnLst>
              <a:rect l="0" t="0" r="r" b="b"/>
              <a:pathLst>
                <a:path w="13199" h="8815">
                  <a:moveTo>
                    <a:pt x="260" y="2202"/>
                  </a:moveTo>
                  <a:lnTo>
                    <a:pt x="2143" y="2202"/>
                  </a:lnTo>
                  <a:lnTo>
                    <a:pt x="2143" y="619"/>
                  </a:lnTo>
                  <a:lnTo>
                    <a:pt x="2718" y="619"/>
                  </a:lnTo>
                  <a:lnTo>
                    <a:pt x="2718" y="2202"/>
                  </a:lnTo>
                  <a:lnTo>
                    <a:pt x="4314" y="2202"/>
                  </a:lnTo>
                  <a:lnTo>
                    <a:pt x="4314" y="2274"/>
                  </a:lnTo>
                  <a:lnTo>
                    <a:pt x="4314" y="2777"/>
                  </a:lnTo>
                  <a:lnTo>
                    <a:pt x="4314" y="5752"/>
                  </a:lnTo>
                  <a:lnTo>
                    <a:pt x="8420" y="5752"/>
                  </a:lnTo>
                  <a:lnTo>
                    <a:pt x="9343" y="4844"/>
                  </a:lnTo>
                  <a:lnTo>
                    <a:pt x="4574" y="0"/>
                  </a:lnTo>
                  <a:lnTo>
                    <a:pt x="5381" y="0"/>
                  </a:lnTo>
                  <a:lnTo>
                    <a:pt x="7501" y="2152"/>
                  </a:lnTo>
                  <a:lnTo>
                    <a:pt x="9202" y="441"/>
                  </a:lnTo>
                  <a:lnTo>
                    <a:pt x="10012" y="441"/>
                  </a:lnTo>
                  <a:lnTo>
                    <a:pt x="7904" y="2562"/>
                  </a:lnTo>
                  <a:lnTo>
                    <a:pt x="9753" y="4441"/>
                  </a:lnTo>
                  <a:lnTo>
                    <a:pt x="13116" y="1133"/>
                  </a:lnTo>
                  <a:lnTo>
                    <a:pt x="13116" y="1859"/>
                  </a:lnTo>
                  <a:lnTo>
                    <a:pt x="13199" y="1859"/>
                  </a:lnTo>
                  <a:lnTo>
                    <a:pt x="9240" y="5752"/>
                  </a:lnTo>
                  <a:lnTo>
                    <a:pt x="12624" y="5752"/>
                  </a:lnTo>
                  <a:lnTo>
                    <a:pt x="12624" y="6327"/>
                  </a:lnTo>
                  <a:lnTo>
                    <a:pt x="8656" y="6327"/>
                  </a:lnTo>
                  <a:lnTo>
                    <a:pt x="6127" y="8815"/>
                  </a:lnTo>
                  <a:lnTo>
                    <a:pt x="5724" y="8405"/>
                  </a:lnTo>
                  <a:lnTo>
                    <a:pt x="7835" y="6327"/>
                  </a:lnTo>
                  <a:lnTo>
                    <a:pt x="4314" y="6327"/>
                  </a:lnTo>
                  <a:lnTo>
                    <a:pt x="3825" y="6327"/>
                  </a:lnTo>
                  <a:lnTo>
                    <a:pt x="3739" y="6327"/>
                  </a:lnTo>
                  <a:lnTo>
                    <a:pt x="3739" y="2777"/>
                  </a:lnTo>
                  <a:lnTo>
                    <a:pt x="2718" y="2777"/>
                  </a:lnTo>
                  <a:lnTo>
                    <a:pt x="2718" y="7433"/>
                  </a:lnTo>
                  <a:lnTo>
                    <a:pt x="2617" y="7433"/>
                  </a:lnTo>
                  <a:lnTo>
                    <a:pt x="2143" y="7433"/>
                  </a:lnTo>
                  <a:lnTo>
                    <a:pt x="0" y="7433"/>
                  </a:lnTo>
                  <a:lnTo>
                    <a:pt x="0" y="6858"/>
                  </a:lnTo>
                  <a:lnTo>
                    <a:pt x="2143" y="6858"/>
                  </a:lnTo>
                  <a:lnTo>
                    <a:pt x="2143" y="2777"/>
                  </a:lnTo>
                  <a:lnTo>
                    <a:pt x="260" y="2777"/>
                  </a:lnTo>
                  <a:lnTo>
                    <a:pt x="260" y="22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6" name="Freeform 63">
              <a:extLst>
                <a:ext uri="{FF2B5EF4-FFF2-40B4-BE49-F238E27FC236}">
                  <a16:creationId xmlns="" xmlns:a16="http://schemas.microsoft.com/office/drawing/2014/main" id="{C724CAB0-503A-4D81-9D42-E94CC6158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913" y="4665663"/>
              <a:ext cx="166687" cy="174625"/>
            </a:xfrm>
            <a:custGeom>
              <a:avLst/>
              <a:gdLst/>
              <a:ahLst/>
              <a:cxnLst>
                <a:cxn ang="0">
                  <a:pos x="1802" y="2312"/>
                </a:cxn>
                <a:cxn ang="0">
                  <a:pos x="1802" y="2293"/>
                </a:cxn>
                <a:cxn ang="0">
                  <a:pos x="1803" y="2275"/>
                </a:cxn>
                <a:cxn ang="0">
                  <a:pos x="1798" y="2089"/>
                </a:cxn>
                <a:cxn ang="0">
                  <a:pos x="1775" y="1909"/>
                </a:cxn>
                <a:cxn ang="0">
                  <a:pos x="1735" y="1735"/>
                </a:cxn>
                <a:cxn ang="0">
                  <a:pos x="1679" y="1567"/>
                </a:cxn>
                <a:cxn ang="0">
                  <a:pos x="1606" y="1407"/>
                </a:cxn>
                <a:cxn ang="0">
                  <a:pos x="1519" y="1255"/>
                </a:cxn>
                <a:cxn ang="0">
                  <a:pos x="1418" y="1113"/>
                </a:cxn>
                <a:cxn ang="0">
                  <a:pos x="1304" y="981"/>
                </a:cxn>
                <a:cxn ang="0">
                  <a:pos x="1178" y="861"/>
                </a:cxn>
                <a:cxn ang="0">
                  <a:pos x="1041" y="753"/>
                </a:cxn>
                <a:cxn ang="0">
                  <a:pos x="895" y="658"/>
                </a:cxn>
                <a:cxn ang="0">
                  <a:pos x="738" y="578"/>
                </a:cxn>
                <a:cxn ang="0">
                  <a:pos x="574" y="512"/>
                </a:cxn>
                <a:cxn ang="0">
                  <a:pos x="402" y="463"/>
                </a:cxn>
                <a:cxn ang="0">
                  <a:pos x="222" y="431"/>
                </a:cxn>
                <a:cxn ang="0">
                  <a:pos x="38" y="417"/>
                </a:cxn>
                <a:cxn ang="0">
                  <a:pos x="20" y="417"/>
                </a:cxn>
                <a:cxn ang="0">
                  <a:pos x="0" y="417"/>
                </a:cxn>
                <a:cxn ang="0">
                  <a:pos x="21" y="0"/>
                </a:cxn>
                <a:cxn ang="0">
                  <a:pos x="39" y="0"/>
                </a:cxn>
                <a:cxn ang="0">
                  <a:pos x="163" y="7"/>
                </a:cxn>
                <a:cxn ang="0">
                  <a:pos x="386" y="36"/>
                </a:cxn>
                <a:cxn ang="0">
                  <a:pos x="602" y="86"/>
                </a:cxn>
                <a:cxn ang="0">
                  <a:pos x="810" y="156"/>
                </a:cxn>
                <a:cxn ang="0">
                  <a:pos x="1007" y="245"/>
                </a:cxn>
                <a:cxn ang="0">
                  <a:pos x="1194" y="353"/>
                </a:cxn>
                <a:cxn ang="0">
                  <a:pos x="1368" y="479"/>
                </a:cxn>
                <a:cxn ang="0">
                  <a:pos x="1530" y="619"/>
                </a:cxn>
                <a:cxn ang="0">
                  <a:pos x="1677" y="774"/>
                </a:cxn>
                <a:cxn ang="0">
                  <a:pos x="1809" y="943"/>
                </a:cxn>
                <a:cxn ang="0">
                  <a:pos x="1926" y="1123"/>
                </a:cxn>
                <a:cxn ang="0">
                  <a:pos x="2023" y="1315"/>
                </a:cxn>
                <a:cxn ang="0">
                  <a:pos x="2103" y="1517"/>
                </a:cxn>
                <a:cxn ang="0">
                  <a:pos x="2163" y="1728"/>
                </a:cxn>
                <a:cxn ang="0">
                  <a:pos x="2202" y="1946"/>
                </a:cxn>
                <a:cxn ang="0">
                  <a:pos x="2219" y="2171"/>
                </a:cxn>
                <a:cxn ang="0">
                  <a:pos x="2219" y="2294"/>
                </a:cxn>
                <a:cxn ang="0">
                  <a:pos x="2218" y="2313"/>
                </a:cxn>
              </a:cxnLst>
              <a:rect l="0" t="0" r="r" b="b"/>
              <a:pathLst>
                <a:path w="2219" h="2323">
                  <a:moveTo>
                    <a:pt x="2218" y="2323"/>
                  </a:moveTo>
                  <a:lnTo>
                    <a:pt x="1802" y="2312"/>
                  </a:lnTo>
                  <a:lnTo>
                    <a:pt x="1802" y="2303"/>
                  </a:lnTo>
                  <a:lnTo>
                    <a:pt x="1802" y="2293"/>
                  </a:lnTo>
                  <a:lnTo>
                    <a:pt x="1803" y="2284"/>
                  </a:lnTo>
                  <a:lnTo>
                    <a:pt x="1803" y="2275"/>
                  </a:lnTo>
                  <a:lnTo>
                    <a:pt x="1803" y="2181"/>
                  </a:lnTo>
                  <a:lnTo>
                    <a:pt x="1798" y="2089"/>
                  </a:lnTo>
                  <a:lnTo>
                    <a:pt x="1789" y="1998"/>
                  </a:lnTo>
                  <a:lnTo>
                    <a:pt x="1775" y="1909"/>
                  </a:lnTo>
                  <a:lnTo>
                    <a:pt x="1757" y="1821"/>
                  </a:lnTo>
                  <a:lnTo>
                    <a:pt x="1735" y="1735"/>
                  </a:lnTo>
                  <a:lnTo>
                    <a:pt x="1709" y="1650"/>
                  </a:lnTo>
                  <a:lnTo>
                    <a:pt x="1679" y="1567"/>
                  </a:lnTo>
                  <a:lnTo>
                    <a:pt x="1644" y="1486"/>
                  </a:lnTo>
                  <a:lnTo>
                    <a:pt x="1606" y="1407"/>
                  </a:lnTo>
                  <a:lnTo>
                    <a:pt x="1564" y="1330"/>
                  </a:lnTo>
                  <a:lnTo>
                    <a:pt x="1519" y="1255"/>
                  </a:lnTo>
                  <a:lnTo>
                    <a:pt x="1470" y="1183"/>
                  </a:lnTo>
                  <a:lnTo>
                    <a:pt x="1418" y="1113"/>
                  </a:lnTo>
                  <a:lnTo>
                    <a:pt x="1363" y="1046"/>
                  </a:lnTo>
                  <a:lnTo>
                    <a:pt x="1304" y="981"/>
                  </a:lnTo>
                  <a:lnTo>
                    <a:pt x="1242" y="920"/>
                  </a:lnTo>
                  <a:lnTo>
                    <a:pt x="1178" y="861"/>
                  </a:lnTo>
                  <a:lnTo>
                    <a:pt x="1112" y="806"/>
                  </a:lnTo>
                  <a:lnTo>
                    <a:pt x="1041" y="753"/>
                  </a:lnTo>
                  <a:lnTo>
                    <a:pt x="969" y="704"/>
                  </a:lnTo>
                  <a:lnTo>
                    <a:pt x="895" y="658"/>
                  </a:lnTo>
                  <a:lnTo>
                    <a:pt x="818" y="616"/>
                  </a:lnTo>
                  <a:lnTo>
                    <a:pt x="738" y="578"/>
                  </a:lnTo>
                  <a:lnTo>
                    <a:pt x="657" y="543"/>
                  </a:lnTo>
                  <a:lnTo>
                    <a:pt x="574" y="512"/>
                  </a:lnTo>
                  <a:lnTo>
                    <a:pt x="488" y="486"/>
                  </a:lnTo>
                  <a:lnTo>
                    <a:pt x="402" y="463"/>
                  </a:lnTo>
                  <a:lnTo>
                    <a:pt x="312" y="446"/>
                  </a:lnTo>
                  <a:lnTo>
                    <a:pt x="222" y="431"/>
                  </a:lnTo>
                  <a:lnTo>
                    <a:pt x="131" y="422"/>
                  </a:lnTo>
                  <a:lnTo>
                    <a:pt x="38" y="417"/>
                  </a:lnTo>
                  <a:lnTo>
                    <a:pt x="29" y="417"/>
                  </a:lnTo>
                  <a:lnTo>
                    <a:pt x="20" y="417"/>
                  </a:lnTo>
                  <a:lnTo>
                    <a:pt x="10" y="417"/>
                  </a:lnTo>
                  <a:lnTo>
                    <a:pt x="0" y="417"/>
                  </a:lnTo>
                  <a:lnTo>
                    <a:pt x="11" y="0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1"/>
                  </a:lnTo>
                  <a:lnTo>
                    <a:pt x="163" y="7"/>
                  </a:lnTo>
                  <a:lnTo>
                    <a:pt x="276" y="18"/>
                  </a:lnTo>
                  <a:lnTo>
                    <a:pt x="386" y="36"/>
                  </a:lnTo>
                  <a:lnTo>
                    <a:pt x="495" y="57"/>
                  </a:lnTo>
                  <a:lnTo>
                    <a:pt x="602" y="86"/>
                  </a:lnTo>
                  <a:lnTo>
                    <a:pt x="707" y="119"/>
                  </a:lnTo>
                  <a:lnTo>
                    <a:pt x="810" y="156"/>
                  </a:lnTo>
                  <a:lnTo>
                    <a:pt x="910" y="199"/>
                  </a:lnTo>
                  <a:lnTo>
                    <a:pt x="1007" y="245"/>
                  </a:lnTo>
                  <a:lnTo>
                    <a:pt x="1102" y="297"/>
                  </a:lnTo>
                  <a:lnTo>
                    <a:pt x="1194" y="353"/>
                  </a:lnTo>
                  <a:lnTo>
                    <a:pt x="1283" y="414"/>
                  </a:lnTo>
                  <a:lnTo>
                    <a:pt x="1368" y="479"/>
                  </a:lnTo>
                  <a:lnTo>
                    <a:pt x="1451" y="546"/>
                  </a:lnTo>
                  <a:lnTo>
                    <a:pt x="1530" y="619"/>
                  </a:lnTo>
                  <a:lnTo>
                    <a:pt x="1606" y="695"/>
                  </a:lnTo>
                  <a:lnTo>
                    <a:pt x="1677" y="774"/>
                  </a:lnTo>
                  <a:lnTo>
                    <a:pt x="1746" y="857"/>
                  </a:lnTo>
                  <a:lnTo>
                    <a:pt x="1809" y="943"/>
                  </a:lnTo>
                  <a:lnTo>
                    <a:pt x="1870" y="1031"/>
                  </a:lnTo>
                  <a:lnTo>
                    <a:pt x="1926" y="1123"/>
                  </a:lnTo>
                  <a:lnTo>
                    <a:pt x="1976" y="1218"/>
                  </a:lnTo>
                  <a:lnTo>
                    <a:pt x="2023" y="1315"/>
                  </a:lnTo>
                  <a:lnTo>
                    <a:pt x="2066" y="1415"/>
                  </a:lnTo>
                  <a:lnTo>
                    <a:pt x="2103" y="1517"/>
                  </a:lnTo>
                  <a:lnTo>
                    <a:pt x="2135" y="1622"/>
                  </a:lnTo>
                  <a:lnTo>
                    <a:pt x="2163" y="1728"/>
                  </a:lnTo>
                  <a:lnTo>
                    <a:pt x="2185" y="1835"/>
                  </a:lnTo>
                  <a:lnTo>
                    <a:pt x="2202" y="1946"/>
                  </a:lnTo>
                  <a:lnTo>
                    <a:pt x="2213" y="2058"/>
                  </a:lnTo>
                  <a:lnTo>
                    <a:pt x="2219" y="2171"/>
                  </a:lnTo>
                  <a:lnTo>
                    <a:pt x="2219" y="2285"/>
                  </a:lnTo>
                  <a:lnTo>
                    <a:pt x="2219" y="2294"/>
                  </a:lnTo>
                  <a:lnTo>
                    <a:pt x="2218" y="2304"/>
                  </a:lnTo>
                  <a:lnTo>
                    <a:pt x="2218" y="2313"/>
                  </a:lnTo>
                  <a:lnTo>
                    <a:pt x="2218" y="23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7" name="Freeform 64">
              <a:extLst>
                <a:ext uri="{FF2B5EF4-FFF2-40B4-BE49-F238E27FC236}">
                  <a16:creationId xmlns="" xmlns:a16="http://schemas.microsoft.com/office/drawing/2014/main" id="{B04E570A-BBAD-4920-BCD8-734634951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0" y="4608513"/>
              <a:ext cx="222250" cy="233362"/>
            </a:xfrm>
            <a:custGeom>
              <a:avLst/>
              <a:gdLst/>
              <a:ahLst/>
              <a:cxnLst>
                <a:cxn ang="0">
                  <a:pos x="2948" y="3062"/>
                </a:cxn>
                <a:cxn ang="0">
                  <a:pos x="2947" y="3082"/>
                </a:cxn>
                <a:cxn ang="0">
                  <a:pos x="2562" y="3082"/>
                </a:cxn>
                <a:cxn ang="0">
                  <a:pos x="2562" y="3062"/>
                </a:cxn>
                <a:cxn ang="0">
                  <a:pos x="2563" y="3043"/>
                </a:cxn>
                <a:cxn ang="0">
                  <a:pos x="2556" y="2779"/>
                </a:cxn>
                <a:cxn ang="0">
                  <a:pos x="2523" y="2520"/>
                </a:cxn>
                <a:cxn ang="0">
                  <a:pos x="2465" y="2271"/>
                </a:cxn>
                <a:cxn ang="0">
                  <a:pos x="2384" y="2031"/>
                </a:cxn>
                <a:cxn ang="0">
                  <a:pos x="2280" y="1802"/>
                </a:cxn>
                <a:cxn ang="0">
                  <a:pos x="2156" y="1585"/>
                </a:cxn>
                <a:cxn ang="0">
                  <a:pos x="2012" y="1382"/>
                </a:cxn>
                <a:cxn ang="0">
                  <a:pos x="1849" y="1193"/>
                </a:cxn>
                <a:cxn ang="0">
                  <a:pos x="1669" y="1020"/>
                </a:cxn>
                <a:cxn ang="0">
                  <a:pos x="1473" y="867"/>
                </a:cxn>
                <a:cxn ang="0">
                  <a:pos x="1263" y="731"/>
                </a:cxn>
                <a:cxn ang="0">
                  <a:pos x="1039" y="616"/>
                </a:cxn>
                <a:cxn ang="0">
                  <a:pos x="803" y="522"/>
                </a:cxn>
                <a:cxn ang="0">
                  <a:pos x="557" y="452"/>
                </a:cxn>
                <a:cxn ang="0">
                  <a:pos x="301" y="406"/>
                </a:cxn>
                <a:cxn ang="0">
                  <a:pos x="37" y="386"/>
                </a:cxn>
                <a:cxn ang="0">
                  <a:pos x="18" y="385"/>
                </a:cxn>
                <a:cxn ang="0">
                  <a:pos x="0" y="385"/>
                </a:cxn>
                <a:cxn ang="0">
                  <a:pos x="18" y="0"/>
                </a:cxn>
                <a:cxn ang="0">
                  <a:pos x="37" y="0"/>
                </a:cxn>
                <a:cxn ang="0">
                  <a:pos x="200" y="8"/>
                </a:cxn>
                <a:cxn ang="0">
                  <a:pos x="498" y="47"/>
                </a:cxn>
                <a:cxn ang="0">
                  <a:pos x="786" y="113"/>
                </a:cxn>
                <a:cxn ang="0">
                  <a:pos x="1064" y="208"/>
                </a:cxn>
                <a:cxn ang="0">
                  <a:pos x="1327" y="328"/>
                </a:cxn>
                <a:cxn ang="0">
                  <a:pos x="1578" y="472"/>
                </a:cxn>
                <a:cxn ang="0">
                  <a:pos x="1811" y="638"/>
                </a:cxn>
                <a:cxn ang="0">
                  <a:pos x="2027" y="826"/>
                </a:cxn>
                <a:cxn ang="0">
                  <a:pos x="2224" y="1034"/>
                </a:cxn>
                <a:cxn ang="0">
                  <a:pos x="2401" y="1259"/>
                </a:cxn>
                <a:cxn ang="0">
                  <a:pos x="2556" y="1501"/>
                </a:cxn>
                <a:cxn ang="0">
                  <a:pos x="2686" y="1757"/>
                </a:cxn>
                <a:cxn ang="0">
                  <a:pos x="2793" y="2027"/>
                </a:cxn>
                <a:cxn ang="0">
                  <a:pos x="2873" y="2308"/>
                </a:cxn>
                <a:cxn ang="0">
                  <a:pos x="2925" y="2600"/>
                </a:cxn>
                <a:cxn ang="0">
                  <a:pos x="2948" y="2900"/>
                </a:cxn>
              </a:cxnLst>
              <a:rect l="0" t="0" r="r" b="b"/>
              <a:pathLst>
                <a:path w="2948" h="3091">
                  <a:moveTo>
                    <a:pt x="2948" y="3053"/>
                  </a:moveTo>
                  <a:lnTo>
                    <a:pt x="2948" y="3062"/>
                  </a:lnTo>
                  <a:lnTo>
                    <a:pt x="2947" y="3072"/>
                  </a:lnTo>
                  <a:lnTo>
                    <a:pt x="2947" y="3082"/>
                  </a:lnTo>
                  <a:lnTo>
                    <a:pt x="2947" y="3091"/>
                  </a:lnTo>
                  <a:lnTo>
                    <a:pt x="2562" y="3082"/>
                  </a:lnTo>
                  <a:lnTo>
                    <a:pt x="2562" y="3071"/>
                  </a:lnTo>
                  <a:lnTo>
                    <a:pt x="2562" y="3062"/>
                  </a:lnTo>
                  <a:lnTo>
                    <a:pt x="2563" y="3053"/>
                  </a:lnTo>
                  <a:lnTo>
                    <a:pt x="2563" y="3043"/>
                  </a:lnTo>
                  <a:lnTo>
                    <a:pt x="2563" y="2910"/>
                  </a:lnTo>
                  <a:lnTo>
                    <a:pt x="2556" y="2779"/>
                  </a:lnTo>
                  <a:lnTo>
                    <a:pt x="2543" y="2649"/>
                  </a:lnTo>
                  <a:lnTo>
                    <a:pt x="2523" y="2520"/>
                  </a:lnTo>
                  <a:lnTo>
                    <a:pt x="2497" y="2395"/>
                  </a:lnTo>
                  <a:lnTo>
                    <a:pt x="2465" y="2271"/>
                  </a:lnTo>
                  <a:lnTo>
                    <a:pt x="2428" y="2150"/>
                  </a:lnTo>
                  <a:lnTo>
                    <a:pt x="2384" y="2031"/>
                  </a:lnTo>
                  <a:lnTo>
                    <a:pt x="2335" y="1915"/>
                  </a:lnTo>
                  <a:lnTo>
                    <a:pt x="2280" y="1802"/>
                  </a:lnTo>
                  <a:lnTo>
                    <a:pt x="2220" y="1692"/>
                  </a:lnTo>
                  <a:lnTo>
                    <a:pt x="2156" y="1585"/>
                  </a:lnTo>
                  <a:lnTo>
                    <a:pt x="2086" y="1481"/>
                  </a:lnTo>
                  <a:lnTo>
                    <a:pt x="2012" y="1382"/>
                  </a:lnTo>
                  <a:lnTo>
                    <a:pt x="1933" y="1285"/>
                  </a:lnTo>
                  <a:lnTo>
                    <a:pt x="1849" y="1193"/>
                  </a:lnTo>
                  <a:lnTo>
                    <a:pt x="1760" y="1104"/>
                  </a:lnTo>
                  <a:lnTo>
                    <a:pt x="1669" y="1020"/>
                  </a:lnTo>
                  <a:lnTo>
                    <a:pt x="1572" y="941"/>
                  </a:lnTo>
                  <a:lnTo>
                    <a:pt x="1473" y="867"/>
                  </a:lnTo>
                  <a:lnTo>
                    <a:pt x="1370" y="796"/>
                  </a:lnTo>
                  <a:lnTo>
                    <a:pt x="1263" y="731"/>
                  </a:lnTo>
                  <a:lnTo>
                    <a:pt x="1152" y="671"/>
                  </a:lnTo>
                  <a:lnTo>
                    <a:pt x="1039" y="616"/>
                  </a:lnTo>
                  <a:lnTo>
                    <a:pt x="922" y="566"/>
                  </a:lnTo>
                  <a:lnTo>
                    <a:pt x="803" y="522"/>
                  </a:lnTo>
                  <a:lnTo>
                    <a:pt x="682" y="484"/>
                  </a:lnTo>
                  <a:lnTo>
                    <a:pt x="557" y="452"/>
                  </a:lnTo>
                  <a:lnTo>
                    <a:pt x="430" y="426"/>
                  </a:lnTo>
                  <a:lnTo>
                    <a:pt x="301" y="406"/>
                  </a:lnTo>
                  <a:lnTo>
                    <a:pt x="170" y="392"/>
                  </a:lnTo>
                  <a:lnTo>
                    <a:pt x="37" y="386"/>
                  </a:lnTo>
                  <a:lnTo>
                    <a:pt x="28" y="385"/>
                  </a:lnTo>
                  <a:lnTo>
                    <a:pt x="18" y="385"/>
                  </a:lnTo>
                  <a:lnTo>
                    <a:pt x="9" y="385"/>
                  </a:lnTo>
                  <a:lnTo>
                    <a:pt x="0" y="385"/>
                  </a:lnTo>
                  <a:lnTo>
                    <a:pt x="9" y="0"/>
                  </a:lnTo>
                  <a:lnTo>
                    <a:pt x="18" y="0"/>
                  </a:lnTo>
                  <a:lnTo>
                    <a:pt x="28" y="0"/>
                  </a:lnTo>
                  <a:lnTo>
                    <a:pt x="37" y="0"/>
                  </a:lnTo>
                  <a:lnTo>
                    <a:pt x="47" y="0"/>
                  </a:lnTo>
                  <a:lnTo>
                    <a:pt x="200" y="8"/>
                  </a:lnTo>
                  <a:lnTo>
                    <a:pt x="350" y="24"/>
                  </a:lnTo>
                  <a:lnTo>
                    <a:pt x="498" y="47"/>
                  </a:lnTo>
                  <a:lnTo>
                    <a:pt x="644" y="77"/>
                  </a:lnTo>
                  <a:lnTo>
                    <a:pt x="786" y="113"/>
                  </a:lnTo>
                  <a:lnTo>
                    <a:pt x="927" y="158"/>
                  </a:lnTo>
                  <a:lnTo>
                    <a:pt x="1064" y="208"/>
                  </a:lnTo>
                  <a:lnTo>
                    <a:pt x="1198" y="265"/>
                  </a:lnTo>
                  <a:lnTo>
                    <a:pt x="1327" y="328"/>
                  </a:lnTo>
                  <a:lnTo>
                    <a:pt x="1455" y="396"/>
                  </a:lnTo>
                  <a:lnTo>
                    <a:pt x="1578" y="472"/>
                  </a:lnTo>
                  <a:lnTo>
                    <a:pt x="1696" y="552"/>
                  </a:lnTo>
                  <a:lnTo>
                    <a:pt x="1811" y="638"/>
                  </a:lnTo>
                  <a:lnTo>
                    <a:pt x="1921" y="730"/>
                  </a:lnTo>
                  <a:lnTo>
                    <a:pt x="2027" y="826"/>
                  </a:lnTo>
                  <a:lnTo>
                    <a:pt x="2128" y="928"/>
                  </a:lnTo>
                  <a:lnTo>
                    <a:pt x="2224" y="1034"/>
                  </a:lnTo>
                  <a:lnTo>
                    <a:pt x="2315" y="1144"/>
                  </a:lnTo>
                  <a:lnTo>
                    <a:pt x="2401" y="1259"/>
                  </a:lnTo>
                  <a:lnTo>
                    <a:pt x="2481" y="1377"/>
                  </a:lnTo>
                  <a:lnTo>
                    <a:pt x="2556" y="1501"/>
                  </a:lnTo>
                  <a:lnTo>
                    <a:pt x="2624" y="1626"/>
                  </a:lnTo>
                  <a:lnTo>
                    <a:pt x="2686" y="1757"/>
                  </a:lnTo>
                  <a:lnTo>
                    <a:pt x="2742" y="1890"/>
                  </a:lnTo>
                  <a:lnTo>
                    <a:pt x="2793" y="2027"/>
                  </a:lnTo>
                  <a:lnTo>
                    <a:pt x="2836" y="2166"/>
                  </a:lnTo>
                  <a:lnTo>
                    <a:pt x="2873" y="2308"/>
                  </a:lnTo>
                  <a:lnTo>
                    <a:pt x="2902" y="2453"/>
                  </a:lnTo>
                  <a:lnTo>
                    <a:pt x="2925" y="2600"/>
                  </a:lnTo>
                  <a:lnTo>
                    <a:pt x="2941" y="2748"/>
                  </a:lnTo>
                  <a:lnTo>
                    <a:pt x="2948" y="2900"/>
                  </a:lnTo>
                  <a:lnTo>
                    <a:pt x="2948" y="305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8" name="Freeform 65">
              <a:extLst>
                <a:ext uri="{FF2B5EF4-FFF2-40B4-BE49-F238E27FC236}">
                  <a16:creationId xmlns="" xmlns:a16="http://schemas.microsoft.com/office/drawing/2014/main" id="{8AC93F6A-B960-41C3-A5F9-BA0B72A293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5038" y="4760913"/>
              <a:ext cx="1076325" cy="715962"/>
            </a:xfrm>
            <a:custGeom>
              <a:avLst/>
              <a:gdLst/>
              <a:ahLst/>
              <a:cxnLst>
                <a:cxn ang="0">
                  <a:pos x="13800" y="1"/>
                </a:cxn>
                <a:cxn ang="0">
                  <a:pos x="13870" y="11"/>
                </a:cxn>
                <a:cxn ang="0">
                  <a:pos x="13938" y="29"/>
                </a:cxn>
                <a:cxn ang="0">
                  <a:pos x="14000" y="58"/>
                </a:cxn>
                <a:cxn ang="0">
                  <a:pos x="14057" y="95"/>
                </a:cxn>
                <a:cxn ang="0">
                  <a:pos x="14109" y="139"/>
                </a:cxn>
                <a:cxn ang="0">
                  <a:pos x="14154" y="190"/>
                </a:cxn>
                <a:cxn ang="0">
                  <a:pos x="14190" y="248"/>
                </a:cxn>
                <a:cxn ang="0">
                  <a:pos x="14219" y="311"/>
                </a:cxn>
                <a:cxn ang="0">
                  <a:pos x="14238" y="378"/>
                </a:cxn>
                <a:cxn ang="0">
                  <a:pos x="14247" y="449"/>
                </a:cxn>
                <a:cxn ang="0">
                  <a:pos x="14247" y="9034"/>
                </a:cxn>
                <a:cxn ang="0">
                  <a:pos x="14238" y="9104"/>
                </a:cxn>
                <a:cxn ang="0">
                  <a:pos x="14219" y="9171"/>
                </a:cxn>
                <a:cxn ang="0">
                  <a:pos x="14190" y="9234"/>
                </a:cxn>
                <a:cxn ang="0">
                  <a:pos x="14154" y="9291"/>
                </a:cxn>
                <a:cxn ang="0">
                  <a:pos x="14109" y="9343"/>
                </a:cxn>
                <a:cxn ang="0">
                  <a:pos x="14057" y="9387"/>
                </a:cxn>
                <a:cxn ang="0">
                  <a:pos x="14000" y="9424"/>
                </a:cxn>
                <a:cxn ang="0">
                  <a:pos x="13938" y="9452"/>
                </a:cxn>
                <a:cxn ang="0">
                  <a:pos x="13870" y="9472"/>
                </a:cxn>
                <a:cxn ang="0">
                  <a:pos x="13800" y="9480"/>
                </a:cxn>
                <a:cxn ang="0">
                  <a:pos x="447" y="9480"/>
                </a:cxn>
                <a:cxn ang="0">
                  <a:pos x="377" y="9472"/>
                </a:cxn>
                <a:cxn ang="0">
                  <a:pos x="309" y="9452"/>
                </a:cxn>
                <a:cxn ang="0">
                  <a:pos x="247" y="9424"/>
                </a:cxn>
                <a:cxn ang="0">
                  <a:pos x="190" y="9387"/>
                </a:cxn>
                <a:cxn ang="0">
                  <a:pos x="138" y="9343"/>
                </a:cxn>
                <a:cxn ang="0">
                  <a:pos x="93" y="9291"/>
                </a:cxn>
                <a:cxn ang="0">
                  <a:pos x="57" y="9234"/>
                </a:cxn>
                <a:cxn ang="0">
                  <a:pos x="29" y="9171"/>
                </a:cxn>
                <a:cxn ang="0">
                  <a:pos x="9" y="9104"/>
                </a:cxn>
                <a:cxn ang="0">
                  <a:pos x="1" y="9034"/>
                </a:cxn>
                <a:cxn ang="0">
                  <a:pos x="1" y="449"/>
                </a:cxn>
                <a:cxn ang="0">
                  <a:pos x="9" y="378"/>
                </a:cxn>
                <a:cxn ang="0">
                  <a:pos x="29" y="311"/>
                </a:cxn>
                <a:cxn ang="0">
                  <a:pos x="57" y="248"/>
                </a:cxn>
                <a:cxn ang="0">
                  <a:pos x="93" y="190"/>
                </a:cxn>
                <a:cxn ang="0">
                  <a:pos x="138" y="139"/>
                </a:cxn>
                <a:cxn ang="0">
                  <a:pos x="190" y="95"/>
                </a:cxn>
                <a:cxn ang="0">
                  <a:pos x="247" y="58"/>
                </a:cxn>
                <a:cxn ang="0">
                  <a:pos x="309" y="29"/>
                </a:cxn>
                <a:cxn ang="0">
                  <a:pos x="377" y="11"/>
                </a:cxn>
                <a:cxn ang="0">
                  <a:pos x="447" y="1"/>
                </a:cxn>
                <a:cxn ang="0">
                  <a:pos x="12797" y="1205"/>
                </a:cxn>
                <a:cxn ang="0">
                  <a:pos x="1451" y="1205"/>
                </a:cxn>
              </a:cxnLst>
              <a:rect l="0" t="0" r="r" b="b"/>
              <a:pathLst>
                <a:path w="14247" h="9481">
                  <a:moveTo>
                    <a:pt x="471" y="0"/>
                  </a:moveTo>
                  <a:lnTo>
                    <a:pt x="13776" y="0"/>
                  </a:lnTo>
                  <a:lnTo>
                    <a:pt x="13800" y="1"/>
                  </a:lnTo>
                  <a:lnTo>
                    <a:pt x="13823" y="3"/>
                  </a:lnTo>
                  <a:lnTo>
                    <a:pt x="13847" y="7"/>
                  </a:lnTo>
                  <a:lnTo>
                    <a:pt x="13870" y="11"/>
                  </a:lnTo>
                  <a:lnTo>
                    <a:pt x="13893" y="16"/>
                  </a:lnTo>
                  <a:lnTo>
                    <a:pt x="13916" y="22"/>
                  </a:lnTo>
                  <a:lnTo>
                    <a:pt x="13938" y="29"/>
                  </a:lnTo>
                  <a:lnTo>
                    <a:pt x="13958" y="38"/>
                  </a:lnTo>
                  <a:lnTo>
                    <a:pt x="13979" y="47"/>
                  </a:lnTo>
                  <a:lnTo>
                    <a:pt x="14000" y="58"/>
                  </a:lnTo>
                  <a:lnTo>
                    <a:pt x="14020" y="70"/>
                  </a:lnTo>
                  <a:lnTo>
                    <a:pt x="14038" y="81"/>
                  </a:lnTo>
                  <a:lnTo>
                    <a:pt x="14057" y="95"/>
                  </a:lnTo>
                  <a:lnTo>
                    <a:pt x="14075" y="109"/>
                  </a:lnTo>
                  <a:lnTo>
                    <a:pt x="14092" y="124"/>
                  </a:lnTo>
                  <a:lnTo>
                    <a:pt x="14109" y="139"/>
                  </a:lnTo>
                  <a:lnTo>
                    <a:pt x="14125" y="156"/>
                  </a:lnTo>
                  <a:lnTo>
                    <a:pt x="14139" y="173"/>
                  </a:lnTo>
                  <a:lnTo>
                    <a:pt x="14154" y="190"/>
                  </a:lnTo>
                  <a:lnTo>
                    <a:pt x="14166" y="209"/>
                  </a:lnTo>
                  <a:lnTo>
                    <a:pt x="14179" y="229"/>
                  </a:lnTo>
                  <a:lnTo>
                    <a:pt x="14190" y="248"/>
                  </a:lnTo>
                  <a:lnTo>
                    <a:pt x="14200" y="268"/>
                  </a:lnTo>
                  <a:lnTo>
                    <a:pt x="14210" y="289"/>
                  </a:lnTo>
                  <a:lnTo>
                    <a:pt x="14219" y="311"/>
                  </a:lnTo>
                  <a:lnTo>
                    <a:pt x="14226" y="333"/>
                  </a:lnTo>
                  <a:lnTo>
                    <a:pt x="14233" y="355"/>
                  </a:lnTo>
                  <a:lnTo>
                    <a:pt x="14238" y="378"/>
                  </a:lnTo>
                  <a:lnTo>
                    <a:pt x="14242" y="401"/>
                  </a:lnTo>
                  <a:lnTo>
                    <a:pt x="14245" y="425"/>
                  </a:lnTo>
                  <a:lnTo>
                    <a:pt x="14247" y="449"/>
                  </a:lnTo>
                  <a:lnTo>
                    <a:pt x="14247" y="473"/>
                  </a:lnTo>
                  <a:lnTo>
                    <a:pt x="14247" y="9010"/>
                  </a:lnTo>
                  <a:lnTo>
                    <a:pt x="14247" y="9034"/>
                  </a:lnTo>
                  <a:lnTo>
                    <a:pt x="14245" y="9058"/>
                  </a:lnTo>
                  <a:lnTo>
                    <a:pt x="14242" y="9081"/>
                  </a:lnTo>
                  <a:lnTo>
                    <a:pt x="14238" y="9104"/>
                  </a:lnTo>
                  <a:lnTo>
                    <a:pt x="14233" y="9127"/>
                  </a:lnTo>
                  <a:lnTo>
                    <a:pt x="14226" y="9149"/>
                  </a:lnTo>
                  <a:lnTo>
                    <a:pt x="14219" y="9171"/>
                  </a:lnTo>
                  <a:lnTo>
                    <a:pt x="14210" y="9192"/>
                  </a:lnTo>
                  <a:lnTo>
                    <a:pt x="14200" y="9213"/>
                  </a:lnTo>
                  <a:lnTo>
                    <a:pt x="14190" y="9234"/>
                  </a:lnTo>
                  <a:lnTo>
                    <a:pt x="14179" y="9254"/>
                  </a:lnTo>
                  <a:lnTo>
                    <a:pt x="14166" y="9272"/>
                  </a:lnTo>
                  <a:lnTo>
                    <a:pt x="14154" y="9291"/>
                  </a:lnTo>
                  <a:lnTo>
                    <a:pt x="14139" y="9309"/>
                  </a:lnTo>
                  <a:lnTo>
                    <a:pt x="14125" y="9326"/>
                  </a:lnTo>
                  <a:lnTo>
                    <a:pt x="14109" y="9343"/>
                  </a:lnTo>
                  <a:lnTo>
                    <a:pt x="14092" y="9359"/>
                  </a:lnTo>
                  <a:lnTo>
                    <a:pt x="14075" y="9373"/>
                  </a:lnTo>
                  <a:lnTo>
                    <a:pt x="14057" y="9387"/>
                  </a:lnTo>
                  <a:lnTo>
                    <a:pt x="14038" y="9400"/>
                  </a:lnTo>
                  <a:lnTo>
                    <a:pt x="14020" y="9412"/>
                  </a:lnTo>
                  <a:lnTo>
                    <a:pt x="14000" y="9424"/>
                  </a:lnTo>
                  <a:lnTo>
                    <a:pt x="13979" y="9434"/>
                  </a:lnTo>
                  <a:lnTo>
                    <a:pt x="13958" y="9444"/>
                  </a:lnTo>
                  <a:lnTo>
                    <a:pt x="13938" y="9452"/>
                  </a:lnTo>
                  <a:lnTo>
                    <a:pt x="13916" y="9460"/>
                  </a:lnTo>
                  <a:lnTo>
                    <a:pt x="13893" y="9466"/>
                  </a:lnTo>
                  <a:lnTo>
                    <a:pt x="13870" y="9472"/>
                  </a:lnTo>
                  <a:lnTo>
                    <a:pt x="13847" y="9476"/>
                  </a:lnTo>
                  <a:lnTo>
                    <a:pt x="13823" y="9479"/>
                  </a:lnTo>
                  <a:lnTo>
                    <a:pt x="13800" y="9480"/>
                  </a:lnTo>
                  <a:lnTo>
                    <a:pt x="13776" y="9481"/>
                  </a:lnTo>
                  <a:lnTo>
                    <a:pt x="471" y="9481"/>
                  </a:lnTo>
                  <a:lnTo>
                    <a:pt x="447" y="9480"/>
                  </a:lnTo>
                  <a:lnTo>
                    <a:pt x="424" y="9479"/>
                  </a:lnTo>
                  <a:lnTo>
                    <a:pt x="400" y="9476"/>
                  </a:lnTo>
                  <a:lnTo>
                    <a:pt x="377" y="9472"/>
                  </a:lnTo>
                  <a:lnTo>
                    <a:pt x="354" y="9466"/>
                  </a:lnTo>
                  <a:lnTo>
                    <a:pt x="332" y="9460"/>
                  </a:lnTo>
                  <a:lnTo>
                    <a:pt x="309" y="9452"/>
                  </a:lnTo>
                  <a:lnTo>
                    <a:pt x="289" y="9444"/>
                  </a:lnTo>
                  <a:lnTo>
                    <a:pt x="268" y="9434"/>
                  </a:lnTo>
                  <a:lnTo>
                    <a:pt x="247" y="9424"/>
                  </a:lnTo>
                  <a:lnTo>
                    <a:pt x="227" y="9412"/>
                  </a:lnTo>
                  <a:lnTo>
                    <a:pt x="209" y="9400"/>
                  </a:lnTo>
                  <a:lnTo>
                    <a:pt x="190" y="9387"/>
                  </a:lnTo>
                  <a:lnTo>
                    <a:pt x="172" y="9373"/>
                  </a:lnTo>
                  <a:lnTo>
                    <a:pt x="155" y="9359"/>
                  </a:lnTo>
                  <a:lnTo>
                    <a:pt x="138" y="9343"/>
                  </a:lnTo>
                  <a:lnTo>
                    <a:pt x="123" y="9326"/>
                  </a:lnTo>
                  <a:lnTo>
                    <a:pt x="108" y="9309"/>
                  </a:lnTo>
                  <a:lnTo>
                    <a:pt x="93" y="9291"/>
                  </a:lnTo>
                  <a:lnTo>
                    <a:pt x="81" y="9272"/>
                  </a:lnTo>
                  <a:lnTo>
                    <a:pt x="69" y="9254"/>
                  </a:lnTo>
                  <a:lnTo>
                    <a:pt x="57" y="9234"/>
                  </a:lnTo>
                  <a:lnTo>
                    <a:pt x="47" y="9213"/>
                  </a:lnTo>
                  <a:lnTo>
                    <a:pt x="37" y="9192"/>
                  </a:lnTo>
                  <a:lnTo>
                    <a:pt x="29" y="9171"/>
                  </a:lnTo>
                  <a:lnTo>
                    <a:pt x="21" y="9149"/>
                  </a:lnTo>
                  <a:lnTo>
                    <a:pt x="15" y="9127"/>
                  </a:lnTo>
                  <a:lnTo>
                    <a:pt x="9" y="9104"/>
                  </a:lnTo>
                  <a:lnTo>
                    <a:pt x="5" y="9081"/>
                  </a:lnTo>
                  <a:lnTo>
                    <a:pt x="2" y="9058"/>
                  </a:lnTo>
                  <a:lnTo>
                    <a:pt x="1" y="9034"/>
                  </a:lnTo>
                  <a:lnTo>
                    <a:pt x="0" y="9010"/>
                  </a:lnTo>
                  <a:lnTo>
                    <a:pt x="0" y="473"/>
                  </a:lnTo>
                  <a:lnTo>
                    <a:pt x="1" y="449"/>
                  </a:lnTo>
                  <a:lnTo>
                    <a:pt x="2" y="425"/>
                  </a:lnTo>
                  <a:lnTo>
                    <a:pt x="5" y="401"/>
                  </a:lnTo>
                  <a:lnTo>
                    <a:pt x="9" y="378"/>
                  </a:lnTo>
                  <a:lnTo>
                    <a:pt x="15" y="355"/>
                  </a:lnTo>
                  <a:lnTo>
                    <a:pt x="21" y="333"/>
                  </a:lnTo>
                  <a:lnTo>
                    <a:pt x="29" y="311"/>
                  </a:lnTo>
                  <a:lnTo>
                    <a:pt x="37" y="289"/>
                  </a:lnTo>
                  <a:lnTo>
                    <a:pt x="47" y="268"/>
                  </a:lnTo>
                  <a:lnTo>
                    <a:pt x="57" y="248"/>
                  </a:lnTo>
                  <a:lnTo>
                    <a:pt x="69" y="229"/>
                  </a:lnTo>
                  <a:lnTo>
                    <a:pt x="81" y="209"/>
                  </a:lnTo>
                  <a:lnTo>
                    <a:pt x="93" y="190"/>
                  </a:lnTo>
                  <a:lnTo>
                    <a:pt x="108" y="173"/>
                  </a:lnTo>
                  <a:lnTo>
                    <a:pt x="123" y="156"/>
                  </a:lnTo>
                  <a:lnTo>
                    <a:pt x="138" y="139"/>
                  </a:lnTo>
                  <a:lnTo>
                    <a:pt x="155" y="124"/>
                  </a:lnTo>
                  <a:lnTo>
                    <a:pt x="172" y="109"/>
                  </a:lnTo>
                  <a:lnTo>
                    <a:pt x="190" y="95"/>
                  </a:lnTo>
                  <a:lnTo>
                    <a:pt x="209" y="81"/>
                  </a:lnTo>
                  <a:lnTo>
                    <a:pt x="227" y="70"/>
                  </a:lnTo>
                  <a:lnTo>
                    <a:pt x="247" y="58"/>
                  </a:lnTo>
                  <a:lnTo>
                    <a:pt x="268" y="47"/>
                  </a:lnTo>
                  <a:lnTo>
                    <a:pt x="289" y="38"/>
                  </a:lnTo>
                  <a:lnTo>
                    <a:pt x="309" y="29"/>
                  </a:lnTo>
                  <a:lnTo>
                    <a:pt x="332" y="22"/>
                  </a:lnTo>
                  <a:lnTo>
                    <a:pt x="354" y="16"/>
                  </a:lnTo>
                  <a:lnTo>
                    <a:pt x="377" y="11"/>
                  </a:lnTo>
                  <a:lnTo>
                    <a:pt x="400" y="7"/>
                  </a:lnTo>
                  <a:lnTo>
                    <a:pt x="424" y="3"/>
                  </a:lnTo>
                  <a:lnTo>
                    <a:pt x="447" y="1"/>
                  </a:lnTo>
                  <a:lnTo>
                    <a:pt x="471" y="0"/>
                  </a:lnTo>
                  <a:close/>
                  <a:moveTo>
                    <a:pt x="1451" y="1205"/>
                  </a:moveTo>
                  <a:lnTo>
                    <a:pt x="12797" y="1205"/>
                  </a:lnTo>
                  <a:lnTo>
                    <a:pt x="12797" y="8276"/>
                  </a:lnTo>
                  <a:lnTo>
                    <a:pt x="1451" y="8276"/>
                  </a:lnTo>
                  <a:lnTo>
                    <a:pt x="1451" y="120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69" name="Freeform 66">
              <a:extLst>
                <a:ext uri="{FF2B5EF4-FFF2-40B4-BE49-F238E27FC236}">
                  <a16:creationId xmlns="" xmlns:a16="http://schemas.microsoft.com/office/drawing/2014/main" id="{8DF85DD3-8534-4044-AAFB-89EFCE7D4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0325" y="4976813"/>
              <a:ext cx="149225" cy="222250"/>
            </a:xfrm>
            <a:custGeom>
              <a:avLst/>
              <a:gdLst/>
              <a:ahLst/>
              <a:cxnLst>
                <a:cxn ang="0">
                  <a:pos x="1143" y="12"/>
                </a:cxn>
                <a:cxn ang="0">
                  <a:pos x="1333" y="61"/>
                </a:cxn>
                <a:cxn ang="0">
                  <a:pos x="1506" y="145"/>
                </a:cxn>
                <a:cxn ang="0">
                  <a:pos x="1659" y="259"/>
                </a:cxn>
                <a:cxn ang="0">
                  <a:pos x="1787" y="399"/>
                </a:cxn>
                <a:cxn ang="0">
                  <a:pos x="1887" y="563"/>
                </a:cxn>
                <a:cxn ang="0">
                  <a:pos x="1953" y="745"/>
                </a:cxn>
                <a:cxn ang="0">
                  <a:pos x="1983" y="942"/>
                </a:cxn>
                <a:cxn ang="0">
                  <a:pos x="1977" y="1112"/>
                </a:cxn>
                <a:cxn ang="0">
                  <a:pos x="1946" y="1265"/>
                </a:cxn>
                <a:cxn ang="0">
                  <a:pos x="1893" y="1408"/>
                </a:cxn>
                <a:cxn ang="0">
                  <a:pos x="1818" y="1540"/>
                </a:cxn>
                <a:cxn ang="0">
                  <a:pos x="202" y="1591"/>
                </a:cxn>
                <a:cxn ang="0">
                  <a:pos x="118" y="1458"/>
                </a:cxn>
                <a:cxn ang="0">
                  <a:pos x="53" y="1312"/>
                </a:cxn>
                <a:cxn ang="0">
                  <a:pos x="14" y="1157"/>
                </a:cxn>
                <a:cxn ang="0">
                  <a:pos x="0" y="993"/>
                </a:cxn>
                <a:cxn ang="0">
                  <a:pos x="20" y="792"/>
                </a:cxn>
                <a:cxn ang="0">
                  <a:pos x="78" y="607"/>
                </a:cxn>
                <a:cxn ang="0">
                  <a:pos x="170" y="438"/>
                </a:cxn>
                <a:cxn ang="0">
                  <a:pos x="291" y="291"/>
                </a:cxn>
                <a:cxn ang="0">
                  <a:pos x="438" y="170"/>
                </a:cxn>
                <a:cxn ang="0">
                  <a:pos x="607" y="78"/>
                </a:cxn>
                <a:cxn ang="0">
                  <a:pos x="792" y="20"/>
                </a:cxn>
                <a:cxn ang="0">
                  <a:pos x="993" y="0"/>
                </a:cxn>
                <a:cxn ang="0">
                  <a:pos x="1079" y="428"/>
                </a:cxn>
                <a:cxn ang="0">
                  <a:pos x="1188" y="456"/>
                </a:cxn>
                <a:cxn ang="0">
                  <a:pos x="1289" y="504"/>
                </a:cxn>
                <a:cxn ang="0">
                  <a:pos x="1376" y="570"/>
                </a:cxn>
                <a:cxn ang="0">
                  <a:pos x="1450" y="651"/>
                </a:cxn>
                <a:cxn ang="0">
                  <a:pos x="1507" y="745"/>
                </a:cxn>
                <a:cxn ang="0">
                  <a:pos x="1545" y="850"/>
                </a:cxn>
                <a:cxn ang="0">
                  <a:pos x="1563" y="963"/>
                </a:cxn>
                <a:cxn ang="0">
                  <a:pos x="1557" y="1079"/>
                </a:cxn>
                <a:cxn ang="0">
                  <a:pos x="1529" y="1188"/>
                </a:cxn>
                <a:cxn ang="0">
                  <a:pos x="1481" y="1289"/>
                </a:cxn>
                <a:cxn ang="0">
                  <a:pos x="1415" y="1376"/>
                </a:cxn>
                <a:cxn ang="0">
                  <a:pos x="1333" y="1449"/>
                </a:cxn>
                <a:cxn ang="0">
                  <a:pos x="1240" y="1507"/>
                </a:cxn>
                <a:cxn ang="0">
                  <a:pos x="1135" y="1545"/>
                </a:cxn>
                <a:cxn ang="0">
                  <a:pos x="1022" y="1563"/>
                </a:cxn>
                <a:cxn ang="0">
                  <a:pos x="906" y="1556"/>
                </a:cxn>
                <a:cxn ang="0">
                  <a:pos x="797" y="1528"/>
                </a:cxn>
                <a:cxn ang="0">
                  <a:pos x="697" y="1481"/>
                </a:cxn>
                <a:cxn ang="0">
                  <a:pos x="609" y="1415"/>
                </a:cxn>
                <a:cxn ang="0">
                  <a:pos x="535" y="1334"/>
                </a:cxn>
                <a:cxn ang="0">
                  <a:pos x="478" y="1240"/>
                </a:cxn>
                <a:cxn ang="0">
                  <a:pos x="440" y="1135"/>
                </a:cxn>
                <a:cxn ang="0">
                  <a:pos x="422" y="1022"/>
                </a:cxn>
                <a:cxn ang="0">
                  <a:pos x="428" y="906"/>
                </a:cxn>
                <a:cxn ang="0">
                  <a:pos x="456" y="797"/>
                </a:cxn>
                <a:cxn ang="0">
                  <a:pos x="504" y="697"/>
                </a:cxn>
                <a:cxn ang="0">
                  <a:pos x="570" y="609"/>
                </a:cxn>
                <a:cxn ang="0">
                  <a:pos x="651" y="535"/>
                </a:cxn>
                <a:cxn ang="0">
                  <a:pos x="745" y="478"/>
                </a:cxn>
                <a:cxn ang="0">
                  <a:pos x="850" y="440"/>
                </a:cxn>
                <a:cxn ang="0">
                  <a:pos x="963" y="422"/>
                </a:cxn>
              </a:cxnLst>
              <a:rect l="0" t="0" r="r" b="b"/>
              <a:pathLst>
                <a:path w="1984" h="2926">
                  <a:moveTo>
                    <a:pt x="993" y="0"/>
                  </a:moveTo>
                  <a:lnTo>
                    <a:pt x="1044" y="2"/>
                  </a:lnTo>
                  <a:lnTo>
                    <a:pt x="1094" y="6"/>
                  </a:lnTo>
                  <a:lnTo>
                    <a:pt x="1143" y="12"/>
                  </a:lnTo>
                  <a:lnTo>
                    <a:pt x="1192" y="20"/>
                  </a:lnTo>
                  <a:lnTo>
                    <a:pt x="1240" y="32"/>
                  </a:lnTo>
                  <a:lnTo>
                    <a:pt x="1287" y="45"/>
                  </a:lnTo>
                  <a:lnTo>
                    <a:pt x="1333" y="61"/>
                  </a:lnTo>
                  <a:lnTo>
                    <a:pt x="1378" y="78"/>
                  </a:lnTo>
                  <a:lnTo>
                    <a:pt x="1422" y="98"/>
                  </a:lnTo>
                  <a:lnTo>
                    <a:pt x="1464" y="121"/>
                  </a:lnTo>
                  <a:lnTo>
                    <a:pt x="1506" y="145"/>
                  </a:lnTo>
                  <a:lnTo>
                    <a:pt x="1546" y="170"/>
                  </a:lnTo>
                  <a:lnTo>
                    <a:pt x="1586" y="198"/>
                  </a:lnTo>
                  <a:lnTo>
                    <a:pt x="1623" y="228"/>
                  </a:lnTo>
                  <a:lnTo>
                    <a:pt x="1659" y="259"/>
                  </a:lnTo>
                  <a:lnTo>
                    <a:pt x="1694" y="291"/>
                  </a:lnTo>
                  <a:lnTo>
                    <a:pt x="1727" y="326"/>
                  </a:lnTo>
                  <a:lnTo>
                    <a:pt x="1758" y="362"/>
                  </a:lnTo>
                  <a:lnTo>
                    <a:pt x="1787" y="399"/>
                  </a:lnTo>
                  <a:lnTo>
                    <a:pt x="1815" y="438"/>
                  </a:lnTo>
                  <a:lnTo>
                    <a:pt x="1841" y="479"/>
                  </a:lnTo>
                  <a:lnTo>
                    <a:pt x="1865" y="520"/>
                  </a:lnTo>
                  <a:lnTo>
                    <a:pt x="1887" y="563"/>
                  </a:lnTo>
                  <a:lnTo>
                    <a:pt x="1906" y="607"/>
                  </a:lnTo>
                  <a:lnTo>
                    <a:pt x="1924" y="652"/>
                  </a:lnTo>
                  <a:lnTo>
                    <a:pt x="1940" y="698"/>
                  </a:lnTo>
                  <a:lnTo>
                    <a:pt x="1953" y="745"/>
                  </a:lnTo>
                  <a:lnTo>
                    <a:pt x="1965" y="792"/>
                  </a:lnTo>
                  <a:lnTo>
                    <a:pt x="1973" y="841"/>
                  </a:lnTo>
                  <a:lnTo>
                    <a:pt x="1979" y="891"/>
                  </a:lnTo>
                  <a:lnTo>
                    <a:pt x="1983" y="942"/>
                  </a:lnTo>
                  <a:lnTo>
                    <a:pt x="1984" y="993"/>
                  </a:lnTo>
                  <a:lnTo>
                    <a:pt x="1984" y="1032"/>
                  </a:lnTo>
                  <a:lnTo>
                    <a:pt x="1981" y="1073"/>
                  </a:lnTo>
                  <a:lnTo>
                    <a:pt x="1977" y="1112"/>
                  </a:lnTo>
                  <a:lnTo>
                    <a:pt x="1972" y="1151"/>
                  </a:lnTo>
                  <a:lnTo>
                    <a:pt x="1965" y="1189"/>
                  </a:lnTo>
                  <a:lnTo>
                    <a:pt x="1956" y="1227"/>
                  </a:lnTo>
                  <a:lnTo>
                    <a:pt x="1946" y="1265"/>
                  </a:lnTo>
                  <a:lnTo>
                    <a:pt x="1936" y="1301"/>
                  </a:lnTo>
                  <a:lnTo>
                    <a:pt x="1922" y="1337"/>
                  </a:lnTo>
                  <a:lnTo>
                    <a:pt x="1909" y="1373"/>
                  </a:lnTo>
                  <a:lnTo>
                    <a:pt x="1893" y="1408"/>
                  </a:lnTo>
                  <a:lnTo>
                    <a:pt x="1876" y="1442"/>
                  </a:lnTo>
                  <a:lnTo>
                    <a:pt x="1859" y="1475"/>
                  </a:lnTo>
                  <a:lnTo>
                    <a:pt x="1839" y="1508"/>
                  </a:lnTo>
                  <a:lnTo>
                    <a:pt x="1818" y="1540"/>
                  </a:lnTo>
                  <a:lnTo>
                    <a:pt x="1797" y="1571"/>
                  </a:lnTo>
                  <a:lnTo>
                    <a:pt x="1023" y="2926"/>
                  </a:lnTo>
                  <a:lnTo>
                    <a:pt x="199" y="1591"/>
                  </a:lnTo>
                  <a:lnTo>
                    <a:pt x="202" y="1591"/>
                  </a:lnTo>
                  <a:lnTo>
                    <a:pt x="179" y="1558"/>
                  </a:lnTo>
                  <a:lnTo>
                    <a:pt x="157" y="1526"/>
                  </a:lnTo>
                  <a:lnTo>
                    <a:pt x="136" y="1492"/>
                  </a:lnTo>
                  <a:lnTo>
                    <a:pt x="118" y="1458"/>
                  </a:lnTo>
                  <a:lnTo>
                    <a:pt x="99" y="1422"/>
                  </a:lnTo>
                  <a:lnTo>
                    <a:pt x="82" y="1387"/>
                  </a:lnTo>
                  <a:lnTo>
                    <a:pt x="68" y="1351"/>
                  </a:lnTo>
                  <a:lnTo>
                    <a:pt x="53" y="1312"/>
                  </a:lnTo>
                  <a:lnTo>
                    <a:pt x="42" y="1275"/>
                  </a:lnTo>
                  <a:lnTo>
                    <a:pt x="30" y="1237"/>
                  </a:lnTo>
                  <a:lnTo>
                    <a:pt x="21" y="1197"/>
                  </a:lnTo>
                  <a:lnTo>
                    <a:pt x="14" y="1157"/>
                  </a:lnTo>
                  <a:lnTo>
                    <a:pt x="8" y="1116"/>
                  </a:lnTo>
                  <a:lnTo>
                    <a:pt x="3" y="1076"/>
                  </a:lnTo>
                  <a:lnTo>
                    <a:pt x="1" y="1034"/>
                  </a:lnTo>
                  <a:lnTo>
                    <a:pt x="0" y="993"/>
                  </a:lnTo>
                  <a:lnTo>
                    <a:pt x="1" y="942"/>
                  </a:lnTo>
                  <a:lnTo>
                    <a:pt x="6" y="891"/>
                  </a:lnTo>
                  <a:lnTo>
                    <a:pt x="12" y="841"/>
                  </a:lnTo>
                  <a:lnTo>
                    <a:pt x="20" y="792"/>
                  </a:lnTo>
                  <a:lnTo>
                    <a:pt x="31" y="745"/>
                  </a:lnTo>
                  <a:lnTo>
                    <a:pt x="45" y="698"/>
                  </a:lnTo>
                  <a:lnTo>
                    <a:pt x="61" y="652"/>
                  </a:lnTo>
                  <a:lnTo>
                    <a:pt x="78" y="607"/>
                  </a:lnTo>
                  <a:lnTo>
                    <a:pt x="98" y="563"/>
                  </a:lnTo>
                  <a:lnTo>
                    <a:pt x="120" y="520"/>
                  </a:lnTo>
                  <a:lnTo>
                    <a:pt x="144" y="479"/>
                  </a:lnTo>
                  <a:lnTo>
                    <a:pt x="170" y="438"/>
                  </a:lnTo>
                  <a:lnTo>
                    <a:pt x="198" y="399"/>
                  </a:lnTo>
                  <a:lnTo>
                    <a:pt x="228" y="362"/>
                  </a:lnTo>
                  <a:lnTo>
                    <a:pt x="259" y="326"/>
                  </a:lnTo>
                  <a:lnTo>
                    <a:pt x="291" y="291"/>
                  </a:lnTo>
                  <a:lnTo>
                    <a:pt x="326" y="259"/>
                  </a:lnTo>
                  <a:lnTo>
                    <a:pt x="362" y="228"/>
                  </a:lnTo>
                  <a:lnTo>
                    <a:pt x="399" y="198"/>
                  </a:lnTo>
                  <a:lnTo>
                    <a:pt x="438" y="170"/>
                  </a:lnTo>
                  <a:lnTo>
                    <a:pt x="479" y="145"/>
                  </a:lnTo>
                  <a:lnTo>
                    <a:pt x="520" y="121"/>
                  </a:lnTo>
                  <a:lnTo>
                    <a:pt x="563" y="98"/>
                  </a:lnTo>
                  <a:lnTo>
                    <a:pt x="607" y="78"/>
                  </a:lnTo>
                  <a:lnTo>
                    <a:pt x="651" y="61"/>
                  </a:lnTo>
                  <a:lnTo>
                    <a:pt x="698" y="45"/>
                  </a:lnTo>
                  <a:lnTo>
                    <a:pt x="745" y="32"/>
                  </a:lnTo>
                  <a:lnTo>
                    <a:pt x="792" y="20"/>
                  </a:lnTo>
                  <a:lnTo>
                    <a:pt x="841" y="12"/>
                  </a:lnTo>
                  <a:lnTo>
                    <a:pt x="891" y="6"/>
                  </a:lnTo>
                  <a:lnTo>
                    <a:pt x="942" y="2"/>
                  </a:lnTo>
                  <a:lnTo>
                    <a:pt x="993" y="0"/>
                  </a:lnTo>
                  <a:close/>
                  <a:moveTo>
                    <a:pt x="993" y="421"/>
                  </a:moveTo>
                  <a:lnTo>
                    <a:pt x="1022" y="422"/>
                  </a:lnTo>
                  <a:lnTo>
                    <a:pt x="1051" y="424"/>
                  </a:lnTo>
                  <a:lnTo>
                    <a:pt x="1079" y="428"/>
                  </a:lnTo>
                  <a:lnTo>
                    <a:pt x="1107" y="433"/>
                  </a:lnTo>
                  <a:lnTo>
                    <a:pt x="1135" y="440"/>
                  </a:lnTo>
                  <a:lnTo>
                    <a:pt x="1162" y="447"/>
                  </a:lnTo>
                  <a:lnTo>
                    <a:pt x="1188" y="456"/>
                  </a:lnTo>
                  <a:lnTo>
                    <a:pt x="1214" y="467"/>
                  </a:lnTo>
                  <a:lnTo>
                    <a:pt x="1240" y="478"/>
                  </a:lnTo>
                  <a:lnTo>
                    <a:pt x="1264" y="490"/>
                  </a:lnTo>
                  <a:lnTo>
                    <a:pt x="1289" y="504"/>
                  </a:lnTo>
                  <a:lnTo>
                    <a:pt x="1312" y="518"/>
                  </a:lnTo>
                  <a:lnTo>
                    <a:pt x="1333" y="535"/>
                  </a:lnTo>
                  <a:lnTo>
                    <a:pt x="1355" y="552"/>
                  </a:lnTo>
                  <a:lnTo>
                    <a:pt x="1376" y="570"/>
                  </a:lnTo>
                  <a:lnTo>
                    <a:pt x="1396" y="589"/>
                  </a:lnTo>
                  <a:lnTo>
                    <a:pt x="1415" y="609"/>
                  </a:lnTo>
                  <a:lnTo>
                    <a:pt x="1433" y="629"/>
                  </a:lnTo>
                  <a:lnTo>
                    <a:pt x="1450" y="651"/>
                  </a:lnTo>
                  <a:lnTo>
                    <a:pt x="1466" y="673"/>
                  </a:lnTo>
                  <a:lnTo>
                    <a:pt x="1481" y="697"/>
                  </a:lnTo>
                  <a:lnTo>
                    <a:pt x="1494" y="721"/>
                  </a:lnTo>
                  <a:lnTo>
                    <a:pt x="1507" y="745"/>
                  </a:lnTo>
                  <a:lnTo>
                    <a:pt x="1518" y="771"/>
                  </a:lnTo>
                  <a:lnTo>
                    <a:pt x="1529" y="797"/>
                  </a:lnTo>
                  <a:lnTo>
                    <a:pt x="1538" y="823"/>
                  </a:lnTo>
                  <a:lnTo>
                    <a:pt x="1545" y="850"/>
                  </a:lnTo>
                  <a:lnTo>
                    <a:pt x="1552" y="878"/>
                  </a:lnTo>
                  <a:lnTo>
                    <a:pt x="1557" y="906"/>
                  </a:lnTo>
                  <a:lnTo>
                    <a:pt x="1561" y="934"/>
                  </a:lnTo>
                  <a:lnTo>
                    <a:pt x="1563" y="963"/>
                  </a:lnTo>
                  <a:lnTo>
                    <a:pt x="1564" y="993"/>
                  </a:lnTo>
                  <a:lnTo>
                    <a:pt x="1563" y="1022"/>
                  </a:lnTo>
                  <a:lnTo>
                    <a:pt x="1561" y="1051"/>
                  </a:lnTo>
                  <a:lnTo>
                    <a:pt x="1557" y="1079"/>
                  </a:lnTo>
                  <a:lnTo>
                    <a:pt x="1552" y="1107"/>
                  </a:lnTo>
                  <a:lnTo>
                    <a:pt x="1545" y="1135"/>
                  </a:lnTo>
                  <a:lnTo>
                    <a:pt x="1538" y="1162"/>
                  </a:lnTo>
                  <a:lnTo>
                    <a:pt x="1529" y="1188"/>
                  </a:lnTo>
                  <a:lnTo>
                    <a:pt x="1518" y="1214"/>
                  </a:lnTo>
                  <a:lnTo>
                    <a:pt x="1507" y="1240"/>
                  </a:lnTo>
                  <a:lnTo>
                    <a:pt x="1494" y="1265"/>
                  </a:lnTo>
                  <a:lnTo>
                    <a:pt x="1481" y="1289"/>
                  </a:lnTo>
                  <a:lnTo>
                    <a:pt x="1466" y="1311"/>
                  </a:lnTo>
                  <a:lnTo>
                    <a:pt x="1450" y="1334"/>
                  </a:lnTo>
                  <a:lnTo>
                    <a:pt x="1433" y="1355"/>
                  </a:lnTo>
                  <a:lnTo>
                    <a:pt x="1415" y="1376"/>
                  </a:lnTo>
                  <a:lnTo>
                    <a:pt x="1396" y="1395"/>
                  </a:lnTo>
                  <a:lnTo>
                    <a:pt x="1376" y="1415"/>
                  </a:lnTo>
                  <a:lnTo>
                    <a:pt x="1355" y="1433"/>
                  </a:lnTo>
                  <a:lnTo>
                    <a:pt x="1333" y="1449"/>
                  </a:lnTo>
                  <a:lnTo>
                    <a:pt x="1312" y="1466"/>
                  </a:lnTo>
                  <a:lnTo>
                    <a:pt x="1289" y="1481"/>
                  </a:lnTo>
                  <a:lnTo>
                    <a:pt x="1264" y="1494"/>
                  </a:lnTo>
                  <a:lnTo>
                    <a:pt x="1240" y="1507"/>
                  </a:lnTo>
                  <a:lnTo>
                    <a:pt x="1214" y="1518"/>
                  </a:lnTo>
                  <a:lnTo>
                    <a:pt x="1188" y="1528"/>
                  </a:lnTo>
                  <a:lnTo>
                    <a:pt x="1162" y="1538"/>
                  </a:lnTo>
                  <a:lnTo>
                    <a:pt x="1135" y="1545"/>
                  </a:lnTo>
                  <a:lnTo>
                    <a:pt x="1107" y="1552"/>
                  </a:lnTo>
                  <a:lnTo>
                    <a:pt x="1079" y="1556"/>
                  </a:lnTo>
                  <a:lnTo>
                    <a:pt x="1051" y="1561"/>
                  </a:lnTo>
                  <a:lnTo>
                    <a:pt x="1022" y="1563"/>
                  </a:lnTo>
                  <a:lnTo>
                    <a:pt x="993" y="1564"/>
                  </a:lnTo>
                  <a:lnTo>
                    <a:pt x="963" y="1563"/>
                  </a:lnTo>
                  <a:lnTo>
                    <a:pt x="934" y="1561"/>
                  </a:lnTo>
                  <a:lnTo>
                    <a:pt x="906" y="1556"/>
                  </a:lnTo>
                  <a:lnTo>
                    <a:pt x="878" y="1552"/>
                  </a:lnTo>
                  <a:lnTo>
                    <a:pt x="850" y="1545"/>
                  </a:lnTo>
                  <a:lnTo>
                    <a:pt x="823" y="1538"/>
                  </a:lnTo>
                  <a:lnTo>
                    <a:pt x="797" y="1528"/>
                  </a:lnTo>
                  <a:lnTo>
                    <a:pt x="771" y="1518"/>
                  </a:lnTo>
                  <a:lnTo>
                    <a:pt x="745" y="1507"/>
                  </a:lnTo>
                  <a:lnTo>
                    <a:pt x="721" y="1494"/>
                  </a:lnTo>
                  <a:lnTo>
                    <a:pt x="697" y="1481"/>
                  </a:lnTo>
                  <a:lnTo>
                    <a:pt x="673" y="1466"/>
                  </a:lnTo>
                  <a:lnTo>
                    <a:pt x="651" y="1449"/>
                  </a:lnTo>
                  <a:lnTo>
                    <a:pt x="629" y="1433"/>
                  </a:lnTo>
                  <a:lnTo>
                    <a:pt x="609" y="1415"/>
                  </a:lnTo>
                  <a:lnTo>
                    <a:pt x="589" y="1395"/>
                  </a:lnTo>
                  <a:lnTo>
                    <a:pt x="570" y="1376"/>
                  </a:lnTo>
                  <a:lnTo>
                    <a:pt x="552" y="1355"/>
                  </a:lnTo>
                  <a:lnTo>
                    <a:pt x="535" y="1334"/>
                  </a:lnTo>
                  <a:lnTo>
                    <a:pt x="519" y="1311"/>
                  </a:lnTo>
                  <a:lnTo>
                    <a:pt x="504" y="1289"/>
                  </a:lnTo>
                  <a:lnTo>
                    <a:pt x="490" y="1265"/>
                  </a:lnTo>
                  <a:lnTo>
                    <a:pt x="478" y="1240"/>
                  </a:lnTo>
                  <a:lnTo>
                    <a:pt x="466" y="1214"/>
                  </a:lnTo>
                  <a:lnTo>
                    <a:pt x="456" y="1188"/>
                  </a:lnTo>
                  <a:lnTo>
                    <a:pt x="447" y="1162"/>
                  </a:lnTo>
                  <a:lnTo>
                    <a:pt x="440" y="1135"/>
                  </a:lnTo>
                  <a:lnTo>
                    <a:pt x="433" y="1107"/>
                  </a:lnTo>
                  <a:lnTo>
                    <a:pt x="428" y="1079"/>
                  </a:lnTo>
                  <a:lnTo>
                    <a:pt x="424" y="1051"/>
                  </a:lnTo>
                  <a:lnTo>
                    <a:pt x="422" y="1022"/>
                  </a:lnTo>
                  <a:lnTo>
                    <a:pt x="422" y="993"/>
                  </a:lnTo>
                  <a:lnTo>
                    <a:pt x="422" y="963"/>
                  </a:lnTo>
                  <a:lnTo>
                    <a:pt x="424" y="934"/>
                  </a:lnTo>
                  <a:lnTo>
                    <a:pt x="428" y="906"/>
                  </a:lnTo>
                  <a:lnTo>
                    <a:pt x="433" y="878"/>
                  </a:lnTo>
                  <a:lnTo>
                    <a:pt x="440" y="850"/>
                  </a:lnTo>
                  <a:lnTo>
                    <a:pt x="447" y="823"/>
                  </a:lnTo>
                  <a:lnTo>
                    <a:pt x="456" y="797"/>
                  </a:lnTo>
                  <a:lnTo>
                    <a:pt x="466" y="771"/>
                  </a:lnTo>
                  <a:lnTo>
                    <a:pt x="478" y="745"/>
                  </a:lnTo>
                  <a:lnTo>
                    <a:pt x="490" y="721"/>
                  </a:lnTo>
                  <a:lnTo>
                    <a:pt x="504" y="697"/>
                  </a:lnTo>
                  <a:lnTo>
                    <a:pt x="519" y="673"/>
                  </a:lnTo>
                  <a:lnTo>
                    <a:pt x="535" y="651"/>
                  </a:lnTo>
                  <a:lnTo>
                    <a:pt x="552" y="629"/>
                  </a:lnTo>
                  <a:lnTo>
                    <a:pt x="570" y="609"/>
                  </a:lnTo>
                  <a:lnTo>
                    <a:pt x="589" y="589"/>
                  </a:lnTo>
                  <a:lnTo>
                    <a:pt x="609" y="570"/>
                  </a:lnTo>
                  <a:lnTo>
                    <a:pt x="629" y="552"/>
                  </a:lnTo>
                  <a:lnTo>
                    <a:pt x="651" y="535"/>
                  </a:lnTo>
                  <a:lnTo>
                    <a:pt x="673" y="518"/>
                  </a:lnTo>
                  <a:lnTo>
                    <a:pt x="697" y="504"/>
                  </a:lnTo>
                  <a:lnTo>
                    <a:pt x="721" y="490"/>
                  </a:lnTo>
                  <a:lnTo>
                    <a:pt x="745" y="478"/>
                  </a:lnTo>
                  <a:lnTo>
                    <a:pt x="771" y="467"/>
                  </a:lnTo>
                  <a:lnTo>
                    <a:pt x="797" y="456"/>
                  </a:lnTo>
                  <a:lnTo>
                    <a:pt x="823" y="447"/>
                  </a:lnTo>
                  <a:lnTo>
                    <a:pt x="850" y="440"/>
                  </a:lnTo>
                  <a:lnTo>
                    <a:pt x="878" y="433"/>
                  </a:lnTo>
                  <a:lnTo>
                    <a:pt x="906" y="428"/>
                  </a:lnTo>
                  <a:lnTo>
                    <a:pt x="934" y="424"/>
                  </a:lnTo>
                  <a:lnTo>
                    <a:pt x="963" y="422"/>
                  </a:lnTo>
                  <a:lnTo>
                    <a:pt x="993" y="42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 defTabSz="1219078" fontAlgn="ctr"/>
              <a:endParaRPr lang="en-US" altLang="zh-CN" sz="12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185" name="组合 184">
            <a:extLst>
              <a:ext uri="{FF2B5EF4-FFF2-40B4-BE49-F238E27FC236}">
                <a16:creationId xmlns="" xmlns:a16="http://schemas.microsoft.com/office/drawing/2014/main" id="{4FA3A25D-A489-47EE-A5C1-C8CAC3F59DE8}"/>
              </a:ext>
            </a:extLst>
          </p:cNvPr>
          <p:cNvGrpSpPr/>
          <p:nvPr/>
        </p:nvGrpSpPr>
        <p:grpSpPr>
          <a:xfrm>
            <a:off x="3737832" y="2189115"/>
            <a:ext cx="4902155" cy="2205318"/>
            <a:chOff x="3715654" y="2111000"/>
            <a:chExt cx="4903428" cy="2205893"/>
          </a:xfrm>
        </p:grpSpPr>
        <p:sp>
          <p:nvSpPr>
            <p:cNvPr id="186" name="矩形 185">
              <a:extLst>
                <a:ext uri="{FF2B5EF4-FFF2-40B4-BE49-F238E27FC236}">
                  <a16:creationId xmlns="" xmlns:a16="http://schemas.microsoft.com/office/drawing/2014/main" id="{B9C7B5FB-917E-4C3A-8C55-2CA9161AEB3B}"/>
                </a:ext>
              </a:extLst>
            </p:cNvPr>
            <p:cNvSpPr/>
            <p:nvPr/>
          </p:nvSpPr>
          <p:spPr>
            <a:xfrm>
              <a:off x="3715654" y="3107501"/>
              <a:ext cx="1621893" cy="36930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defTabSz="1219078" fontAlgn="ctr"/>
              <a:r>
                <a:rPr lang="en-US" sz="2399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Awareness</a:t>
              </a:r>
              <a:endParaRPr lang="en-US" altLang="zh-CN" sz="239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sp>
          <p:nvSpPr>
            <p:cNvPr id="187" name="矩形 186">
              <a:extLst>
                <a:ext uri="{FF2B5EF4-FFF2-40B4-BE49-F238E27FC236}">
                  <a16:creationId xmlns="" xmlns:a16="http://schemas.microsoft.com/office/drawing/2014/main" id="{C759AB60-79A8-4074-A098-D6C82B9D814E}"/>
                </a:ext>
              </a:extLst>
            </p:cNvPr>
            <p:cNvSpPr/>
            <p:nvPr/>
          </p:nvSpPr>
          <p:spPr>
            <a:xfrm>
              <a:off x="5419030" y="2111000"/>
              <a:ext cx="1218407" cy="36930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defTabSz="1219078" fontAlgn="ctr"/>
              <a:r>
                <a:rPr lang="en-US" sz="2399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Warning</a:t>
              </a:r>
              <a:endParaRPr lang="en-US" altLang="zh-CN" sz="239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sp>
          <p:nvSpPr>
            <p:cNvPr id="188" name="矩形 187">
              <a:extLst>
                <a:ext uri="{FF2B5EF4-FFF2-40B4-BE49-F238E27FC236}">
                  <a16:creationId xmlns="" xmlns:a16="http://schemas.microsoft.com/office/drawing/2014/main" id="{0694BC16-87B2-4D90-A5A1-409EA8C06356}"/>
                </a:ext>
              </a:extLst>
            </p:cNvPr>
            <p:cNvSpPr/>
            <p:nvPr/>
          </p:nvSpPr>
          <p:spPr>
            <a:xfrm>
              <a:off x="6669783" y="3071829"/>
              <a:ext cx="1949299" cy="36930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1219078" fontAlgn="ctr"/>
              <a:r>
                <a:rPr lang="en-US" sz="2399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Decision-making</a:t>
              </a:r>
              <a:endParaRPr lang="en-US" altLang="zh-CN" sz="239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sp>
          <p:nvSpPr>
            <p:cNvPr id="189" name="矩形 188">
              <a:extLst>
                <a:ext uri="{FF2B5EF4-FFF2-40B4-BE49-F238E27FC236}">
                  <a16:creationId xmlns="" xmlns:a16="http://schemas.microsoft.com/office/drawing/2014/main" id="{23FC4A6C-C0B8-4EA9-8F6C-51F3A333028A}"/>
                </a:ext>
              </a:extLst>
            </p:cNvPr>
            <p:cNvSpPr/>
            <p:nvPr/>
          </p:nvSpPr>
          <p:spPr>
            <a:xfrm>
              <a:off x="5635755" y="3947593"/>
              <a:ext cx="957242" cy="36930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defTabSz="1219078" fontAlgn="ctr"/>
              <a:r>
                <a:rPr lang="en-US" sz="2399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Action</a:t>
              </a:r>
              <a:endParaRPr lang="en-US" altLang="zh-CN" sz="239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grpSp>
          <p:nvGrpSpPr>
            <p:cNvPr id="190" name="组合 189">
              <a:extLst>
                <a:ext uri="{FF2B5EF4-FFF2-40B4-BE49-F238E27FC236}">
                  <a16:creationId xmlns="" xmlns:a16="http://schemas.microsoft.com/office/drawing/2014/main" id="{5323BAE2-BE56-49F4-AB6D-A9681333AC35}"/>
                </a:ext>
              </a:extLst>
            </p:cNvPr>
            <p:cNvGrpSpPr/>
            <p:nvPr/>
          </p:nvGrpSpPr>
          <p:grpSpPr>
            <a:xfrm>
              <a:off x="5336265" y="2640174"/>
              <a:ext cx="1425269" cy="1217340"/>
              <a:chOff x="4319054" y="2460092"/>
              <a:chExt cx="2181212" cy="832157"/>
            </a:xfrm>
          </p:grpSpPr>
          <p:sp>
            <p:nvSpPr>
              <p:cNvPr id="191" name="上弧形箭头 1">
                <a:extLst>
                  <a:ext uri="{FF2B5EF4-FFF2-40B4-BE49-F238E27FC236}">
                    <a16:creationId xmlns="" xmlns:a16="http://schemas.microsoft.com/office/drawing/2014/main" id="{6F225EE9-FB75-4249-B3F3-E3965EF67530}"/>
                  </a:ext>
                </a:extLst>
              </p:cNvPr>
              <p:cNvSpPr/>
              <p:nvPr/>
            </p:nvSpPr>
            <p:spPr>
              <a:xfrm>
                <a:off x="4382308" y="2460092"/>
                <a:ext cx="2117958" cy="386473"/>
              </a:xfrm>
              <a:prstGeom prst="curvedDownArrow">
                <a:avLst/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92" name="上弧形箭头 92">
                <a:extLst>
                  <a:ext uri="{FF2B5EF4-FFF2-40B4-BE49-F238E27FC236}">
                    <a16:creationId xmlns="" xmlns:a16="http://schemas.microsoft.com/office/drawing/2014/main" id="{221EFD6B-C238-48AC-B27A-31C3C1DA269F}"/>
                  </a:ext>
                </a:extLst>
              </p:cNvPr>
              <p:cNvSpPr/>
              <p:nvPr/>
            </p:nvSpPr>
            <p:spPr>
              <a:xfrm rot="10800000">
                <a:off x="4319054" y="2905776"/>
                <a:ext cx="2117958" cy="386473"/>
              </a:xfrm>
              <a:prstGeom prst="curvedDownArrow">
                <a:avLst/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584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83BB59AB-F547-4C15-BC43-144FB6BA10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6374"/>
            <a:ext cx="12192000" cy="6831228"/>
          </a:xfrm>
          <a:prstGeom prst="rect">
            <a:avLst/>
          </a:prstGeom>
        </p:spPr>
      </p:pic>
      <p:sp>
        <p:nvSpPr>
          <p:cNvPr id="85" name="矩形 84">
            <a:extLst>
              <a:ext uri="{FF2B5EF4-FFF2-40B4-BE49-F238E27FC236}">
                <a16:creationId xmlns="" xmlns:a16="http://schemas.microsoft.com/office/drawing/2014/main" id="{E43A06B9-6FEE-4789-B1C9-B91031952673}"/>
              </a:ext>
            </a:extLst>
          </p:cNvPr>
          <p:cNvSpPr/>
          <p:nvPr/>
        </p:nvSpPr>
        <p:spPr>
          <a:xfrm>
            <a:off x="1" y="99"/>
            <a:ext cx="12192000" cy="3707435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="" xmlns:a16="http://schemas.microsoft.com/office/drawing/2014/main" id="{7D1B8A38-9EA4-40E1-AA9E-EAE861FB22FF}"/>
              </a:ext>
            </a:extLst>
          </p:cNvPr>
          <p:cNvSpPr txBox="1"/>
          <p:nvPr/>
        </p:nvSpPr>
        <p:spPr>
          <a:xfrm>
            <a:off x="541281" y="365692"/>
            <a:ext cx="11566355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ig Data Requires Big Pipes and Large-Scale Computing Capabilities.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="" xmlns:a16="http://schemas.microsoft.com/office/drawing/2014/main" id="{61E3D8D4-920C-483B-AE63-3B2E458EB017}"/>
              </a:ext>
            </a:extLst>
          </p:cNvPr>
          <p:cNvGrpSpPr/>
          <p:nvPr/>
        </p:nvGrpSpPr>
        <p:grpSpPr>
          <a:xfrm>
            <a:off x="4046657" y="5240346"/>
            <a:ext cx="2320552" cy="930253"/>
            <a:chOff x="4047710" y="5241611"/>
            <a:chExt cx="2321156" cy="930495"/>
          </a:xfrm>
        </p:grpSpPr>
        <p:grpSp>
          <p:nvGrpSpPr>
            <p:cNvPr id="11" name="组合 10">
              <a:extLst>
                <a:ext uri="{FF2B5EF4-FFF2-40B4-BE49-F238E27FC236}">
                  <a16:creationId xmlns="" xmlns:a16="http://schemas.microsoft.com/office/drawing/2014/main" id="{D1F0B151-97BB-43EF-976E-383E06AE24AD}"/>
                </a:ext>
              </a:extLst>
            </p:cNvPr>
            <p:cNvGrpSpPr/>
            <p:nvPr/>
          </p:nvGrpSpPr>
          <p:grpSpPr>
            <a:xfrm>
              <a:off x="5771203" y="5740106"/>
              <a:ext cx="432000" cy="432000"/>
              <a:chOff x="871541" y="3827881"/>
              <a:chExt cx="972000" cy="972000"/>
            </a:xfrm>
          </p:grpSpPr>
          <p:sp>
            <p:nvSpPr>
              <p:cNvPr id="12" name="椭圆 11">
                <a:extLst>
                  <a:ext uri="{FF2B5EF4-FFF2-40B4-BE49-F238E27FC236}">
                    <a16:creationId xmlns="" xmlns:a16="http://schemas.microsoft.com/office/drawing/2014/main" id="{248881B9-96FD-4C19-84A1-E88D10DC1EBA}"/>
                  </a:ext>
                </a:extLst>
              </p:cNvPr>
              <p:cNvSpPr/>
              <p:nvPr/>
            </p:nvSpPr>
            <p:spPr>
              <a:xfrm>
                <a:off x="871541" y="3827881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" name="椭圆 12">
                <a:extLst>
                  <a:ext uri="{FF2B5EF4-FFF2-40B4-BE49-F238E27FC236}">
                    <a16:creationId xmlns="" xmlns:a16="http://schemas.microsoft.com/office/drawing/2014/main" id="{EF71262B-D1BC-4125-8C2B-21E6B3B9845B}"/>
                  </a:ext>
                </a:extLst>
              </p:cNvPr>
              <p:cNvSpPr/>
              <p:nvPr/>
            </p:nvSpPr>
            <p:spPr>
              <a:xfrm>
                <a:off x="970505" y="3917879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8" name="文本框 67">
              <a:extLst>
                <a:ext uri="{FF2B5EF4-FFF2-40B4-BE49-F238E27FC236}">
                  <a16:creationId xmlns="" xmlns:a16="http://schemas.microsoft.com/office/drawing/2014/main" id="{1534BF39-C0D0-4B01-BCD5-FC09B1939130}"/>
                </a:ext>
              </a:extLst>
            </p:cNvPr>
            <p:cNvSpPr txBox="1"/>
            <p:nvPr/>
          </p:nvSpPr>
          <p:spPr>
            <a:xfrm>
              <a:off x="4195910" y="5241611"/>
              <a:ext cx="2172956" cy="30785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1219078" fontAlgn="ctr"/>
              <a:r>
                <a: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Management data – </a:t>
              </a:r>
              <a:r>
                <a:rPr lang="en-US" sz="1400" dirty="0" smtClean="0">
                  <a:solidFill>
                    <a:srgbClr val="FFC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river</a:t>
              </a:r>
              <a:endParaRPr lang="en-US" sz="1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grpSp>
          <p:nvGrpSpPr>
            <p:cNvPr id="79" name="组合 78">
              <a:extLst>
                <a:ext uri="{FF2B5EF4-FFF2-40B4-BE49-F238E27FC236}">
                  <a16:creationId xmlns="" xmlns:a16="http://schemas.microsoft.com/office/drawing/2014/main" id="{FFD9FAA6-7A1E-445D-B355-F6D0FD11562B}"/>
                </a:ext>
              </a:extLst>
            </p:cNvPr>
            <p:cNvGrpSpPr/>
            <p:nvPr/>
          </p:nvGrpSpPr>
          <p:grpSpPr>
            <a:xfrm flipH="1">
              <a:off x="4047710" y="5549388"/>
              <a:ext cx="1939493" cy="190718"/>
              <a:chOff x="4411942" y="5230487"/>
              <a:chExt cx="1939493" cy="190718"/>
            </a:xfrm>
          </p:grpSpPr>
          <p:cxnSp>
            <p:nvCxnSpPr>
              <p:cNvPr id="77" name="直接连接符 76">
                <a:extLst>
                  <a:ext uri="{FF2B5EF4-FFF2-40B4-BE49-F238E27FC236}">
                    <a16:creationId xmlns="" xmlns:a16="http://schemas.microsoft.com/office/drawing/2014/main" id="{A2EC0D37-84E9-4FA2-ACD2-0C1E81E2AE63}"/>
                  </a:ext>
                </a:extLst>
              </p:cNvPr>
              <p:cNvCxnSpPr/>
              <p:nvPr/>
            </p:nvCxnSpPr>
            <p:spPr>
              <a:xfrm flipV="1">
                <a:off x="4411942" y="5230487"/>
                <a:ext cx="232613" cy="19071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>
                <a:extLst>
                  <a:ext uri="{FF2B5EF4-FFF2-40B4-BE49-F238E27FC236}">
                    <a16:creationId xmlns="" xmlns:a16="http://schemas.microsoft.com/office/drawing/2014/main" id="{A3BBED8F-A73A-4426-88FB-87525171BA1B}"/>
                  </a:ext>
                </a:extLst>
              </p:cNvPr>
              <p:cNvCxnSpPr/>
              <p:nvPr/>
            </p:nvCxnSpPr>
            <p:spPr>
              <a:xfrm>
                <a:off x="4644555" y="5230487"/>
                <a:ext cx="170688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3" name="矩形 82">
            <a:extLst>
              <a:ext uri="{FF2B5EF4-FFF2-40B4-BE49-F238E27FC236}">
                <a16:creationId xmlns="" xmlns:a16="http://schemas.microsoft.com/office/drawing/2014/main" id="{643AECA5-0971-4D16-AB04-76C2B191E2A7}"/>
              </a:ext>
            </a:extLst>
          </p:cNvPr>
          <p:cNvSpPr/>
          <p:nvPr/>
        </p:nvSpPr>
        <p:spPr>
          <a:xfrm>
            <a:off x="1907783" y="2281810"/>
            <a:ext cx="5509068" cy="11999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2399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 the </a:t>
            </a:r>
            <a:r>
              <a:rPr lang="en-US" sz="2399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future, information </a:t>
            </a:r>
            <a:r>
              <a:rPr lang="en-US" sz="2399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pipes will become as wide as the Pacific Ocean.</a:t>
            </a:r>
            <a:endParaRPr lang="en-US" altLang="zh-CN" sz="2399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="" xmlns:a16="http://schemas.microsoft.com/office/drawing/2014/main" id="{175FAD4C-ED5C-4066-B733-D3B7E860D6D8}"/>
              </a:ext>
            </a:extLst>
          </p:cNvPr>
          <p:cNvGrpSpPr/>
          <p:nvPr/>
        </p:nvGrpSpPr>
        <p:grpSpPr>
          <a:xfrm>
            <a:off x="686645" y="3444704"/>
            <a:ext cx="2457436" cy="775566"/>
            <a:chOff x="686823" y="3445502"/>
            <a:chExt cx="2458076" cy="775768"/>
          </a:xfrm>
        </p:grpSpPr>
        <p:grpSp>
          <p:nvGrpSpPr>
            <p:cNvPr id="2" name="组合 1">
              <a:extLst>
                <a:ext uri="{FF2B5EF4-FFF2-40B4-BE49-F238E27FC236}">
                  <a16:creationId xmlns="" xmlns:a16="http://schemas.microsoft.com/office/drawing/2014/main" id="{1C0B628D-37C1-4338-BFA4-BF7429C59A54}"/>
                </a:ext>
              </a:extLst>
            </p:cNvPr>
            <p:cNvGrpSpPr/>
            <p:nvPr/>
          </p:nvGrpSpPr>
          <p:grpSpPr>
            <a:xfrm>
              <a:off x="1007087" y="3445502"/>
              <a:ext cx="2137812" cy="522491"/>
              <a:chOff x="1023476" y="3301121"/>
              <a:chExt cx="2137812" cy="522491"/>
            </a:xfrm>
          </p:grpSpPr>
          <p:sp>
            <p:nvSpPr>
              <p:cNvPr id="70" name="文本框 69">
                <a:extLst>
                  <a:ext uri="{FF2B5EF4-FFF2-40B4-BE49-F238E27FC236}">
                    <a16:creationId xmlns="" xmlns:a16="http://schemas.microsoft.com/office/drawing/2014/main" id="{CDDE1E97-2701-49B7-AC3C-7D392D2E2FC8}"/>
                  </a:ext>
                </a:extLst>
              </p:cNvPr>
              <p:cNvSpPr txBox="1"/>
              <p:nvPr/>
            </p:nvSpPr>
            <p:spPr>
              <a:xfrm>
                <a:off x="1286569" y="3301121"/>
                <a:ext cx="1874719" cy="307857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defTabSz="1219078" fontAlgn="ctr"/>
                <a:r>
                  <a:rPr lang="en-US" sz="14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rPr>
                  <a:t>Internet data </a:t>
                </a:r>
                <a:r>
                  <a:rPr lang="en-US" sz="1400" dirty="0" smtClean="0">
                    <a:solidFill>
                      <a:srgbClr val="FFC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rPr>
                  <a:t>– ocean</a:t>
                </a:r>
                <a:endParaRPr lang="en-US" sz="1400" dirty="0">
                  <a:solidFill>
                    <a:srgbClr val="FFC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cxnSp>
            <p:nvCxnSpPr>
              <p:cNvPr id="74" name="直接连接符 73">
                <a:extLst>
                  <a:ext uri="{FF2B5EF4-FFF2-40B4-BE49-F238E27FC236}">
                    <a16:creationId xmlns="" xmlns:a16="http://schemas.microsoft.com/office/drawing/2014/main" id="{71851D09-0756-4F56-AAC7-811B21BA3513}"/>
                  </a:ext>
                </a:extLst>
              </p:cNvPr>
              <p:cNvCxnSpPr/>
              <p:nvPr/>
            </p:nvCxnSpPr>
            <p:spPr>
              <a:xfrm flipV="1">
                <a:off x="1023476" y="3632894"/>
                <a:ext cx="232613" cy="19071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直接连接符 75">
                <a:extLst>
                  <a:ext uri="{FF2B5EF4-FFF2-40B4-BE49-F238E27FC236}">
                    <a16:creationId xmlns="" xmlns:a16="http://schemas.microsoft.com/office/drawing/2014/main" id="{7955A5EB-BE30-475F-8ED7-54B7468774BE}"/>
                  </a:ext>
                </a:extLst>
              </p:cNvPr>
              <p:cNvCxnSpPr/>
              <p:nvPr/>
            </p:nvCxnSpPr>
            <p:spPr>
              <a:xfrm>
                <a:off x="1256089" y="3632894"/>
                <a:ext cx="170688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组合 70">
              <a:extLst>
                <a:ext uri="{FF2B5EF4-FFF2-40B4-BE49-F238E27FC236}">
                  <a16:creationId xmlns="" xmlns:a16="http://schemas.microsoft.com/office/drawing/2014/main" id="{02CEB0AC-6C24-46CB-BDC9-89249760EAA2}"/>
                </a:ext>
              </a:extLst>
            </p:cNvPr>
            <p:cNvGrpSpPr/>
            <p:nvPr/>
          </p:nvGrpSpPr>
          <p:grpSpPr>
            <a:xfrm>
              <a:off x="686823" y="3861952"/>
              <a:ext cx="359318" cy="359318"/>
              <a:chOff x="871541" y="3827881"/>
              <a:chExt cx="972000" cy="972000"/>
            </a:xfrm>
          </p:grpSpPr>
          <p:sp>
            <p:nvSpPr>
              <p:cNvPr id="72" name="椭圆 71">
                <a:extLst>
                  <a:ext uri="{FF2B5EF4-FFF2-40B4-BE49-F238E27FC236}">
                    <a16:creationId xmlns="" xmlns:a16="http://schemas.microsoft.com/office/drawing/2014/main" id="{6BDF2943-D9D9-4991-AB24-9615209C0E1A}"/>
                  </a:ext>
                </a:extLst>
              </p:cNvPr>
              <p:cNvSpPr/>
              <p:nvPr/>
            </p:nvSpPr>
            <p:spPr>
              <a:xfrm>
                <a:off x="871541" y="3827881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73" name="椭圆 72">
                <a:extLst>
                  <a:ext uri="{FF2B5EF4-FFF2-40B4-BE49-F238E27FC236}">
                    <a16:creationId xmlns="" xmlns:a16="http://schemas.microsoft.com/office/drawing/2014/main" id="{63857FA0-9CAD-4539-BA61-CDC37D7CC8B6}"/>
                  </a:ext>
                </a:extLst>
              </p:cNvPr>
              <p:cNvSpPr/>
              <p:nvPr/>
            </p:nvSpPr>
            <p:spPr>
              <a:xfrm>
                <a:off x="970505" y="3917879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75" name="矩形 74">
            <a:extLst>
              <a:ext uri="{FF2B5EF4-FFF2-40B4-BE49-F238E27FC236}">
                <a16:creationId xmlns="" xmlns:a16="http://schemas.microsoft.com/office/drawing/2014/main" id="{9A63417D-F905-4BA2-867D-6A2488E36EE3}"/>
              </a:ext>
            </a:extLst>
          </p:cNvPr>
          <p:cNvSpPr/>
          <p:nvPr/>
        </p:nvSpPr>
        <p:spPr>
          <a:xfrm rot="5400000">
            <a:off x="5559601" y="123360"/>
            <a:ext cx="6831229" cy="6637259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100000">
                <a:srgbClr val="07101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4" name="梯形 83">
            <a:extLst>
              <a:ext uri="{FF2B5EF4-FFF2-40B4-BE49-F238E27FC236}">
                <a16:creationId xmlns="" xmlns:a16="http://schemas.microsoft.com/office/drawing/2014/main" id="{5926BC85-29DA-4B67-B289-5C6409BD6466}"/>
              </a:ext>
            </a:extLst>
          </p:cNvPr>
          <p:cNvSpPr/>
          <p:nvPr/>
        </p:nvSpPr>
        <p:spPr>
          <a:xfrm>
            <a:off x="7967436" y="2528125"/>
            <a:ext cx="3400989" cy="408528"/>
          </a:xfrm>
          <a:prstGeom prst="trapezoid">
            <a:avLst>
              <a:gd name="adj" fmla="val 74473"/>
            </a:avLst>
          </a:prstGeom>
          <a:gradFill flip="none" rotWithShape="1">
            <a:gsLst>
              <a:gs pos="0">
                <a:srgbClr val="0070C0">
                  <a:alpha val="0"/>
                </a:srgbClr>
              </a:gs>
              <a:gs pos="100000">
                <a:srgbClr val="0070C0">
                  <a:alpha val="40000"/>
                </a:srgbClr>
              </a:gs>
            </a:gsLst>
            <a:lin ang="5400000" scaled="1"/>
            <a:tileRect/>
          </a:gradFill>
          <a:ln w="3175">
            <a:gradFill flip="none" rotWithShape="1">
              <a:gsLst>
                <a:gs pos="0">
                  <a:srgbClr val="00BAFB">
                    <a:alpha val="0"/>
                  </a:srgbClr>
                </a:gs>
                <a:gs pos="50000">
                  <a:schemeClr val="accent1">
                    <a:tint val="44500"/>
                    <a:satMod val="160000"/>
                  </a:schemeClr>
                </a:gs>
              </a:gsLst>
              <a:lin ang="5400000" scaled="1"/>
              <a:tileRect/>
            </a:gradFill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indent="-260195" defTabSz="967511" fontAlgn="ctr">
              <a:lnSpc>
                <a:spcPts val="4046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Arial" pitchFamily="34" charset="0"/>
              <a:buChar char="•"/>
              <a:defRPr/>
            </a:pPr>
            <a:endParaRPr lang="en-US" altLang="zh-CN" sz="8797" kern="0" dirty="0">
              <a:solidFill>
                <a:sysClr val="windowText" lastClr="000000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86" name="梯形 85">
            <a:extLst>
              <a:ext uri="{FF2B5EF4-FFF2-40B4-BE49-F238E27FC236}">
                <a16:creationId xmlns="" xmlns:a16="http://schemas.microsoft.com/office/drawing/2014/main" id="{9C864E6B-2F64-4B01-A629-407564867D47}"/>
              </a:ext>
            </a:extLst>
          </p:cNvPr>
          <p:cNvSpPr/>
          <p:nvPr/>
        </p:nvSpPr>
        <p:spPr>
          <a:xfrm>
            <a:off x="7967436" y="3893093"/>
            <a:ext cx="3400989" cy="408528"/>
          </a:xfrm>
          <a:prstGeom prst="trapezoid">
            <a:avLst>
              <a:gd name="adj" fmla="val 74473"/>
            </a:avLst>
          </a:prstGeom>
          <a:gradFill flip="none" rotWithShape="1">
            <a:gsLst>
              <a:gs pos="0">
                <a:srgbClr val="0070C0">
                  <a:alpha val="0"/>
                </a:srgbClr>
              </a:gs>
              <a:gs pos="100000">
                <a:srgbClr val="0070C0">
                  <a:alpha val="40000"/>
                </a:srgbClr>
              </a:gs>
            </a:gsLst>
            <a:lin ang="5400000" scaled="1"/>
            <a:tileRect/>
          </a:gradFill>
          <a:ln w="3175">
            <a:gradFill flip="none" rotWithShape="1">
              <a:gsLst>
                <a:gs pos="0">
                  <a:srgbClr val="00BAFB">
                    <a:alpha val="0"/>
                  </a:srgbClr>
                </a:gs>
                <a:gs pos="50000">
                  <a:schemeClr val="accent1">
                    <a:tint val="44500"/>
                    <a:satMod val="160000"/>
                  </a:schemeClr>
                </a:gs>
              </a:gsLst>
              <a:lin ang="5400000" scaled="1"/>
              <a:tileRect/>
            </a:gradFill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indent="-260195" defTabSz="967511" fontAlgn="ctr">
              <a:lnSpc>
                <a:spcPts val="4046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Arial" pitchFamily="34" charset="0"/>
              <a:buChar char="•"/>
              <a:defRPr/>
            </a:pPr>
            <a:endParaRPr lang="en-US" altLang="zh-CN" sz="8797" kern="0" dirty="0">
              <a:solidFill>
                <a:sysClr val="windowText" lastClr="000000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87" name="梯形 86">
            <a:extLst>
              <a:ext uri="{FF2B5EF4-FFF2-40B4-BE49-F238E27FC236}">
                <a16:creationId xmlns="" xmlns:a16="http://schemas.microsoft.com/office/drawing/2014/main" id="{E7E1F590-2287-407D-870F-E37AC460BC6B}"/>
              </a:ext>
            </a:extLst>
          </p:cNvPr>
          <p:cNvSpPr/>
          <p:nvPr/>
        </p:nvSpPr>
        <p:spPr>
          <a:xfrm>
            <a:off x="7967436" y="5289421"/>
            <a:ext cx="3400989" cy="408528"/>
          </a:xfrm>
          <a:prstGeom prst="trapezoid">
            <a:avLst>
              <a:gd name="adj" fmla="val 74473"/>
            </a:avLst>
          </a:prstGeom>
          <a:gradFill flip="none" rotWithShape="1">
            <a:gsLst>
              <a:gs pos="0">
                <a:srgbClr val="0070C0">
                  <a:alpha val="0"/>
                </a:srgbClr>
              </a:gs>
              <a:gs pos="100000">
                <a:srgbClr val="0070C0">
                  <a:alpha val="40000"/>
                </a:srgbClr>
              </a:gs>
            </a:gsLst>
            <a:lin ang="5400000" scaled="1"/>
            <a:tileRect/>
          </a:gradFill>
          <a:ln w="3175">
            <a:gradFill flip="none" rotWithShape="1">
              <a:gsLst>
                <a:gs pos="0">
                  <a:srgbClr val="00BAFB">
                    <a:alpha val="0"/>
                  </a:srgbClr>
                </a:gs>
                <a:gs pos="50000">
                  <a:schemeClr val="accent1">
                    <a:tint val="44500"/>
                    <a:satMod val="160000"/>
                  </a:schemeClr>
                </a:gs>
              </a:gsLst>
              <a:lin ang="5400000" scaled="1"/>
              <a:tileRect/>
            </a:gradFill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indent="-260195" defTabSz="967511" fontAlgn="ctr">
              <a:lnSpc>
                <a:spcPts val="4046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Arial" pitchFamily="34" charset="0"/>
              <a:buChar char="•"/>
              <a:defRPr/>
            </a:pPr>
            <a:endParaRPr lang="en-US" altLang="zh-CN" sz="8797" kern="0" dirty="0">
              <a:solidFill>
                <a:sysClr val="windowText" lastClr="000000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grpSp>
        <p:nvGrpSpPr>
          <p:cNvPr id="88" name="组合 105">
            <a:extLst>
              <a:ext uri="{FF2B5EF4-FFF2-40B4-BE49-F238E27FC236}">
                <a16:creationId xmlns="" xmlns:a16="http://schemas.microsoft.com/office/drawing/2014/main" id="{4E0BD96F-5054-4DD7-B9C2-C502BD48F950}"/>
              </a:ext>
            </a:extLst>
          </p:cNvPr>
          <p:cNvGrpSpPr/>
          <p:nvPr/>
        </p:nvGrpSpPr>
        <p:grpSpPr>
          <a:xfrm>
            <a:off x="8238333" y="1723718"/>
            <a:ext cx="1112890" cy="1112688"/>
            <a:chOff x="6760814" y="2037804"/>
            <a:chExt cx="1075334" cy="1075334"/>
          </a:xfrm>
        </p:grpSpPr>
        <p:sp>
          <p:nvSpPr>
            <p:cNvPr id="89" name="椭圆 88">
              <a:extLst>
                <a:ext uri="{FF2B5EF4-FFF2-40B4-BE49-F238E27FC236}">
                  <a16:creationId xmlns="" xmlns:a16="http://schemas.microsoft.com/office/drawing/2014/main" id="{02E5B662-C182-48E8-BF68-955F88194A0F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椭圆 89">
              <a:extLst>
                <a:ext uri="{FF2B5EF4-FFF2-40B4-BE49-F238E27FC236}">
                  <a16:creationId xmlns="" xmlns:a16="http://schemas.microsoft.com/office/drawing/2014/main" id="{D9D010D7-660C-4D6B-BF3A-7F9A7865E5A9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Freeform 10">
              <a:extLst>
                <a:ext uri="{FF2B5EF4-FFF2-40B4-BE49-F238E27FC236}">
                  <a16:creationId xmlns="" xmlns:a16="http://schemas.microsoft.com/office/drawing/2014/main" id="{30520AC0-D9CB-4881-A14A-DE9AAB90E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椭圆 91">
              <a:extLst>
                <a:ext uri="{FF2B5EF4-FFF2-40B4-BE49-F238E27FC236}">
                  <a16:creationId xmlns="" xmlns:a16="http://schemas.microsoft.com/office/drawing/2014/main" id="{29A2BD9E-C85D-49F8-A8F2-21F5DB5D6030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3" name="组合 105">
            <a:extLst>
              <a:ext uri="{FF2B5EF4-FFF2-40B4-BE49-F238E27FC236}">
                <a16:creationId xmlns="" xmlns:a16="http://schemas.microsoft.com/office/drawing/2014/main" id="{7320FCFE-DC31-43B6-BFAE-813FA3D83516}"/>
              </a:ext>
            </a:extLst>
          </p:cNvPr>
          <p:cNvGrpSpPr/>
          <p:nvPr/>
        </p:nvGrpSpPr>
        <p:grpSpPr>
          <a:xfrm>
            <a:off x="8238333" y="3128618"/>
            <a:ext cx="1112890" cy="1112688"/>
            <a:chOff x="6760814" y="2037804"/>
            <a:chExt cx="1075334" cy="1075334"/>
          </a:xfrm>
        </p:grpSpPr>
        <p:sp>
          <p:nvSpPr>
            <p:cNvPr id="94" name="椭圆 93">
              <a:extLst>
                <a:ext uri="{FF2B5EF4-FFF2-40B4-BE49-F238E27FC236}">
                  <a16:creationId xmlns="" xmlns:a16="http://schemas.microsoft.com/office/drawing/2014/main" id="{82C0DE3C-5205-4661-9420-519B679EAAD8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椭圆 94">
              <a:extLst>
                <a:ext uri="{FF2B5EF4-FFF2-40B4-BE49-F238E27FC236}">
                  <a16:creationId xmlns="" xmlns:a16="http://schemas.microsoft.com/office/drawing/2014/main" id="{B058371C-6BE1-4DBF-93E4-8DD2C3DCB386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Freeform 10">
              <a:extLst>
                <a:ext uri="{FF2B5EF4-FFF2-40B4-BE49-F238E27FC236}">
                  <a16:creationId xmlns="" xmlns:a16="http://schemas.microsoft.com/office/drawing/2014/main" id="{DF204483-D730-472B-90CC-B5AC951E0B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椭圆 96">
              <a:extLst>
                <a:ext uri="{FF2B5EF4-FFF2-40B4-BE49-F238E27FC236}">
                  <a16:creationId xmlns="" xmlns:a16="http://schemas.microsoft.com/office/drawing/2014/main" id="{F7E6AD89-9154-4349-86AC-62AEACC68696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8" name="组合 105">
            <a:extLst>
              <a:ext uri="{FF2B5EF4-FFF2-40B4-BE49-F238E27FC236}">
                <a16:creationId xmlns="" xmlns:a16="http://schemas.microsoft.com/office/drawing/2014/main" id="{48F56621-AC4D-4C60-8DD4-17CBDE8838BD}"/>
              </a:ext>
            </a:extLst>
          </p:cNvPr>
          <p:cNvGrpSpPr/>
          <p:nvPr/>
        </p:nvGrpSpPr>
        <p:grpSpPr>
          <a:xfrm>
            <a:off x="8238333" y="4530558"/>
            <a:ext cx="1112890" cy="1112688"/>
            <a:chOff x="6760814" y="2037804"/>
            <a:chExt cx="1075334" cy="1075334"/>
          </a:xfrm>
        </p:grpSpPr>
        <p:sp>
          <p:nvSpPr>
            <p:cNvPr id="99" name="椭圆 98">
              <a:extLst>
                <a:ext uri="{FF2B5EF4-FFF2-40B4-BE49-F238E27FC236}">
                  <a16:creationId xmlns="" xmlns:a16="http://schemas.microsoft.com/office/drawing/2014/main" id="{448DD5DD-0773-4CD4-ACD6-CED5795FC318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50000">
                  <a:srgbClr val="0070C0">
                    <a:alpha val="17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椭圆 99">
              <a:extLst>
                <a:ext uri="{FF2B5EF4-FFF2-40B4-BE49-F238E27FC236}">
                  <a16:creationId xmlns="" xmlns:a16="http://schemas.microsoft.com/office/drawing/2014/main" id="{8BF26221-4750-40CC-B9F9-E52DBF0F105B}"/>
                </a:ext>
              </a:extLst>
            </p:cNvPr>
            <p:cNvSpPr/>
            <p:nvPr/>
          </p:nvSpPr>
          <p:spPr>
            <a:xfrm>
              <a:off x="6760814" y="2037804"/>
              <a:ext cx="1075334" cy="1075334"/>
            </a:xfrm>
            <a:prstGeom prst="ellipse">
              <a:avLst/>
            </a:prstGeom>
            <a:noFill/>
            <a:ln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glow rad="63500">
                <a:srgbClr val="267DE6">
                  <a:alpha val="23922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="" xmlns:a16="http://schemas.microsoft.com/office/drawing/2014/main" id="{FB297ABF-7EEC-47D5-B707-6C257CE22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1189" y="2116327"/>
              <a:ext cx="945676" cy="946786"/>
            </a:xfrm>
            <a:custGeom>
              <a:avLst/>
              <a:gdLst/>
              <a:ahLst/>
              <a:cxnLst>
                <a:cxn ang="0">
                  <a:pos x="28" y="990"/>
                </a:cxn>
                <a:cxn ang="0">
                  <a:pos x="84" y="1252"/>
                </a:cxn>
                <a:cxn ang="0">
                  <a:pos x="426" y="1636"/>
                </a:cxn>
                <a:cxn ang="0">
                  <a:pos x="724" y="1676"/>
                </a:cxn>
                <a:cxn ang="0">
                  <a:pos x="982" y="1690"/>
                </a:cxn>
                <a:cxn ang="0">
                  <a:pos x="1550" y="1270"/>
                </a:cxn>
                <a:cxn ang="0">
                  <a:pos x="1604" y="1222"/>
                </a:cxn>
                <a:cxn ang="0">
                  <a:pos x="1698" y="986"/>
                </a:cxn>
                <a:cxn ang="0">
                  <a:pos x="1620" y="482"/>
                </a:cxn>
                <a:cxn ang="0">
                  <a:pos x="1424" y="258"/>
                </a:cxn>
                <a:cxn ang="0">
                  <a:pos x="1230" y="90"/>
                </a:cxn>
                <a:cxn ang="0">
                  <a:pos x="490" y="108"/>
                </a:cxn>
                <a:cxn ang="0">
                  <a:pos x="250" y="248"/>
                </a:cxn>
                <a:cxn ang="0">
                  <a:pos x="138" y="474"/>
                </a:cxn>
                <a:cxn ang="0">
                  <a:pos x="12" y="696"/>
                </a:cxn>
                <a:cxn ang="0">
                  <a:pos x="954" y="74"/>
                </a:cxn>
                <a:cxn ang="0">
                  <a:pos x="490" y="122"/>
                </a:cxn>
                <a:cxn ang="0">
                  <a:pos x="1246" y="504"/>
                </a:cxn>
                <a:cxn ang="0">
                  <a:pos x="1188" y="1554"/>
                </a:cxn>
                <a:cxn ang="0">
                  <a:pos x="1526" y="1222"/>
                </a:cxn>
                <a:cxn ang="0">
                  <a:pos x="724" y="1364"/>
                </a:cxn>
                <a:cxn ang="0">
                  <a:pos x="286" y="932"/>
                </a:cxn>
                <a:cxn ang="0">
                  <a:pos x="40" y="978"/>
                </a:cxn>
                <a:cxn ang="0">
                  <a:pos x="1174" y="470"/>
                </a:cxn>
                <a:cxn ang="0">
                  <a:pos x="1294" y="1072"/>
                </a:cxn>
                <a:cxn ang="0">
                  <a:pos x="1604" y="736"/>
                </a:cxn>
                <a:cxn ang="0">
                  <a:pos x="748" y="1366"/>
                </a:cxn>
                <a:cxn ang="0">
                  <a:pos x="292" y="1398"/>
                </a:cxn>
                <a:cxn ang="0">
                  <a:pos x="724" y="1362"/>
                </a:cxn>
                <a:cxn ang="0">
                  <a:pos x="796" y="878"/>
                </a:cxn>
                <a:cxn ang="0">
                  <a:pos x="1166" y="502"/>
                </a:cxn>
                <a:cxn ang="0">
                  <a:pos x="600" y="394"/>
                </a:cxn>
                <a:cxn ang="0">
                  <a:pos x="866" y="858"/>
                </a:cxn>
                <a:cxn ang="0">
                  <a:pos x="1206" y="536"/>
                </a:cxn>
                <a:cxn ang="0">
                  <a:pos x="1262" y="1094"/>
                </a:cxn>
                <a:cxn ang="0">
                  <a:pos x="800" y="820"/>
                </a:cxn>
                <a:cxn ang="0">
                  <a:pos x="592" y="396"/>
                </a:cxn>
                <a:cxn ang="0">
                  <a:pos x="1168" y="1564"/>
                </a:cxn>
                <a:cxn ang="0">
                  <a:pos x="1532" y="1208"/>
                </a:cxn>
                <a:cxn ang="0">
                  <a:pos x="1568" y="1192"/>
                </a:cxn>
                <a:cxn ang="0">
                  <a:pos x="1170" y="426"/>
                </a:cxn>
                <a:cxn ang="0">
                  <a:pos x="470" y="136"/>
                </a:cxn>
                <a:cxn ang="0">
                  <a:pos x="458" y="132"/>
                </a:cxn>
                <a:cxn ang="0">
                  <a:pos x="302" y="902"/>
                </a:cxn>
                <a:cxn ang="0">
                  <a:pos x="140" y="518"/>
                </a:cxn>
                <a:cxn ang="0">
                  <a:pos x="30" y="966"/>
                </a:cxn>
                <a:cxn ang="0">
                  <a:pos x="94" y="1246"/>
                </a:cxn>
                <a:cxn ang="0">
                  <a:pos x="268" y="1400"/>
                </a:cxn>
                <a:cxn ang="0">
                  <a:pos x="434" y="1626"/>
                </a:cxn>
                <a:cxn ang="0">
                  <a:pos x="686" y="1650"/>
                </a:cxn>
                <a:cxn ang="0">
                  <a:pos x="732" y="1652"/>
                </a:cxn>
                <a:cxn ang="0">
                  <a:pos x="1176" y="1568"/>
                </a:cxn>
                <a:cxn ang="0">
                  <a:pos x="1450" y="1460"/>
                </a:cxn>
                <a:cxn ang="0">
                  <a:pos x="1626" y="732"/>
                </a:cxn>
                <a:cxn ang="0">
                  <a:pos x="1680" y="1000"/>
                </a:cxn>
                <a:cxn ang="0">
                  <a:pos x="1604" y="498"/>
                </a:cxn>
                <a:cxn ang="0">
                  <a:pos x="978" y="74"/>
                </a:cxn>
                <a:cxn ang="0">
                  <a:pos x="978" y="70"/>
                </a:cxn>
                <a:cxn ang="0">
                  <a:pos x="714" y="18"/>
                </a:cxn>
                <a:cxn ang="0">
                  <a:pos x="490" y="114"/>
                </a:cxn>
                <a:cxn ang="0">
                  <a:pos x="454" y="128"/>
                </a:cxn>
                <a:cxn ang="0">
                  <a:pos x="28" y="966"/>
                </a:cxn>
              </a:cxnLst>
              <a:rect l="0" t="0" r="r" b="b"/>
              <a:pathLst>
                <a:path w="1700" h="1702">
                  <a:moveTo>
                    <a:pt x="10" y="718"/>
                  </a:moveTo>
                  <a:lnTo>
                    <a:pt x="24" y="966"/>
                  </a:lnTo>
                  <a:lnTo>
                    <a:pt x="24" y="966"/>
                  </a:lnTo>
                  <a:lnTo>
                    <a:pt x="22" y="968"/>
                  </a:lnTo>
                  <a:lnTo>
                    <a:pt x="18" y="970"/>
                  </a:lnTo>
                  <a:lnTo>
                    <a:pt x="16" y="974"/>
                  </a:lnTo>
                  <a:lnTo>
                    <a:pt x="16" y="978"/>
                  </a:lnTo>
                  <a:lnTo>
                    <a:pt x="16" y="978"/>
                  </a:lnTo>
                  <a:lnTo>
                    <a:pt x="16" y="982"/>
                  </a:lnTo>
                  <a:lnTo>
                    <a:pt x="20" y="986"/>
                  </a:lnTo>
                  <a:lnTo>
                    <a:pt x="22" y="988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28" y="990"/>
                  </a:lnTo>
                  <a:lnTo>
                    <a:pt x="80" y="1228"/>
                  </a:lnTo>
                  <a:lnTo>
                    <a:pt x="80" y="1228"/>
                  </a:lnTo>
                  <a:lnTo>
                    <a:pt x="76" y="1230"/>
                  </a:lnTo>
                  <a:lnTo>
                    <a:pt x="74" y="1232"/>
                  </a:lnTo>
                  <a:lnTo>
                    <a:pt x="72" y="1236"/>
                  </a:lnTo>
                  <a:lnTo>
                    <a:pt x="72" y="1240"/>
                  </a:lnTo>
                  <a:lnTo>
                    <a:pt x="72" y="1240"/>
                  </a:lnTo>
                  <a:lnTo>
                    <a:pt x="72" y="1246"/>
                  </a:lnTo>
                  <a:lnTo>
                    <a:pt x="74" y="1248"/>
                  </a:lnTo>
                  <a:lnTo>
                    <a:pt x="78" y="1252"/>
                  </a:lnTo>
                  <a:lnTo>
                    <a:pt x="84" y="1252"/>
                  </a:lnTo>
                  <a:lnTo>
                    <a:pt x="84" y="1252"/>
                  </a:lnTo>
                  <a:lnTo>
                    <a:pt x="88" y="1252"/>
                  </a:lnTo>
                  <a:lnTo>
                    <a:pt x="90" y="1250"/>
                  </a:lnTo>
                  <a:lnTo>
                    <a:pt x="412" y="1618"/>
                  </a:lnTo>
                  <a:lnTo>
                    <a:pt x="412" y="1618"/>
                  </a:lnTo>
                  <a:lnTo>
                    <a:pt x="410" y="1622"/>
                  </a:lnTo>
                  <a:lnTo>
                    <a:pt x="410" y="1626"/>
                  </a:lnTo>
                  <a:lnTo>
                    <a:pt x="410" y="1626"/>
                  </a:lnTo>
                  <a:lnTo>
                    <a:pt x="412" y="1630"/>
                  </a:lnTo>
                  <a:lnTo>
                    <a:pt x="414" y="1634"/>
                  </a:lnTo>
                  <a:lnTo>
                    <a:pt x="418" y="1636"/>
                  </a:lnTo>
                  <a:lnTo>
                    <a:pt x="422" y="1638"/>
                  </a:lnTo>
                  <a:lnTo>
                    <a:pt x="422" y="1638"/>
                  </a:lnTo>
                  <a:lnTo>
                    <a:pt x="426" y="1636"/>
                  </a:lnTo>
                  <a:lnTo>
                    <a:pt x="430" y="1636"/>
                  </a:lnTo>
                  <a:lnTo>
                    <a:pt x="434" y="1630"/>
                  </a:lnTo>
                  <a:lnTo>
                    <a:pt x="686" y="1656"/>
                  </a:lnTo>
                  <a:lnTo>
                    <a:pt x="686" y="1656"/>
                  </a:lnTo>
                  <a:lnTo>
                    <a:pt x="686" y="1658"/>
                  </a:lnTo>
                  <a:lnTo>
                    <a:pt x="686" y="1658"/>
                  </a:lnTo>
                  <a:lnTo>
                    <a:pt x="686" y="1666"/>
                  </a:lnTo>
                  <a:lnTo>
                    <a:pt x="692" y="1674"/>
                  </a:lnTo>
                  <a:lnTo>
                    <a:pt x="700" y="1680"/>
                  </a:lnTo>
                  <a:lnTo>
                    <a:pt x="708" y="1680"/>
                  </a:lnTo>
                  <a:lnTo>
                    <a:pt x="708" y="1680"/>
                  </a:lnTo>
                  <a:lnTo>
                    <a:pt x="716" y="1680"/>
                  </a:lnTo>
                  <a:lnTo>
                    <a:pt x="724" y="1676"/>
                  </a:lnTo>
                  <a:lnTo>
                    <a:pt x="728" y="1670"/>
                  </a:lnTo>
                  <a:lnTo>
                    <a:pt x="732" y="1662"/>
                  </a:lnTo>
                  <a:lnTo>
                    <a:pt x="958" y="1692"/>
                  </a:lnTo>
                  <a:lnTo>
                    <a:pt x="958" y="1692"/>
                  </a:lnTo>
                  <a:lnTo>
                    <a:pt x="958" y="1696"/>
                  </a:lnTo>
                  <a:lnTo>
                    <a:pt x="962" y="1700"/>
                  </a:lnTo>
                  <a:lnTo>
                    <a:pt x="964" y="1702"/>
                  </a:lnTo>
                  <a:lnTo>
                    <a:pt x="970" y="1702"/>
                  </a:lnTo>
                  <a:lnTo>
                    <a:pt x="970" y="1702"/>
                  </a:lnTo>
                  <a:lnTo>
                    <a:pt x="974" y="1702"/>
                  </a:lnTo>
                  <a:lnTo>
                    <a:pt x="978" y="1698"/>
                  </a:lnTo>
                  <a:lnTo>
                    <a:pt x="980" y="1696"/>
                  </a:lnTo>
                  <a:lnTo>
                    <a:pt x="982" y="1690"/>
                  </a:lnTo>
                  <a:lnTo>
                    <a:pt x="982" y="1690"/>
                  </a:lnTo>
                  <a:lnTo>
                    <a:pt x="980" y="1688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0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452" y="1462"/>
                  </a:lnTo>
                  <a:lnTo>
                    <a:pt x="1550" y="1270"/>
                  </a:lnTo>
                  <a:lnTo>
                    <a:pt x="1550" y="1270"/>
                  </a:lnTo>
                  <a:lnTo>
                    <a:pt x="1558" y="1272"/>
                  </a:lnTo>
                  <a:lnTo>
                    <a:pt x="1566" y="1274"/>
                  </a:lnTo>
                  <a:lnTo>
                    <a:pt x="1566" y="1274"/>
                  </a:lnTo>
                  <a:lnTo>
                    <a:pt x="1574" y="1272"/>
                  </a:lnTo>
                  <a:lnTo>
                    <a:pt x="1582" y="1270"/>
                  </a:lnTo>
                  <a:lnTo>
                    <a:pt x="1588" y="1266"/>
                  </a:lnTo>
                  <a:lnTo>
                    <a:pt x="1594" y="1262"/>
                  </a:lnTo>
                  <a:lnTo>
                    <a:pt x="1600" y="1256"/>
                  </a:lnTo>
                  <a:lnTo>
                    <a:pt x="1602" y="1248"/>
                  </a:lnTo>
                  <a:lnTo>
                    <a:pt x="1606" y="1240"/>
                  </a:lnTo>
                  <a:lnTo>
                    <a:pt x="1606" y="1232"/>
                  </a:lnTo>
                  <a:lnTo>
                    <a:pt x="1606" y="1232"/>
                  </a:lnTo>
                  <a:lnTo>
                    <a:pt x="1604" y="1222"/>
                  </a:lnTo>
                  <a:lnTo>
                    <a:pt x="1600" y="1212"/>
                  </a:lnTo>
                  <a:lnTo>
                    <a:pt x="1594" y="1204"/>
                  </a:lnTo>
                  <a:lnTo>
                    <a:pt x="1586" y="1198"/>
                  </a:lnTo>
                  <a:lnTo>
                    <a:pt x="1682" y="1002"/>
                  </a:lnTo>
                  <a:lnTo>
                    <a:pt x="1682" y="1002"/>
                  </a:lnTo>
                  <a:lnTo>
                    <a:pt x="1688" y="1002"/>
                  </a:lnTo>
                  <a:lnTo>
                    <a:pt x="1688" y="1002"/>
                  </a:lnTo>
                  <a:lnTo>
                    <a:pt x="1692" y="1002"/>
                  </a:lnTo>
                  <a:lnTo>
                    <a:pt x="1696" y="1000"/>
                  </a:lnTo>
                  <a:lnTo>
                    <a:pt x="1698" y="996"/>
                  </a:lnTo>
                  <a:lnTo>
                    <a:pt x="1700" y="992"/>
                  </a:lnTo>
                  <a:lnTo>
                    <a:pt x="1700" y="992"/>
                  </a:lnTo>
                  <a:lnTo>
                    <a:pt x="1698" y="986"/>
                  </a:lnTo>
                  <a:lnTo>
                    <a:pt x="1696" y="982"/>
                  </a:lnTo>
                  <a:lnTo>
                    <a:pt x="1692" y="980"/>
                  </a:lnTo>
                  <a:lnTo>
                    <a:pt x="1688" y="980"/>
                  </a:lnTo>
                  <a:lnTo>
                    <a:pt x="1688" y="980"/>
                  </a:lnTo>
                  <a:lnTo>
                    <a:pt x="1686" y="980"/>
                  </a:lnTo>
                  <a:lnTo>
                    <a:pt x="1620" y="504"/>
                  </a:lnTo>
                  <a:lnTo>
                    <a:pt x="1620" y="504"/>
                  </a:lnTo>
                  <a:lnTo>
                    <a:pt x="1626" y="500"/>
                  </a:lnTo>
                  <a:lnTo>
                    <a:pt x="1628" y="492"/>
                  </a:lnTo>
                  <a:lnTo>
                    <a:pt x="1628" y="492"/>
                  </a:lnTo>
                  <a:lnTo>
                    <a:pt x="1626" y="488"/>
                  </a:lnTo>
                  <a:lnTo>
                    <a:pt x="1624" y="484"/>
                  </a:lnTo>
                  <a:lnTo>
                    <a:pt x="1620" y="482"/>
                  </a:lnTo>
                  <a:lnTo>
                    <a:pt x="1616" y="480"/>
                  </a:lnTo>
                  <a:lnTo>
                    <a:pt x="1616" y="480"/>
                  </a:lnTo>
                  <a:lnTo>
                    <a:pt x="1610" y="482"/>
                  </a:lnTo>
                  <a:lnTo>
                    <a:pt x="1442" y="296"/>
                  </a:lnTo>
                  <a:lnTo>
                    <a:pt x="1442" y="296"/>
                  </a:lnTo>
                  <a:lnTo>
                    <a:pt x="1446" y="290"/>
                  </a:lnTo>
                  <a:lnTo>
                    <a:pt x="1448" y="282"/>
                  </a:lnTo>
                  <a:lnTo>
                    <a:pt x="1448" y="282"/>
                  </a:lnTo>
                  <a:lnTo>
                    <a:pt x="1446" y="272"/>
                  </a:lnTo>
                  <a:lnTo>
                    <a:pt x="1440" y="264"/>
                  </a:lnTo>
                  <a:lnTo>
                    <a:pt x="1432" y="260"/>
                  </a:lnTo>
                  <a:lnTo>
                    <a:pt x="1424" y="258"/>
                  </a:lnTo>
                  <a:lnTo>
                    <a:pt x="1424" y="258"/>
                  </a:lnTo>
                  <a:lnTo>
                    <a:pt x="1416" y="258"/>
                  </a:lnTo>
                  <a:lnTo>
                    <a:pt x="1408" y="262"/>
                  </a:lnTo>
                  <a:lnTo>
                    <a:pt x="1250" y="102"/>
                  </a:lnTo>
                  <a:lnTo>
                    <a:pt x="1250" y="102"/>
                  </a:lnTo>
                  <a:lnTo>
                    <a:pt x="1252" y="96"/>
                  </a:lnTo>
                  <a:lnTo>
                    <a:pt x="1252" y="96"/>
                  </a:lnTo>
                  <a:lnTo>
                    <a:pt x="1252" y="90"/>
                  </a:lnTo>
                  <a:lnTo>
                    <a:pt x="1250" y="86"/>
                  </a:lnTo>
                  <a:lnTo>
                    <a:pt x="1246" y="84"/>
                  </a:lnTo>
                  <a:lnTo>
                    <a:pt x="1240" y="84"/>
                  </a:lnTo>
                  <a:lnTo>
                    <a:pt x="1240" y="84"/>
                  </a:lnTo>
                  <a:lnTo>
                    <a:pt x="1234" y="86"/>
                  </a:lnTo>
                  <a:lnTo>
                    <a:pt x="1230" y="90"/>
                  </a:lnTo>
                  <a:lnTo>
                    <a:pt x="736" y="10"/>
                  </a:lnTo>
                  <a:lnTo>
                    <a:pt x="736" y="10"/>
                  </a:lnTo>
                  <a:lnTo>
                    <a:pt x="734" y="6"/>
                  </a:lnTo>
                  <a:lnTo>
                    <a:pt x="732" y="2"/>
                  </a:lnTo>
                  <a:lnTo>
                    <a:pt x="728" y="0"/>
                  </a:lnTo>
                  <a:lnTo>
                    <a:pt x="724" y="0"/>
                  </a:lnTo>
                  <a:lnTo>
                    <a:pt x="724" y="0"/>
                  </a:lnTo>
                  <a:lnTo>
                    <a:pt x="720" y="0"/>
                  </a:lnTo>
                  <a:lnTo>
                    <a:pt x="716" y="4"/>
                  </a:lnTo>
                  <a:lnTo>
                    <a:pt x="712" y="6"/>
                  </a:lnTo>
                  <a:lnTo>
                    <a:pt x="712" y="12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86" y="102"/>
                  </a:lnTo>
                  <a:lnTo>
                    <a:pt x="482" y="98"/>
                  </a:lnTo>
                  <a:lnTo>
                    <a:pt x="476" y="96"/>
                  </a:lnTo>
                  <a:lnTo>
                    <a:pt x="470" y="96"/>
                  </a:lnTo>
                  <a:lnTo>
                    <a:pt x="470" y="96"/>
                  </a:lnTo>
                  <a:lnTo>
                    <a:pt x="462" y="96"/>
                  </a:lnTo>
                  <a:lnTo>
                    <a:pt x="456" y="102"/>
                  </a:lnTo>
                  <a:lnTo>
                    <a:pt x="452" y="108"/>
                  </a:lnTo>
                  <a:lnTo>
                    <a:pt x="450" y="116"/>
                  </a:lnTo>
                  <a:lnTo>
                    <a:pt x="450" y="116"/>
                  </a:lnTo>
                  <a:lnTo>
                    <a:pt x="452" y="122"/>
                  </a:lnTo>
                  <a:lnTo>
                    <a:pt x="454" y="126"/>
                  </a:lnTo>
                  <a:lnTo>
                    <a:pt x="250" y="248"/>
                  </a:lnTo>
                  <a:lnTo>
                    <a:pt x="250" y="248"/>
                  </a:lnTo>
                  <a:lnTo>
                    <a:pt x="248" y="244"/>
                  </a:lnTo>
                  <a:lnTo>
                    <a:pt x="242" y="244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4" y="248"/>
                  </a:lnTo>
                  <a:lnTo>
                    <a:pt x="232" y="250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2" y="260"/>
                  </a:lnTo>
                  <a:lnTo>
                    <a:pt x="236" y="266"/>
                  </a:lnTo>
                  <a:lnTo>
                    <a:pt x="138" y="474"/>
                  </a:lnTo>
                  <a:lnTo>
                    <a:pt x="138" y="474"/>
                  </a:lnTo>
                  <a:lnTo>
                    <a:pt x="130" y="472"/>
                  </a:lnTo>
                  <a:lnTo>
                    <a:pt x="130" y="472"/>
                  </a:lnTo>
                  <a:lnTo>
                    <a:pt x="122" y="474"/>
                  </a:lnTo>
                  <a:lnTo>
                    <a:pt x="114" y="480"/>
                  </a:lnTo>
                  <a:lnTo>
                    <a:pt x="108" y="48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108" y="502"/>
                  </a:lnTo>
                  <a:lnTo>
                    <a:pt x="110" y="508"/>
                  </a:lnTo>
                  <a:lnTo>
                    <a:pt x="116" y="516"/>
                  </a:lnTo>
                  <a:lnTo>
                    <a:pt x="16" y="696"/>
                  </a:lnTo>
                  <a:lnTo>
                    <a:pt x="16" y="696"/>
                  </a:lnTo>
                  <a:lnTo>
                    <a:pt x="12" y="696"/>
                  </a:lnTo>
                  <a:lnTo>
                    <a:pt x="12" y="696"/>
                  </a:lnTo>
                  <a:lnTo>
                    <a:pt x="8" y="696"/>
                  </a:lnTo>
                  <a:lnTo>
                    <a:pt x="4" y="698"/>
                  </a:lnTo>
                  <a:lnTo>
                    <a:pt x="2" y="702"/>
                  </a:lnTo>
                  <a:lnTo>
                    <a:pt x="0" y="708"/>
                  </a:lnTo>
                  <a:lnTo>
                    <a:pt x="0" y="708"/>
                  </a:lnTo>
                  <a:lnTo>
                    <a:pt x="2" y="712"/>
                  </a:lnTo>
                  <a:lnTo>
                    <a:pt x="4" y="714"/>
                  </a:lnTo>
                  <a:lnTo>
                    <a:pt x="6" y="718"/>
                  </a:lnTo>
                  <a:lnTo>
                    <a:pt x="10" y="718"/>
                  </a:lnTo>
                  <a:lnTo>
                    <a:pt x="10" y="718"/>
                  </a:lnTo>
                  <a:close/>
                  <a:moveTo>
                    <a:pt x="954" y="74"/>
                  </a:moveTo>
                  <a:lnTo>
                    <a:pt x="954" y="74"/>
                  </a:lnTo>
                  <a:lnTo>
                    <a:pt x="956" y="80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4"/>
                  </a:lnTo>
                  <a:lnTo>
                    <a:pt x="592" y="372"/>
                  </a:lnTo>
                  <a:lnTo>
                    <a:pt x="592" y="372"/>
                  </a:lnTo>
                  <a:lnTo>
                    <a:pt x="590" y="372"/>
                  </a:lnTo>
                  <a:lnTo>
                    <a:pt x="542" y="270"/>
                  </a:lnTo>
                  <a:lnTo>
                    <a:pt x="480" y="134"/>
                  </a:lnTo>
                  <a:lnTo>
                    <a:pt x="480" y="134"/>
                  </a:lnTo>
                  <a:lnTo>
                    <a:pt x="484" y="130"/>
                  </a:lnTo>
                  <a:lnTo>
                    <a:pt x="488" y="126"/>
                  </a:lnTo>
                  <a:lnTo>
                    <a:pt x="490" y="122"/>
                  </a:lnTo>
                  <a:lnTo>
                    <a:pt x="492" y="116"/>
                  </a:lnTo>
                  <a:lnTo>
                    <a:pt x="954" y="74"/>
                  </a:lnTo>
                  <a:close/>
                  <a:moveTo>
                    <a:pt x="1424" y="304"/>
                  </a:moveTo>
                  <a:lnTo>
                    <a:pt x="1424" y="304"/>
                  </a:lnTo>
                  <a:lnTo>
                    <a:pt x="1432" y="302"/>
                  </a:lnTo>
                  <a:lnTo>
                    <a:pt x="1514" y="498"/>
                  </a:lnTo>
                  <a:lnTo>
                    <a:pt x="1608" y="726"/>
                  </a:lnTo>
                  <a:lnTo>
                    <a:pt x="1608" y="726"/>
                  </a:lnTo>
                  <a:lnTo>
                    <a:pt x="1606" y="728"/>
                  </a:lnTo>
                  <a:lnTo>
                    <a:pt x="1604" y="732"/>
                  </a:lnTo>
                  <a:lnTo>
                    <a:pt x="1242" y="512"/>
                  </a:lnTo>
                  <a:lnTo>
                    <a:pt x="1242" y="512"/>
                  </a:lnTo>
                  <a:lnTo>
                    <a:pt x="1246" y="504"/>
                  </a:lnTo>
                  <a:lnTo>
                    <a:pt x="1246" y="494"/>
                  </a:lnTo>
                  <a:lnTo>
                    <a:pt x="1246" y="494"/>
                  </a:lnTo>
                  <a:lnTo>
                    <a:pt x="1246" y="486"/>
                  </a:lnTo>
                  <a:lnTo>
                    <a:pt x="1244" y="480"/>
                  </a:lnTo>
                  <a:lnTo>
                    <a:pt x="1240" y="472"/>
                  </a:lnTo>
                  <a:lnTo>
                    <a:pt x="1236" y="466"/>
                  </a:lnTo>
                  <a:lnTo>
                    <a:pt x="1408" y="300"/>
                  </a:lnTo>
                  <a:lnTo>
                    <a:pt x="1408" y="300"/>
                  </a:lnTo>
                  <a:lnTo>
                    <a:pt x="1416" y="304"/>
                  </a:lnTo>
                  <a:lnTo>
                    <a:pt x="1424" y="304"/>
                  </a:lnTo>
                  <a:lnTo>
                    <a:pt x="1424" y="304"/>
                  </a:lnTo>
                  <a:close/>
                  <a:moveTo>
                    <a:pt x="1188" y="1554"/>
                  </a:moveTo>
                  <a:lnTo>
                    <a:pt x="1188" y="1554"/>
                  </a:lnTo>
                  <a:lnTo>
                    <a:pt x="1186" y="1550"/>
                  </a:lnTo>
                  <a:lnTo>
                    <a:pt x="1184" y="1546"/>
                  </a:lnTo>
                  <a:lnTo>
                    <a:pt x="1280" y="1116"/>
                  </a:lnTo>
                  <a:lnTo>
                    <a:pt x="1280" y="1116"/>
                  </a:lnTo>
                  <a:lnTo>
                    <a:pt x="1286" y="1118"/>
                  </a:lnTo>
                  <a:lnTo>
                    <a:pt x="1286" y="1118"/>
                  </a:lnTo>
                  <a:lnTo>
                    <a:pt x="1292" y="1116"/>
                  </a:lnTo>
                  <a:lnTo>
                    <a:pt x="1298" y="1114"/>
                  </a:lnTo>
                  <a:lnTo>
                    <a:pt x="1302" y="1112"/>
                  </a:lnTo>
                  <a:lnTo>
                    <a:pt x="1306" y="1106"/>
                  </a:lnTo>
                  <a:lnTo>
                    <a:pt x="1406" y="1158"/>
                  </a:lnTo>
                  <a:lnTo>
                    <a:pt x="1526" y="1222"/>
                  </a:lnTo>
                  <a:lnTo>
                    <a:pt x="1526" y="1222"/>
                  </a:lnTo>
                  <a:lnTo>
                    <a:pt x="1524" y="1232"/>
                  </a:lnTo>
                  <a:lnTo>
                    <a:pt x="1524" y="1232"/>
                  </a:lnTo>
                  <a:lnTo>
                    <a:pt x="1526" y="1240"/>
                  </a:lnTo>
                  <a:lnTo>
                    <a:pt x="1528" y="1248"/>
                  </a:lnTo>
                  <a:lnTo>
                    <a:pt x="1532" y="1254"/>
                  </a:lnTo>
                  <a:lnTo>
                    <a:pt x="1536" y="1260"/>
                  </a:lnTo>
                  <a:lnTo>
                    <a:pt x="1356" y="1412"/>
                  </a:lnTo>
                  <a:lnTo>
                    <a:pt x="1188" y="1554"/>
                  </a:lnTo>
                  <a:close/>
                  <a:moveTo>
                    <a:pt x="688" y="1648"/>
                  </a:moveTo>
                  <a:lnTo>
                    <a:pt x="290" y="1406"/>
                  </a:lnTo>
                  <a:lnTo>
                    <a:pt x="290" y="1406"/>
                  </a:lnTo>
                  <a:lnTo>
                    <a:pt x="292" y="1400"/>
                  </a:lnTo>
                  <a:lnTo>
                    <a:pt x="724" y="1364"/>
                  </a:lnTo>
                  <a:lnTo>
                    <a:pt x="724" y="1364"/>
                  </a:lnTo>
                  <a:lnTo>
                    <a:pt x="728" y="1372"/>
                  </a:lnTo>
                  <a:lnTo>
                    <a:pt x="732" y="1376"/>
                  </a:lnTo>
                  <a:lnTo>
                    <a:pt x="720" y="1490"/>
                  </a:lnTo>
                  <a:lnTo>
                    <a:pt x="702" y="1634"/>
                  </a:lnTo>
                  <a:lnTo>
                    <a:pt x="702" y="1634"/>
                  </a:lnTo>
                  <a:lnTo>
                    <a:pt x="694" y="1638"/>
                  </a:lnTo>
                  <a:lnTo>
                    <a:pt x="688" y="1648"/>
                  </a:lnTo>
                  <a:lnTo>
                    <a:pt x="688" y="1648"/>
                  </a:lnTo>
                  <a:close/>
                  <a:moveTo>
                    <a:pt x="40" y="978"/>
                  </a:moveTo>
                  <a:lnTo>
                    <a:pt x="40" y="978"/>
                  </a:lnTo>
                  <a:lnTo>
                    <a:pt x="40" y="976"/>
                  </a:lnTo>
                  <a:lnTo>
                    <a:pt x="286" y="932"/>
                  </a:lnTo>
                  <a:lnTo>
                    <a:pt x="286" y="932"/>
                  </a:lnTo>
                  <a:lnTo>
                    <a:pt x="288" y="938"/>
                  </a:lnTo>
                  <a:lnTo>
                    <a:pt x="294" y="944"/>
                  </a:lnTo>
                  <a:lnTo>
                    <a:pt x="300" y="946"/>
                  </a:lnTo>
                  <a:lnTo>
                    <a:pt x="308" y="948"/>
                  </a:lnTo>
                  <a:lnTo>
                    <a:pt x="304" y="990"/>
                  </a:lnTo>
                  <a:lnTo>
                    <a:pt x="280" y="1388"/>
                  </a:lnTo>
                  <a:lnTo>
                    <a:pt x="280" y="1388"/>
                  </a:lnTo>
                  <a:lnTo>
                    <a:pt x="274" y="1390"/>
                  </a:lnTo>
                  <a:lnTo>
                    <a:pt x="34" y="986"/>
                  </a:lnTo>
                  <a:lnTo>
                    <a:pt x="34" y="986"/>
                  </a:lnTo>
                  <a:lnTo>
                    <a:pt x="38" y="982"/>
                  </a:lnTo>
                  <a:lnTo>
                    <a:pt x="40" y="978"/>
                  </a:lnTo>
                  <a:lnTo>
                    <a:pt x="40" y="978"/>
                  </a:lnTo>
                  <a:close/>
                  <a:moveTo>
                    <a:pt x="958" y="82"/>
                  </a:moveTo>
                  <a:lnTo>
                    <a:pt x="958" y="82"/>
                  </a:lnTo>
                  <a:lnTo>
                    <a:pt x="962" y="84"/>
                  </a:lnTo>
                  <a:lnTo>
                    <a:pt x="966" y="84"/>
                  </a:lnTo>
                  <a:lnTo>
                    <a:pt x="966" y="84"/>
                  </a:lnTo>
                  <a:lnTo>
                    <a:pt x="970" y="84"/>
                  </a:lnTo>
                  <a:lnTo>
                    <a:pt x="974" y="80"/>
                  </a:lnTo>
                  <a:lnTo>
                    <a:pt x="1118" y="336"/>
                  </a:lnTo>
                  <a:lnTo>
                    <a:pt x="1186" y="458"/>
                  </a:lnTo>
                  <a:lnTo>
                    <a:pt x="1186" y="458"/>
                  </a:lnTo>
                  <a:lnTo>
                    <a:pt x="1180" y="464"/>
                  </a:lnTo>
                  <a:lnTo>
                    <a:pt x="1174" y="470"/>
                  </a:lnTo>
                  <a:lnTo>
                    <a:pt x="1170" y="476"/>
                  </a:lnTo>
                  <a:lnTo>
                    <a:pt x="1166" y="484"/>
                  </a:lnTo>
                  <a:lnTo>
                    <a:pt x="1062" y="466"/>
                  </a:lnTo>
                  <a:lnTo>
                    <a:pt x="604" y="386"/>
                  </a:lnTo>
                  <a:lnTo>
                    <a:pt x="604" y="386"/>
                  </a:lnTo>
                  <a:lnTo>
                    <a:pt x="604" y="384"/>
                  </a:lnTo>
                  <a:lnTo>
                    <a:pt x="604" y="384"/>
                  </a:lnTo>
                  <a:lnTo>
                    <a:pt x="602" y="380"/>
                  </a:lnTo>
                  <a:lnTo>
                    <a:pt x="958" y="82"/>
                  </a:lnTo>
                  <a:close/>
                  <a:moveTo>
                    <a:pt x="1610" y="746"/>
                  </a:moveTo>
                  <a:lnTo>
                    <a:pt x="1300" y="1074"/>
                  </a:lnTo>
                  <a:lnTo>
                    <a:pt x="1300" y="1074"/>
                  </a:lnTo>
                  <a:lnTo>
                    <a:pt x="1294" y="1072"/>
                  </a:lnTo>
                  <a:lnTo>
                    <a:pt x="1286" y="1070"/>
                  </a:lnTo>
                  <a:lnTo>
                    <a:pt x="1286" y="1070"/>
                  </a:lnTo>
                  <a:lnTo>
                    <a:pt x="1282" y="1070"/>
                  </a:lnTo>
                  <a:lnTo>
                    <a:pt x="1280" y="1054"/>
                  </a:lnTo>
                  <a:lnTo>
                    <a:pt x="1214" y="534"/>
                  </a:lnTo>
                  <a:lnTo>
                    <a:pt x="1214" y="534"/>
                  </a:lnTo>
                  <a:lnTo>
                    <a:pt x="1222" y="532"/>
                  </a:lnTo>
                  <a:lnTo>
                    <a:pt x="1230" y="528"/>
                  </a:lnTo>
                  <a:lnTo>
                    <a:pt x="1236" y="522"/>
                  </a:lnTo>
                  <a:lnTo>
                    <a:pt x="1242" y="514"/>
                  </a:lnTo>
                  <a:lnTo>
                    <a:pt x="1604" y="734"/>
                  </a:lnTo>
                  <a:lnTo>
                    <a:pt x="1604" y="734"/>
                  </a:lnTo>
                  <a:lnTo>
                    <a:pt x="1604" y="736"/>
                  </a:lnTo>
                  <a:lnTo>
                    <a:pt x="1604" y="736"/>
                  </a:lnTo>
                  <a:lnTo>
                    <a:pt x="1606" y="742"/>
                  </a:lnTo>
                  <a:lnTo>
                    <a:pt x="1610" y="746"/>
                  </a:lnTo>
                  <a:lnTo>
                    <a:pt x="1610" y="746"/>
                  </a:lnTo>
                  <a:close/>
                  <a:moveTo>
                    <a:pt x="1176" y="1544"/>
                  </a:moveTo>
                  <a:lnTo>
                    <a:pt x="1176" y="1544"/>
                  </a:lnTo>
                  <a:lnTo>
                    <a:pt x="1172" y="1544"/>
                  </a:lnTo>
                  <a:lnTo>
                    <a:pt x="1168" y="1546"/>
                  </a:lnTo>
                  <a:lnTo>
                    <a:pt x="1166" y="1550"/>
                  </a:lnTo>
                  <a:lnTo>
                    <a:pt x="1164" y="1554"/>
                  </a:lnTo>
                  <a:lnTo>
                    <a:pt x="1058" y="1506"/>
                  </a:lnTo>
                  <a:lnTo>
                    <a:pt x="748" y="1366"/>
                  </a:lnTo>
                  <a:lnTo>
                    <a:pt x="748" y="1366"/>
                  </a:lnTo>
                  <a:lnTo>
                    <a:pt x="748" y="1364"/>
                  </a:lnTo>
                  <a:lnTo>
                    <a:pt x="748" y="1364"/>
                  </a:lnTo>
                  <a:lnTo>
                    <a:pt x="746" y="1358"/>
                  </a:lnTo>
                  <a:lnTo>
                    <a:pt x="1264" y="1104"/>
                  </a:lnTo>
                  <a:lnTo>
                    <a:pt x="1264" y="1104"/>
                  </a:lnTo>
                  <a:lnTo>
                    <a:pt x="1270" y="1112"/>
                  </a:lnTo>
                  <a:lnTo>
                    <a:pt x="1278" y="1116"/>
                  </a:lnTo>
                  <a:lnTo>
                    <a:pt x="1182" y="1546"/>
                  </a:lnTo>
                  <a:lnTo>
                    <a:pt x="1182" y="1546"/>
                  </a:lnTo>
                  <a:lnTo>
                    <a:pt x="1176" y="1544"/>
                  </a:lnTo>
                  <a:lnTo>
                    <a:pt x="1176" y="1544"/>
                  </a:lnTo>
                  <a:close/>
                  <a:moveTo>
                    <a:pt x="292" y="1398"/>
                  </a:moveTo>
                  <a:lnTo>
                    <a:pt x="292" y="1398"/>
                  </a:lnTo>
                  <a:lnTo>
                    <a:pt x="292" y="1394"/>
                  </a:lnTo>
                  <a:lnTo>
                    <a:pt x="290" y="1390"/>
                  </a:lnTo>
                  <a:lnTo>
                    <a:pt x="286" y="1388"/>
                  </a:lnTo>
                  <a:lnTo>
                    <a:pt x="282" y="1388"/>
                  </a:lnTo>
                  <a:lnTo>
                    <a:pt x="302" y="1080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8" y="946"/>
                  </a:lnTo>
                  <a:lnTo>
                    <a:pt x="324" y="942"/>
                  </a:lnTo>
                  <a:lnTo>
                    <a:pt x="458" y="1078"/>
                  </a:lnTo>
                  <a:lnTo>
                    <a:pt x="728" y="1356"/>
                  </a:lnTo>
                  <a:lnTo>
                    <a:pt x="728" y="1356"/>
                  </a:lnTo>
                  <a:lnTo>
                    <a:pt x="724" y="1362"/>
                  </a:lnTo>
                  <a:lnTo>
                    <a:pt x="292" y="1398"/>
                  </a:lnTo>
                  <a:close/>
                  <a:moveTo>
                    <a:pt x="730" y="1354"/>
                  </a:moveTo>
                  <a:lnTo>
                    <a:pt x="326" y="940"/>
                  </a:lnTo>
                  <a:lnTo>
                    <a:pt x="326" y="940"/>
                  </a:lnTo>
                  <a:lnTo>
                    <a:pt x="330" y="932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332" y="924"/>
                  </a:lnTo>
                  <a:lnTo>
                    <a:pt x="682" y="872"/>
                  </a:lnTo>
                  <a:lnTo>
                    <a:pt x="786" y="856"/>
                  </a:lnTo>
                  <a:lnTo>
                    <a:pt x="786" y="856"/>
                  </a:lnTo>
                  <a:lnTo>
                    <a:pt x="790" y="868"/>
                  </a:lnTo>
                  <a:lnTo>
                    <a:pt x="796" y="878"/>
                  </a:lnTo>
                  <a:lnTo>
                    <a:pt x="806" y="886"/>
                  </a:lnTo>
                  <a:lnTo>
                    <a:pt x="818" y="890"/>
                  </a:lnTo>
                  <a:lnTo>
                    <a:pt x="788" y="1060"/>
                  </a:lnTo>
                  <a:lnTo>
                    <a:pt x="736" y="1352"/>
                  </a:lnTo>
                  <a:lnTo>
                    <a:pt x="736" y="1352"/>
                  </a:lnTo>
                  <a:lnTo>
                    <a:pt x="730" y="1354"/>
                  </a:lnTo>
                  <a:lnTo>
                    <a:pt x="730" y="1354"/>
                  </a:lnTo>
                  <a:close/>
                  <a:moveTo>
                    <a:pt x="604" y="388"/>
                  </a:moveTo>
                  <a:lnTo>
                    <a:pt x="1166" y="486"/>
                  </a:lnTo>
                  <a:lnTo>
                    <a:pt x="1166" y="486"/>
                  </a:lnTo>
                  <a:lnTo>
                    <a:pt x="1166" y="494"/>
                  </a:lnTo>
                  <a:lnTo>
                    <a:pt x="1166" y="494"/>
                  </a:lnTo>
                  <a:lnTo>
                    <a:pt x="1166" y="502"/>
                  </a:lnTo>
                  <a:lnTo>
                    <a:pt x="1168" y="508"/>
                  </a:lnTo>
                  <a:lnTo>
                    <a:pt x="1174" y="520"/>
                  </a:lnTo>
                  <a:lnTo>
                    <a:pt x="1040" y="648"/>
                  </a:lnTo>
                  <a:lnTo>
                    <a:pt x="854" y="822"/>
                  </a:lnTo>
                  <a:lnTo>
                    <a:pt x="854" y="822"/>
                  </a:lnTo>
                  <a:lnTo>
                    <a:pt x="848" y="816"/>
                  </a:lnTo>
                  <a:lnTo>
                    <a:pt x="842" y="812"/>
                  </a:lnTo>
                  <a:lnTo>
                    <a:pt x="834" y="810"/>
                  </a:lnTo>
                  <a:lnTo>
                    <a:pt x="826" y="810"/>
                  </a:lnTo>
                  <a:lnTo>
                    <a:pt x="826" y="810"/>
                  </a:lnTo>
                  <a:lnTo>
                    <a:pt x="818" y="810"/>
                  </a:lnTo>
                  <a:lnTo>
                    <a:pt x="810" y="812"/>
                  </a:lnTo>
                  <a:lnTo>
                    <a:pt x="600" y="394"/>
                  </a:lnTo>
                  <a:lnTo>
                    <a:pt x="600" y="394"/>
                  </a:lnTo>
                  <a:lnTo>
                    <a:pt x="604" y="388"/>
                  </a:lnTo>
                  <a:lnTo>
                    <a:pt x="604" y="388"/>
                  </a:lnTo>
                  <a:close/>
                  <a:moveTo>
                    <a:pt x="1206" y="536"/>
                  </a:moveTo>
                  <a:lnTo>
                    <a:pt x="1206" y="536"/>
                  </a:lnTo>
                  <a:lnTo>
                    <a:pt x="1212" y="536"/>
                  </a:lnTo>
                  <a:lnTo>
                    <a:pt x="1280" y="1070"/>
                  </a:lnTo>
                  <a:lnTo>
                    <a:pt x="1280" y="1070"/>
                  </a:lnTo>
                  <a:lnTo>
                    <a:pt x="1270" y="1076"/>
                  </a:lnTo>
                  <a:lnTo>
                    <a:pt x="1264" y="1082"/>
                  </a:lnTo>
                  <a:lnTo>
                    <a:pt x="864" y="866"/>
                  </a:lnTo>
                  <a:lnTo>
                    <a:pt x="864" y="866"/>
                  </a:lnTo>
                  <a:lnTo>
                    <a:pt x="866" y="858"/>
                  </a:lnTo>
                  <a:lnTo>
                    <a:pt x="866" y="850"/>
                  </a:lnTo>
                  <a:lnTo>
                    <a:pt x="866" y="850"/>
                  </a:lnTo>
                  <a:lnTo>
                    <a:pt x="866" y="842"/>
                  </a:lnTo>
                  <a:lnTo>
                    <a:pt x="864" y="836"/>
                  </a:lnTo>
                  <a:lnTo>
                    <a:pt x="860" y="828"/>
                  </a:lnTo>
                  <a:lnTo>
                    <a:pt x="856" y="824"/>
                  </a:lnTo>
                  <a:lnTo>
                    <a:pt x="1176" y="522"/>
                  </a:lnTo>
                  <a:lnTo>
                    <a:pt x="1176" y="522"/>
                  </a:lnTo>
                  <a:lnTo>
                    <a:pt x="1182" y="528"/>
                  </a:lnTo>
                  <a:lnTo>
                    <a:pt x="1190" y="532"/>
                  </a:lnTo>
                  <a:lnTo>
                    <a:pt x="1198" y="534"/>
                  </a:lnTo>
                  <a:lnTo>
                    <a:pt x="1206" y="536"/>
                  </a:lnTo>
                  <a:lnTo>
                    <a:pt x="1206" y="536"/>
                  </a:lnTo>
                  <a:close/>
                  <a:moveTo>
                    <a:pt x="738" y="1352"/>
                  </a:moveTo>
                  <a:lnTo>
                    <a:pt x="822" y="890"/>
                  </a:lnTo>
                  <a:lnTo>
                    <a:pt x="822" y="890"/>
                  </a:lnTo>
                  <a:lnTo>
                    <a:pt x="826" y="890"/>
                  </a:lnTo>
                  <a:lnTo>
                    <a:pt x="826" y="890"/>
                  </a:lnTo>
                  <a:lnTo>
                    <a:pt x="838" y="890"/>
                  </a:lnTo>
                  <a:lnTo>
                    <a:pt x="848" y="884"/>
                  </a:lnTo>
                  <a:lnTo>
                    <a:pt x="856" y="878"/>
                  </a:lnTo>
                  <a:lnTo>
                    <a:pt x="862" y="868"/>
                  </a:lnTo>
                  <a:lnTo>
                    <a:pt x="1264" y="1084"/>
                  </a:lnTo>
                  <a:lnTo>
                    <a:pt x="1264" y="1084"/>
                  </a:lnTo>
                  <a:lnTo>
                    <a:pt x="1262" y="1094"/>
                  </a:lnTo>
                  <a:lnTo>
                    <a:pt x="1262" y="1094"/>
                  </a:lnTo>
                  <a:lnTo>
                    <a:pt x="1264" y="1102"/>
                  </a:lnTo>
                  <a:lnTo>
                    <a:pt x="798" y="1330"/>
                  </a:lnTo>
                  <a:lnTo>
                    <a:pt x="746" y="1356"/>
                  </a:lnTo>
                  <a:lnTo>
                    <a:pt x="746" y="1356"/>
                  </a:lnTo>
                  <a:lnTo>
                    <a:pt x="742" y="1354"/>
                  </a:lnTo>
                  <a:lnTo>
                    <a:pt x="738" y="1352"/>
                  </a:lnTo>
                  <a:lnTo>
                    <a:pt x="738" y="1352"/>
                  </a:lnTo>
                  <a:close/>
                  <a:moveTo>
                    <a:pt x="592" y="396"/>
                  </a:moveTo>
                  <a:lnTo>
                    <a:pt x="592" y="396"/>
                  </a:lnTo>
                  <a:lnTo>
                    <a:pt x="598" y="394"/>
                  </a:lnTo>
                  <a:lnTo>
                    <a:pt x="808" y="814"/>
                  </a:lnTo>
                  <a:lnTo>
                    <a:pt x="808" y="814"/>
                  </a:lnTo>
                  <a:lnTo>
                    <a:pt x="800" y="820"/>
                  </a:lnTo>
                  <a:lnTo>
                    <a:pt x="792" y="828"/>
                  </a:lnTo>
                  <a:lnTo>
                    <a:pt x="786" y="838"/>
                  </a:lnTo>
                  <a:lnTo>
                    <a:pt x="786" y="850"/>
                  </a:lnTo>
                  <a:lnTo>
                    <a:pt x="786" y="850"/>
                  </a:lnTo>
                  <a:lnTo>
                    <a:pt x="786" y="854"/>
                  </a:lnTo>
                  <a:lnTo>
                    <a:pt x="332" y="920"/>
                  </a:lnTo>
                  <a:lnTo>
                    <a:pt x="332" y="920"/>
                  </a:lnTo>
                  <a:lnTo>
                    <a:pt x="328" y="912"/>
                  </a:lnTo>
                  <a:lnTo>
                    <a:pt x="322" y="904"/>
                  </a:lnTo>
                  <a:lnTo>
                    <a:pt x="414" y="730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2" y="396"/>
                  </a:lnTo>
                  <a:lnTo>
                    <a:pt x="592" y="396"/>
                  </a:lnTo>
                  <a:close/>
                  <a:moveTo>
                    <a:pt x="708" y="1634"/>
                  </a:moveTo>
                  <a:lnTo>
                    <a:pt x="708" y="1634"/>
                  </a:lnTo>
                  <a:lnTo>
                    <a:pt x="706" y="1634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36" y="1376"/>
                  </a:lnTo>
                  <a:lnTo>
                    <a:pt x="744" y="1374"/>
                  </a:lnTo>
                  <a:lnTo>
                    <a:pt x="748" y="1368"/>
                  </a:lnTo>
                  <a:lnTo>
                    <a:pt x="1164" y="1556"/>
                  </a:lnTo>
                  <a:lnTo>
                    <a:pt x="1164" y="1556"/>
                  </a:lnTo>
                  <a:lnTo>
                    <a:pt x="1168" y="1564"/>
                  </a:lnTo>
                  <a:lnTo>
                    <a:pt x="834" y="1630"/>
                  </a:lnTo>
                  <a:lnTo>
                    <a:pt x="732" y="1650"/>
                  </a:lnTo>
                  <a:lnTo>
                    <a:pt x="732" y="1650"/>
                  </a:lnTo>
                  <a:lnTo>
                    <a:pt x="728" y="1644"/>
                  </a:lnTo>
                  <a:lnTo>
                    <a:pt x="724" y="1638"/>
                  </a:lnTo>
                  <a:lnTo>
                    <a:pt x="716" y="1634"/>
                  </a:lnTo>
                  <a:lnTo>
                    <a:pt x="708" y="1634"/>
                  </a:lnTo>
                  <a:lnTo>
                    <a:pt x="708" y="1634"/>
                  </a:lnTo>
                  <a:close/>
                  <a:moveTo>
                    <a:pt x="1566" y="1192"/>
                  </a:moveTo>
                  <a:lnTo>
                    <a:pt x="1566" y="1192"/>
                  </a:lnTo>
                  <a:lnTo>
                    <a:pt x="1552" y="1194"/>
                  </a:lnTo>
                  <a:lnTo>
                    <a:pt x="1542" y="1200"/>
                  </a:lnTo>
                  <a:lnTo>
                    <a:pt x="1532" y="1208"/>
                  </a:lnTo>
                  <a:lnTo>
                    <a:pt x="1526" y="1220"/>
                  </a:lnTo>
                  <a:lnTo>
                    <a:pt x="1306" y="1104"/>
                  </a:lnTo>
                  <a:lnTo>
                    <a:pt x="1306" y="1104"/>
                  </a:lnTo>
                  <a:lnTo>
                    <a:pt x="1308" y="1100"/>
                  </a:lnTo>
                  <a:lnTo>
                    <a:pt x="1310" y="1094"/>
                  </a:lnTo>
                  <a:lnTo>
                    <a:pt x="1310" y="1094"/>
                  </a:lnTo>
                  <a:lnTo>
                    <a:pt x="1308" y="1084"/>
                  </a:lnTo>
                  <a:lnTo>
                    <a:pt x="1302" y="1076"/>
                  </a:lnTo>
                  <a:lnTo>
                    <a:pt x="1614" y="746"/>
                  </a:lnTo>
                  <a:lnTo>
                    <a:pt x="1614" y="746"/>
                  </a:lnTo>
                  <a:lnTo>
                    <a:pt x="1616" y="746"/>
                  </a:lnTo>
                  <a:lnTo>
                    <a:pt x="1568" y="1192"/>
                  </a:lnTo>
                  <a:lnTo>
                    <a:pt x="1568" y="1192"/>
                  </a:lnTo>
                  <a:lnTo>
                    <a:pt x="1566" y="1192"/>
                  </a:lnTo>
                  <a:lnTo>
                    <a:pt x="1566" y="1192"/>
                  </a:lnTo>
                  <a:close/>
                  <a:moveTo>
                    <a:pt x="1406" y="298"/>
                  </a:moveTo>
                  <a:lnTo>
                    <a:pt x="1234" y="464"/>
                  </a:lnTo>
                  <a:lnTo>
                    <a:pt x="1234" y="464"/>
                  </a:lnTo>
                  <a:lnTo>
                    <a:pt x="1228" y="460"/>
                  </a:lnTo>
                  <a:lnTo>
                    <a:pt x="1222" y="456"/>
                  </a:lnTo>
                  <a:lnTo>
                    <a:pt x="1214" y="454"/>
                  </a:lnTo>
                  <a:lnTo>
                    <a:pt x="1206" y="454"/>
                  </a:lnTo>
                  <a:lnTo>
                    <a:pt x="1206" y="454"/>
                  </a:lnTo>
                  <a:lnTo>
                    <a:pt x="1198" y="456"/>
                  </a:lnTo>
                  <a:lnTo>
                    <a:pt x="1190" y="458"/>
                  </a:lnTo>
                  <a:lnTo>
                    <a:pt x="1170" y="426"/>
                  </a:lnTo>
                  <a:lnTo>
                    <a:pt x="976" y="78"/>
                  </a:lnTo>
                  <a:lnTo>
                    <a:pt x="976" y="78"/>
                  </a:lnTo>
                  <a:lnTo>
                    <a:pt x="976" y="76"/>
                  </a:lnTo>
                  <a:lnTo>
                    <a:pt x="1022" y="96"/>
                  </a:lnTo>
                  <a:lnTo>
                    <a:pt x="1402" y="272"/>
                  </a:lnTo>
                  <a:lnTo>
                    <a:pt x="1402" y="272"/>
                  </a:lnTo>
                  <a:lnTo>
                    <a:pt x="1400" y="282"/>
                  </a:lnTo>
                  <a:lnTo>
                    <a:pt x="1400" y="282"/>
                  </a:lnTo>
                  <a:lnTo>
                    <a:pt x="1402" y="290"/>
                  </a:lnTo>
                  <a:lnTo>
                    <a:pt x="1406" y="298"/>
                  </a:lnTo>
                  <a:lnTo>
                    <a:pt x="1406" y="298"/>
                  </a:lnTo>
                  <a:close/>
                  <a:moveTo>
                    <a:pt x="470" y="136"/>
                  </a:moveTo>
                  <a:lnTo>
                    <a:pt x="470" y="136"/>
                  </a:lnTo>
                  <a:lnTo>
                    <a:pt x="478" y="134"/>
                  </a:lnTo>
                  <a:lnTo>
                    <a:pt x="588" y="374"/>
                  </a:lnTo>
                  <a:lnTo>
                    <a:pt x="588" y="374"/>
                  </a:lnTo>
                  <a:lnTo>
                    <a:pt x="582" y="378"/>
                  </a:lnTo>
                  <a:lnTo>
                    <a:pt x="580" y="384"/>
                  </a:lnTo>
                  <a:lnTo>
                    <a:pt x="580" y="384"/>
                  </a:lnTo>
                  <a:lnTo>
                    <a:pt x="580" y="386"/>
                  </a:lnTo>
                  <a:lnTo>
                    <a:pt x="152" y="486"/>
                  </a:lnTo>
                  <a:lnTo>
                    <a:pt x="152" y="486"/>
                  </a:lnTo>
                  <a:lnTo>
                    <a:pt x="148" y="482"/>
                  </a:lnTo>
                  <a:lnTo>
                    <a:pt x="146" y="478"/>
                  </a:lnTo>
                  <a:lnTo>
                    <a:pt x="458" y="132"/>
                  </a:lnTo>
                  <a:lnTo>
                    <a:pt x="458" y="132"/>
                  </a:lnTo>
                  <a:lnTo>
                    <a:pt x="464" y="134"/>
                  </a:lnTo>
                  <a:lnTo>
                    <a:pt x="470" y="136"/>
                  </a:lnTo>
                  <a:lnTo>
                    <a:pt x="470" y="136"/>
                  </a:lnTo>
                  <a:close/>
                  <a:moveTo>
                    <a:pt x="582" y="390"/>
                  </a:moveTo>
                  <a:lnTo>
                    <a:pt x="582" y="390"/>
                  </a:lnTo>
                  <a:lnTo>
                    <a:pt x="584" y="392"/>
                  </a:lnTo>
                  <a:lnTo>
                    <a:pt x="588" y="394"/>
                  </a:lnTo>
                  <a:lnTo>
                    <a:pt x="320" y="904"/>
                  </a:lnTo>
                  <a:lnTo>
                    <a:pt x="320" y="904"/>
                  </a:lnTo>
                  <a:lnTo>
                    <a:pt x="314" y="902"/>
                  </a:lnTo>
                  <a:lnTo>
                    <a:pt x="308" y="900"/>
                  </a:lnTo>
                  <a:lnTo>
                    <a:pt x="308" y="900"/>
                  </a:lnTo>
                  <a:lnTo>
                    <a:pt x="302" y="902"/>
                  </a:lnTo>
                  <a:lnTo>
                    <a:pt x="294" y="882"/>
                  </a:lnTo>
                  <a:lnTo>
                    <a:pt x="142" y="518"/>
                  </a:lnTo>
                  <a:lnTo>
                    <a:pt x="142" y="518"/>
                  </a:lnTo>
                  <a:lnTo>
                    <a:pt x="146" y="514"/>
                  </a:lnTo>
                  <a:lnTo>
                    <a:pt x="150" y="508"/>
                  </a:lnTo>
                  <a:lnTo>
                    <a:pt x="154" y="502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2" y="488"/>
                  </a:lnTo>
                  <a:lnTo>
                    <a:pt x="582" y="390"/>
                  </a:lnTo>
                  <a:close/>
                  <a:moveTo>
                    <a:pt x="130" y="520"/>
                  </a:moveTo>
                  <a:lnTo>
                    <a:pt x="130" y="520"/>
                  </a:lnTo>
                  <a:lnTo>
                    <a:pt x="140" y="518"/>
                  </a:lnTo>
                  <a:lnTo>
                    <a:pt x="300" y="902"/>
                  </a:lnTo>
                  <a:lnTo>
                    <a:pt x="300" y="902"/>
                  </a:lnTo>
                  <a:lnTo>
                    <a:pt x="294" y="906"/>
                  </a:lnTo>
                  <a:lnTo>
                    <a:pt x="288" y="910"/>
                  </a:lnTo>
                  <a:lnTo>
                    <a:pt x="286" y="918"/>
                  </a:lnTo>
                  <a:lnTo>
                    <a:pt x="284" y="924"/>
                  </a:lnTo>
                  <a:lnTo>
                    <a:pt x="284" y="924"/>
                  </a:lnTo>
                  <a:lnTo>
                    <a:pt x="284" y="928"/>
                  </a:lnTo>
                  <a:lnTo>
                    <a:pt x="124" y="958"/>
                  </a:lnTo>
                  <a:lnTo>
                    <a:pt x="38" y="972"/>
                  </a:lnTo>
                  <a:lnTo>
                    <a:pt x="38" y="972"/>
                  </a:lnTo>
                  <a:lnTo>
                    <a:pt x="36" y="968"/>
                  </a:lnTo>
                  <a:lnTo>
                    <a:pt x="30" y="966"/>
                  </a:lnTo>
                  <a:lnTo>
                    <a:pt x="126" y="520"/>
                  </a:lnTo>
                  <a:lnTo>
                    <a:pt x="126" y="520"/>
                  </a:lnTo>
                  <a:lnTo>
                    <a:pt x="130" y="520"/>
                  </a:lnTo>
                  <a:lnTo>
                    <a:pt x="130" y="520"/>
                  </a:lnTo>
                  <a:close/>
                  <a:moveTo>
                    <a:pt x="30" y="988"/>
                  </a:moveTo>
                  <a:lnTo>
                    <a:pt x="30" y="988"/>
                  </a:lnTo>
                  <a:lnTo>
                    <a:pt x="32" y="988"/>
                  </a:lnTo>
                  <a:lnTo>
                    <a:pt x="66" y="104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94" y="1246"/>
                  </a:lnTo>
                  <a:lnTo>
                    <a:pt x="94" y="1246"/>
                  </a:lnTo>
                  <a:lnTo>
                    <a:pt x="96" y="1240"/>
                  </a:lnTo>
                  <a:lnTo>
                    <a:pt x="96" y="1240"/>
                  </a:lnTo>
                  <a:lnTo>
                    <a:pt x="94" y="1236"/>
                  </a:lnTo>
                  <a:lnTo>
                    <a:pt x="92" y="1232"/>
                  </a:lnTo>
                  <a:lnTo>
                    <a:pt x="88" y="1230"/>
                  </a:lnTo>
                  <a:lnTo>
                    <a:pt x="84" y="1228"/>
                  </a:lnTo>
                  <a:lnTo>
                    <a:pt x="84" y="1228"/>
                  </a:lnTo>
                  <a:lnTo>
                    <a:pt x="82" y="1228"/>
                  </a:lnTo>
                  <a:lnTo>
                    <a:pt x="30" y="988"/>
                  </a:lnTo>
                  <a:close/>
                  <a:moveTo>
                    <a:pt x="96" y="1250"/>
                  </a:moveTo>
                  <a:lnTo>
                    <a:pt x="270" y="1394"/>
                  </a:lnTo>
                  <a:lnTo>
                    <a:pt x="270" y="1394"/>
                  </a:lnTo>
                  <a:lnTo>
                    <a:pt x="268" y="1400"/>
                  </a:lnTo>
                  <a:lnTo>
                    <a:pt x="268" y="1400"/>
                  </a:lnTo>
                  <a:lnTo>
                    <a:pt x="270" y="1404"/>
                  </a:lnTo>
                  <a:lnTo>
                    <a:pt x="272" y="1408"/>
                  </a:lnTo>
                  <a:lnTo>
                    <a:pt x="276" y="1410"/>
                  </a:lnTo>
                  <a:lnTo>
                    <a:pt x="280" y="1412"/>
                  </a:lnTo>
                  <a:lnTo>
                    <a:pt x="280" y="1412"/>
                  </a:lnTo>
                  <a:lnTo>
                    <a:pt x="284" y="1410"/>
                  </a:lnTo>
                  <a:lnTo>
                    <a:pt x="406" y="1604"/>
                  </a:lnTo>
                  <a:lnTo>
                    <a:pt x="412" y="1614"/>
                  </a:lnTo>
                  <a:lnTo>
                    <a:pt x="96" y="1250"/>
                  </a:lnTo>
                  <a:close/>
                  <a:moveTo>
                    <a:pt x="434" y="1626"/>
                  </a:moveTo>
                  <a:lnTo>
                    <a:pt x="434" y="1626"/>
                  </a:lnTo>
                  <a:lnTo>
                    <a:pt x="434" y="1626"/>
                  </a:lnTo>
                  <a:lnTo>
                    <a:pt x="434" y="1626"/>
                  </a:lnTo>
                  <a:lnTo>
                    <a:pt x="434" y="1622"/>
                  </a:lnTo>
                  <a:lnTo>
                    <a:pt x="430" y="1618"/>
                  </a:lnTo>
                  <a:lnTo>
                    <a:pt x="426" y="1614"/>
                  </a:lnTo>
                  <a:lnTo>
                    <a:pt x="422" y="1614"/>
                  </a:lnTo>
                  <a:lnTo>
                    <a:pt x="422" y="1614"/>
                  </a:lnTo>
                  <a:lnTo>
                    <a:pt x="416" y="1616"/>
                  </a:lnTo>
                  <a:lnTo>
                    <a:pt x="286" y="1410"/>
                  </a:lnTo>
                  <a:lnTo>
                    <a:pt x="286" y="1410"/>
                  </a:lnTo>
                  <a:lnTo>
                    <a:pt x="290" y="1408"/>
                  </a:lnTo>
                  <a:lnTo>
                    <a:pt x="378" y="1462"/>
                  </a:lnTo>
                  <a:lnTo>
                    <a:pt x="686" y="1650"/>
                  </a:lnTo>
                  <a:lnTo>
                    <a:pt x="686" y="1650"/>
                  </a:lnTo>
                  <a:lnTo>
                    <a:pt x="686" y="1654"/>
                  </a:lnTo>
                  <a:lnTo>
                    <a:pt x="434" y="1626"/>
                  </a:lnTo>
                  <a:close/>
                  <a:moveTo>
                    <a:pt x="970" y="1678"/>
                  </a:moveTo>
                  <a:lnTo>
                    <a:pt x="970" y="1678"/>
                  </a:lnTo>
                  <a:lnTo>
                    <a:pt x="964" y="1680"/>
                  </a:lnTo>
                  <a:lnTo>
                    <a:pt x="962" y="1682"/>
                  </a:lnTo>
                  <a:lnTo>
                    <a:pt x="958" y="1684"/>
                  </a:lnTo>
                  <a:lnTo>
                    <a:pt x="958" y="1688"/>
                  </a:lnTo>
                  <a:lnTo>
                    <a:pt x="732" y="1660"/>
                  </a:lnTo>
                  <a:lnTo>
                    <a:pt x="732" y="1660"/>
                  </a:lnTo>
                  <a:lnTo>
                    <a:pt x="732" y="1658"/>
                  </a:lnTo>
                  <a:lnTo>
                    <a:pt x="732" y="1658"/>
                  </a:lnTo>
                  <a:lnTo>
                    <a:pt x="732" y="1652"/>
                  </a:lnTo>
                  <a:lnTo>
                    <a:pt x="1124" y="1574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1170" y="1566"/>
                  </a:lnTo>
                  <a:lnTo>
                    <a:pt x="980" y="1684"/>
                  </a:lnTo>
                  <a:lnTo>
                    <a:pt x="980" y="1684"/>
                  </a:lnTo>
                  <a:lnTo>
                    <a:pt x="974" y="1680"/>
                  </a:lnTo>
                  <a:lnTo>
                    <a:pt x="970" y="1678"/>
                  </a:lnTo>
                  <a:lnTo>
                    <a:pt x="970" y="1678"/>
                  </a:lnTo>
                  <a:close/>
                  <a:moveTo>
                    <a:pt x="990" y="1680"/>
                  </a:moveTo>
                  <a:lnTo>
                    <a:pt x="1174" y="1568"/>
                  </a:lnTo>
                  <a:lnTo>
                    <a:pt x="1174" y="1568"/>
                  </a:lnTo>
                  <a:lnTo>
                    <a:pt x="1176" y="1568"/>
                  </a:lnTo>
                  <a:lnTo>
                    <a:pt x="1176" y="1568"/>
                  </a:lnTo>
                  <a:lnTo>
                    <a:pt x="1184" y="1566"/>
                  </a:lnTo>
                  <a:lnTo>
                    <a:pt x="1188" y="1560"/>
                  </a:lnTo>
                  <a:lnTo>
                    <a:pt x="1426" y="1472"/>
                  </a:lnTo>
                  <a:lnTo>
                    <a:pt x="990" y="1680"/>
                  </a:lnTo>
                  <a:close/>
                  <a:moveTo>
                    <a:pt x="1450" y="1460"/>
                  </a:moveTo>
                  <a:lnTo>
                    <a:pt x="1188" y="1558"/>
                  </a:lnTo>
                  <a:lnTo>
                    <a:pt x="1188" y="1558"/>
                  </a:lnTo>
                  <a:lnTo>
                    <a:pt x="1188" y="1556"/>
                  </a:lnTo>
                  <a:lnTo>
                    <a:pt x="1538" y="1262"/>
                  </a:lnTo>
                  <a:lnTo>
                    <a:pt x="1538" y="1262"/>
                  </a:lnTo>
                  <a:lnTo>
                    <a:pt x="1546" y="1270"/>
                  </a:lnTo>
                  <a:lnTo>
                    <a:pt x="1450" y="1460"/>
                  </a:lnTo>
                  <a:close/>
                  <a:moveTo>
                    <a:pt x="1680" y="1000"/>
                  </a:moveTo>
                  <a:lnTo>
                    <a:pt x="1584" y="1196"/>
                  </a:lnTo>
                  <a:lnTo>
                    <a:pt x="1584" y="1196"/>
                  </a:lnTo>
                  <a:lnTo>
                    <a:pt x="1576" y="1194"/>
                  </a:lnTo>
                  <a:lnTo>
                    <a:pt x="1570" y="1192"/>
                  </a:lnTo>
                  <a:lnTo>
                    <a:pt x="1618" y="746"/>
                  </a:lnTo>
                  <a:lnTo>
                    <a:pt x="1618" y="746"/>
                  </a:lnTo>
                  <a:lnTo>
                    <a:pt x="1622" y="746"/>
                  </a:lnTo>
                  <a:lnTo>
                    <a:pt x="1624" y="742"/>
                  </a:lnTo>
                  <a:lnTo>
                    <a:pt x="1626" y="740"/>
                  </a:lnTo>
                  <a:lnTo>
                    <a:pt x="1628" y="736"/>
                  </a:lnTo>
                  <a:lnTo>
                    <a:pt x="1628" y="736"/>
                  </a:lnTo>
                  <a:lnTo>
                    <a:pt x="1626" y="732"/>
                  </a:lnTo>
                  <a:lnTo>
                    <a:pt x="1624" y="728"/>
                  </a:lnTo>
                  <a:lnTo>
                    <a:pt x="1622" y="724"/>
                  </a:lnTo>
                  <a:lnTo>
                    <a:pt x="1618" y="724"/>
                  </a:lnTo>
                  <a:lnTo>
                    <a:pt x="1618" y="510"/>
                  </a:lnTo>
                  <a:lnTo>
                    <a:pt x="1684" y="980"/>
                  </a:lnTo>
                  <a:lnTo>
                    <a:pt x="1684" y="980"/>
                  </a:lnTo>
                  <a:lnTo>
                    <a:pt x="1678" y="984"/>
                  </a:lnTo>
                  <a:lnTo>
                    <a:pt x="1676" y="988"/>
                  </a:lnTo>
                  <a:lnTo>
                    <a:pt x="1676" y="992"/>
                  </a:lnTo>
                  <a:lnTo>
                    <a:pt x="1676" y="992"/>
                  </a:lnTo>
                  <a:lnTo>
                    <a:pt x="1676" y="996"/>
                  </a:lnTo>
                  <a:lnTo>
                    <a:pt x="1680" y="1000"/>
                  </a:lnTo>
                  <a:lnTo>
                    <a:pt x="1680" y="1000"/>
                  </a:lnTo>
                  <a:close/>
                  <a:moveTo>
                    <a:pt x="1616" y="504"/>
                  </a:moveTo>
                  <a:lnTo>
                    <a:pt x="1616" y="724"/>
                  </a:lnTo>
                  <a:lnTo>
                    <a:pt x="1616" y="724"/>
                  </a:lnTo>
                  <a:lnTo>
                    <a:pt x="1612" y="724"/>
                  </a:lnTo>
                  <a:lnTo>
                    <a:pt x="1436" y="302"/>
                  </a:lnTo>
                  <a:lnTo>
                    <a:pt x="1436" y="302"/>
                  </a:lnTo>
                  <a:lnTo>
                    <a:pt x="1440" y="298"/>
                  </a:lnTo>
                  <a:lnTo>
                    <a:pt x="1608" y="484"/>
                  </a:lnTo>
                  <a:lnTo>
                    <a:pt x="1608" y="484"/>
                  </a:lnTo>
                  <a:lnTo>
                    <a:pt x="1604" y="488"/>
                  </a:lnTo>
                  <a:lnTo>
                    <a:pt x="1604" y="492"/>
                  </a:lnTo>
                  <a:lnTo>
                    <a:pt x="1604" y="492"/>
                  </a:lnTo>
                  <a:lnTo>
                    <a:pt x="1604" y="498"/>
                  </a:lnTo>
                  <a:lnTo>
                    <a:pt x="1608" y="502"/>
                  </a:lnTo>
                  <a:lnTo>
                    <a:pt x="1612" y="504"/>
                  </a:lnTo>
                  <a:lnTo>
                    <a:pt x="1616" y="504"/>
                  </a:lnTo>
                  <a:lnTo>
                    <a:pt x="1616" y="504"/>
                  </a:lnTo>
                  <a:close/>
                  <a:moveTo>
                    <a:pt x="1240" y="108"/>
                  </a:moveTo>
                  <a:lnTo>
                    <a:pt x="1240" y="108"/>
                  </a:lnTo>
                  <a:lnTo>
                    <a:pt x="1246" y="106"/>
                  </a:lnTo>
                  <a:lnTo>
                    <a:pt x="1250" y="104"/>
                  </a:lnTo>
                  <a:lnTo>
                    <a:pt x="1406" y="264"/>
                  </a:lnTo>
                  <a:lnTo>
                    <a:pt x="1406" y="264"/>
                  </a:lnTo>
                  <a:lnTo>
                    <a:pt x="1402" y="270"/>
                  </a:lnTo>
                  <a:lnTo>
                    <a:pt x="978" y="74"/>
                  </a:lnTo>
                  <a:lnTo>
                    <a:pt x="978" y="74"/>
                  </a:lnTo>
                  <a:lnTo>
                    <a:pt x="978" y="72"/>
                  </a:lnTo>
                  <a:lnTo>
                    <a:pt x="1098" y="84"/>
                  </a:lnTo>
                  <a:lnTo>
                    <a:pt x="1230" y="94"/>
                  </a:lnTo>
                  <a:lnTo>
                    <a:pt x="1230" y="94"/>
                  </a:lnTo>
                  <a:lnTo>
                    <a:pt x="1228" y="96"/>
                  </a:lnTo>
                  <a:lnTo>
                    <a:pt x="1228" y="96"/>
                  </a:lnTo>
                  <a:lnTo>
                    <a:pt x="1230" y="100"/>
                  </a:lnTo>
                  <a:lnTo>
                    <a:pt x="1232" y="104"/>
                  </a:lnTo>
                  <a:lnTo>
                    <a:pt x="1236" y="106"/>
                  </a:lnTo>
                  <a:lnTo>
                    <a:pt x="1240" y="108"/>
                  </a:lnTo>
                  <a:lnTo>
                    <a:pt x="1240" y="108"/>
                  </a:lnTo>
                  <a:close/>
                  <a:moveTo>
                    <a:pt x="1208" y="90"/>
                  </a:moveTo>
                  <a:lnTo>
                    <a:pt x="978" y="70"/>
                  </a:lnTo>
                  <a:lnTo>
                    <a:pt x="978" y="70"/>
                  </a:lnTo>
                  <a:lnTo>
                    <a:pt x="976" y="66"/>
                  </a:lnTo>
                  <a:lnTo>
                    <a:pt x="974" y="64"/>
                  </a:lnTo>
                  <a:lnTo>
                    <a:pt x="970" y="62"/>
                  </a:lnTo>
                  <a:lnTo>
                    <a:pt x="966" y="60"/>
                  </a:lnTo>
                  <a:lnTo>
                    <a:pt x="966" y="60"/>
                  </a:lnTo>
                  <a:lnTo>
                    <a:pt x="960" y="62"/>
                  </a:lnTo>
                  <a:lnTo>
                    <a:pt x="956" y="66"/>
                  </a:lnTo>
                  <a:lnTo>
                    <a:pt x="750" y="16"/>
                  </a:lnTo>
                  <a:lnTo>
                    <a:pt x="1208" y="90"/>
                  </a:lnTo>
                  <a:close/>
                  <a:moveTo>
                    <a:pt x="712" y="14"/>
                  </a:moveTo>
                  <a:lnTo>
                    <a:pt x="712" y="14"/>
                  </a:lnTo>
                  <a:lnTo>
                    <a:pt x="714" y="18"/>
                  </a:lnTo>
                  <a:lnTo>
                    <a:pt x="716" y="20"/>
                  </a:lnTo>
                  <a:lnTo>
                    <a:pt x="720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8" y="22"/>
                  </a:lnTo>
                  <a:lnTo>
                    <a:pt x="732" y="20"/>
                  </a:lnTo>
                  <a:lnTo>
                    <a:pt x="734" y="18"/>
                  </a:lnTo>
                  <a:lnTo>
                    <a:pt x="736" y="14"/>
                  </a:lnTo>
                  <a:lnTo>
                    <a:pt x="954" y="68"/>
                  </a:lnTo>
                  <a:lnTo>
                    <a:pt x="954" y="68"/>
                  </a:lnTo>
                  <a:lnTo>
                    <a:pt x="954" y="70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0"/>
                  </a:lnTo>
                  <a:lnTo>
                    <a:pt x="712" y="14"/>
                  </a:lnTo>
                  <a:close/>
                  <a:moveTo>
                    <a:pt x="238" y="266"/>
                  </a:moveTo>
                  <a:lnTo>
                    <a:pt x="238" y="266"/>
                  </a:lnTo>
                  <a:lnTo>
                    <a:pt x="242" y="268"/>
                  </a:lnTo>
                  <a:lnTo>
                    <a:pt x="242" y="268"/>
                  </a:lnTo>
                  <a:lnTo>
                    <a:pt x="246" y="266"/>
                  </a:lnTo>
                  <a:lnTo>
                    <a:pt x="250" y="264"/>
                  </a:lnTo>
                  <a:lnTo>
                    <a:pt x="254" y="260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0"/>
                  </a:lnTo>
                  <a:lnTo>
                    <a:pt x="454" y="128"/>
                  </a:lnTo>
                  <a:lnTo>
                    <a:pt x="454" y="128"/>
                  </a:lnTo>
                  <a:lnTo>
                    <a:pt x="456" y="130"/>
                  </a:lnTo>
                  <a:lnTo>
                    <a:pt x="408" y="184"/>
                  </a:lnTo>
                  <a:lnTo>
                    <a:pt x="142" y="476"/>
                  </a:lnTo>
                  <a:lnTo>
                    <a:pt x="142" y="476"/>
                  </a:lnTo>
                  <a:lnTo>
                    <a:pt x="140" y="474"/>
                  </a:lnTo>
                  <a:lnTo>
                    <a:pt x="238" y="266"/>
                  </a:lnTo>
                  <a:close/>
                  <a:moveTo>
                    <a:pt x="118" y="516"/>
                  </a:moveTo>
                  <a:lnTo>
                    <a:pt x="118" y="516"/>
                  </a:lnTo>
                  <a:lnTo>
                    <a:pt x="124" y="520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28" y="966"/>
                  </a:lnTo>
                  <a:lnTo>
                    <a:pt x="14" y="720"/>
                  </a:lnTo>
                  <a:lnTo>
                    <a:pt x="14" y="720"/>
                  </a:lnTo>
                  <a:lnTo>
                    <a:pt x="18" y="718"/>
                  </a:lnTo>
                  <a:lnTo>
                    <a:pt x="22" y="716"/>
                  </a:lnTo>
                  <a:lnTo>
                    <a:pt x="24" y="712"/>
                  </a:lnTo>
                  <a:lnTo>
                    <a:pt x="24" y="708"/>
                  </a:lnTo>
                  <a:lnTo>
                    <a:pt x="24" y="708"/>
                  </a:lnTo>
                  <a:lnTo>
                    <a:pt x="22" y="702"/>
                  </a:lnTo>
                  <a:lnTo>
                    <a:pt x="18" y="696"/>
                  </a:lnTo>
                  <a:lnTo>
                    <a:pt x="118" y="516"/>
                  </a:lnTo>
                  <a:close/>
                </a:path>
              </a:pathLst>
            </a:custGeom>
            <a:gradFill>
              <a:gsLst>
                <a:gs pos="0">
                  <a:srgbClr val="00FFFF"/>
                </a:gs>
                <a:gs pos="71000">
                  <a:srgbClr val="00FFFF">
                    <a:alpha val="33000"/>
                  </a:srgbClr>
                </a:gs>
              </a:gsLst>
              <a:path path="circl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椭圆 101">
              <a:extLst>
                <a:ext uri="{FF2B5EF4-FFF2-40B4-BE49-F238E27FC236}">
                  <a16:creationId xmlns="" xmlns:a16="http://schemas.microsoft.com/office/drawing/2014/main" id="{0C0D30C0-BEF2-43CC-BBDC-FB114318B82C}"/>
                </a:ext>
              </a:extLst>
            </p:cNvPr>
            <p:cNvSpPr/>
            <p:nvPr/>
          </p:nvSpPr>
          <p:spPr>
            <a:xfrm>
              <a:off x="6799038" y="2076028"/>
              <a:ext cx="998886" cy="998886"/>
            </a:xfrm>
            <a:prstGeom prst="ellipse">
              <a:avLst/>
            </a:prstGeom>
            <a:noFill/>
            <a:ln w="3175">
              <a:gradFill>
                <a:gsLst>
                  <a:gs pos="0">
                    <a:schemeClr val="bg1"/>
                  </a:gs>
                  <a:gs pos="50000">
                    <a:srgbClr val="00B0F0">
                      <a:alpha val="83000"/>
                    </a:srgb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dash"/>
            </a:ln>
            <a:effectLst>
              <a:glow rad="63500">
                <a:srgbClr val="267DE6">
                  <a:alpha val="16863"/>
                </a:srgb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53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3" name="副标题 1">
            <a:extLst>
              <a:ext uri="{FF2B5EF4-FFF2-40B4-BE49-F238E27FC236}">
                <a16:creationId xmlns="" xmlns:a16="http://schemas.microsoft.com/office/drawing/2014/main" id="{9A12E634-B802-4913-8A89-8F7F975FD32F}"/>
              </a:ext>
            </a:extLst>
          </p:cNvPr>
          <p:cNvSpPr txBox="1">
            <a:spLocks/>
          </p:cNvSpPr>
          <p:nvPr/>
        </p:nvSpPr>
        <p:spPr>
          <a:xfrm>
            <a:off x="8373330" y="5178031"/>
            <a:ext cx="917026" cy="234319"/>
          </a:xfrm>
          <a:prstGeom prst="rect">
            <a:avLst/>
          </a:prstGeom>
        </p:spPr>
        <p:txBody>
          <a:bodyPr wrap="square" lIns="68553" tIns="34276" rIns="68553" bIns="34276">
            <a:noAutofit/>
          </a:bodyPr>
          <a:lstStyle/>
          <a:p>
            <a:pPr algn="ctr" defTabSz="914187" fontAlgn="ctr">
              <a:spcBef>
                <a:spcPct val="20000"/>
              </a:spcBef>
              <a:defRPr/>
            </a:pP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ig Data platform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4" name="Freeform 20">
            <a:extLst>
              <a:ext uri="{FF2B5EF4-FFF2-40B4-BE49-F238E27FC236}">
                <a16:creationId xmlns="" xmlns:a16="http://schemas.microsoft.com/office/drawing/2014/main" id="{6A6FE31A-8C70-4FFA-9589-263002BC2194}"/>
              </a:ext>
            </a:extLst>
          </p:cNvPr>
          <p:cNvSpPr>
            <a:spLocks noEditPoints="1"/>
          </p:cNvSpPr>
          <p:nvPr/>
        </p:nvSpPr>
        <p:spPr bwMode="auto">
          <a:xfrm>
            <a:off x="8544336" y="4764826"/>
            <a:ext cx="527940" cy="448658"/>
          </a:xfrm>
          <a:custGeom>
            <a:avLst/>
            <a:gdLst/>
            <a:ahLst/>
            <a:cxnLst>
              <a:cxn ang="0">
                <a:pos x="302" y="2"/>
              </a:cxn>
              <a:cxn ang="0">
                <a:pos x="376" y="32"/>
              </a:cxn>
              <a:cxn ang="0">
                <a:pos x="428" y="88"/>
              </a:cxn>
              <a:cxn ang="0">
                <a:pos x="448" y="112"/>
              </a:cxn>
              <a:cxn ang="0">
                <a:pos x="476" y="114"/>
              </a:cxn>
              <a:cxn ang="0">
                <a:pos x="514" y="128"/>
              </a:cxn>
              <a:cxn ang="0">
                <a:pos x="546" y="152"/>
              </a:cxn>
              <a:cxn ang="0">
                <a:pos x="570" y="186"/>
              </a:cxn>
              <a:cxn ang="0">
                <a:pos x="584" y="224"/>
              </a:cxn>
              <a:cxn ang="0">
                <a:pos x="586" y="252"/>
              </a:cxn>
              <a:cxn ang="0">
                <a:pos x="580" y="294"/>
              </a:cxn>
              <a:cxn ang="0">
                <a:pos x="562" y="330"/>
              </a:cxn>
              <a:cxn ang="0">
                <a:pos x="536" y="360"/>
              </a:cxn>
              <a:cxn ang="0">
                <a:pos x="502" y="380"/>
              </a:cxn>
              <a:cxn ang="0">
                <a:pos x="462" y="390"/>
              </a:cxn>
              <a:cxn ang="0">
                <a:pos x="442" y="158"/>
              </a:cxn>
              <a:cxn ang="0">
                <a:pos x="116" y="392"/>
              </a:cxn>
              <a:cxn ang="0">
                <a:pos x="92" y="388"/>
              </a:cxn>
              <a:cxn ang="0">
                <a:pos x="34" y="358"/>
              </a:cxn>
              <a:cxn ang="0">
                <a:pos x="2" y="298"/>
              </a:cxn>
              <a:cxn ang="0">
                <a:pos x="0" y="274"/>
              </a:cxn>
              <a:cxn ang="0">
                <a:pos x="16" y="216"/>
              </a:cxn>
              <a:cxn ang="0">
                <a:pos x="58" y="174"/>
              </a:cxn>
              <a:cxn ang="0">
                <a:pos x="98" y="160"/>
              </a:cxn>
              <a:cxn ang="0">
                <a:pos x="110" y="112"/>
              </a:cxn>
              <a:cxn ang="0">
                <a:pos x="134" y="70"/>
              </a:cxn>
              <a:cxn ang="0">
                <a:pos x="168" y="36"/>
              </a:cxn>
              <a:cxn ang="0">
                <a:pos x="210" y="14"/>
              </a:cxn>
              <a:cxn ang="0">
                <a:pos x="258" y="2"/>
              </a:cxn>
              <a:cxn ang="0">
                <a:pos x="180" y="262"/>
              </a:cxn>
              <a:cxn ang="0">
                <a:pos x="180" y="284"/>
              </a:cxn>
              <a:cxn ang="0">
                <a:pos x="180" y="226"/>
              </a:cxn>
              <a:cxn ang="0">
                <a:pos x="180" y="248"/>
              </a:cxn>
              <a:cxn ang="0">
                <a:pos x="180" y="190"/>
              </a:cxn>
              <a:cxn ang="0">
                <a:pos x="180" y="210"/>
              </a:cxn>
              <a:cxn ang="0">
                <a:pos x="160" y="172"/>
              </a:cxn>
              <a:cxn ang="0">
                <a:pos x="160" y="424"/>
              </a:cxn>
              <a:cxn ang="0">
                <a:pos x="448" y="488"/>
              </a:cxn>
              <a:cxn ang="0">
                <a:pos x="448" y="470"/>
              </a:cxn>
              <a:cxn ang="0">
                <a:pos x="194" y="488"/>
              </a:cxn>
              <a:cxn ang="0">
                <a:pos x="194" y="470"/>
              </a:cxn>
              <a:cxn ang="0">
                <a:pos x="336" y="488"/>
              </a:cxn>
              <a:cxn ang="0">
                <a:pos x="336" y="470"/>
              </a:cxn>
              <a:cxn ang="0">
                <a:pos x="374" y="462"/>
              </a:cxn>
              <a:cxn ang="0">
                <a:pos x="342" y="498"/>
              </a:cxn>
              <a:cxn ang="0">
                <a:pos x="354" y="434"/>
              </a:cxn>
              <a:cxn ang="0">
                <a:pos x="374" y="462"/>
              </a:cxn>
              <a:cxn ang="0">
                <a:pos x="244" y="498"/>
              </a:cxn>
              <a:cxn ang="0">
                <a:pos x="214" y="462"/>
              </a:cxn>
              <a:cxn ang="0">
                <a:pos x="232" y="462"/>
              </a:cxn>
              <a:cxn ang="0">
                <a:pos x="408" y="262"/>
              </a:cxn>
              <a:cxn ang="0">
                <a:pos x="320" y="262"/>
              </a:cxn>
              <a:cxn ang="0">
                <a:pos x="408" y="226"/>
              </a:cxn>
              <a:cxn ang="0">
                <a:pos x="320" y="226"/>
              </a:cxn>
              <a:cxn ang="0">
                <a:pos x="408" y="190"/>
              </a:cxn>
              <a:cxn ang="0">
                <a:pos x="320" y="190"/>
              </a:cxn>
              <a:cxn ang="0">
                <a:pos x="426" y="172"/>
              </a:cxn>
              <a:cxn ang="0">
                <a:pos x="302" y="172"/>
              </a:cxn>
            </a:cxnLst>
            <a:rect l="0" t="0" r="r" b="b"/>
            <a:pathLst>
              <a:path w="586" h="498">
                <a:moveTo>
                  <a:pt x="274" y="0"/>
                </a:moveTo>
                <a:lnTo>
                  <a:pt x="274" y="0"/>
                </a:lnTo>
                <a:lnTo>
                  <a:pt x="302" y="2"/>
                </a:lnTo>
                <a:lnTo>
                  <a:pt x="328" y="10"/>
                </a:lnTo>
                <a:lnTo>
                  <a:pt x="354" y="18"/>
                </a:lnTo>
                <a:lnTo>
                  <a:pt x="376" y="32"/>
                </a:lnTo>
                <a:lnTo>
                  <a:pt x="396" y="48"/>
                </a:lnTo>
                <a:lnTo>
                  <a:pt x="414" y="68"/>
                </a:lnTo>
                <a:lnTo>
                  <a:pt x="428" y="88"/>
                </a:lnTo>
                <a:lnTo>
                  <a:pt x="440" y="112"/>
                </a:lnTo>
                <a:lnTo>
                  <a:pt x="440" y="112"/>
                </a:lnTo>
                <a:lnTo>
                  <a:pt x="448" y="112"/>
                </a:lnTo>
                <a:lnTo>
                  <a:pt x="448" y="112"/>
                </a:lnTo>
                <a:lnTo>
                  <a:pt x="462" y="112"/>
                </a:lnTo>
                <a:lnTo>
                  <a:pt x="476" y="114"/>
                </a:lnTo>
                <a:lnTo>
                  <a:pt x="488" y="118"/>
                </a:lnTo>
                <a:lnTo>
                  <a:pt x="502" y="124"/>
                </a:lnTo>
                <a:lnTo>
                  <a:pt x="514" y="128"/>
                </a:lnTo>
                <a:lnTo>
                  <a:pt x="526" y="136"/>
                </a:lnTo>
                <a:lnTo>
                  <a:pt x="536" y="144"/>
                </a:lnTo>
                <a:lnTo>
                  <a:pt x="546" y="152"/>
                </a:lnTo>
                <a:lnTo>
                  <a:pt x="554" y="162"/>
                </a:lnTo>
                <a:lnTo>
                  <a:pt x="562" y="174"/>
                </a:lnTo>
                <a:lnTo>
                  <a:pt x="570" y="186"/>
                </a:lnTo>
                <a:lnTo>
                  <a:pt x="576" y="198"/>
                </a:lnTo>
                <a:lnTo>
                  <a:pt x="580" y="210"/>
                </a:lnTo>
                <a:lnTo>
                  <a:pt x="584" y="224"/>
                </a:lnTo>
                <a:lnTo>
                  <a:pt x="586" y="238"/>
                </a:lnTo>
                <a:lnTo>
                  <a:pt x="586" y="252"/>
                </a:lnTo>
                <a:lnTo>
                  <a:pt x="586" y="252"/>
                </a:lnTo>
                <a:lnTo>
                  <a:pt x="586" y="266"/>
                </a:lnTo>
                <a:lnTo>
                  <a:pt x="584" y="280"/>
                </a:lnTo>
                <a:lnTo>
                  <a:pt x="580" y="294"/>
                </a:lnTo>
                <a:lnTo>
                  <a:pt x="576" y="306"/>
                </a:lnTo>
                <a:lnTo>
                  <a:pt x="570" y="318"/>
                </a:lnTo>
                <a:lnTo>
                  <a:pt x="562" y="330"/>
                </a:lnTo>
                <a:lnTo>
                  <a:pt x="554" y="340"/>
                </a:lnTo>
                <a:lnTo>
                  <a:pt x="546" y="350"/>
                </a:lnTo>
                <a:lnTo>
                  <a:pt x="536" y="360"/>
                </a:lnTo>
                <a:lnTo>
                  <a:pt x="526" y="368"/>
                </a:lnTo>
                <a:lnTo>
                  <a:pt x="514" y="374"/>
                </a:lnTo>
                <a:lnTo>
                  <a:pt x="502" y="380"/>
                </a:lnTo>
                <a:lnTo>
                  <a:pt x="488" y="384"/>
                </a:lnTo>
                <a:lnTo>
                  <a:pt x="476" y="388"/>
                </a:lnTo>
                <a:lnTo>
                  <a:pt x="462" y="390"/>
                </a:lnTo>
                <a:lnTo>
                  <a:pt x="448" y="392"/>
                </a:lnTo>
                <a:lnTo>
                  <a:pt x="442" y="392"/>
                </a:lnTo>
                <a:lnTo>
                  <a:pt x="442" y="158"/>
                </a:lnTo>
                <a:lnTo>
                  <a:pt x="146" y="158"/>
                </a:lnTo>
                <a:lnTo>
                  <a:pt x="146" y="392"/>
                </a:lnTo>
                <a:lnTo>
                  <a:pt x="116" y="392"/>
                </a:lnTo>
                <a:lnTo>
                  <a:pt x="116" y="392"/>
                </a:lnTo>
                <a:lnTo>
                  <a:pt x="104" y="390"/>
                </a:lnTo>
                <a:lnTo>
                  <a:pt x="92" y="388"/>
                </a:lnTo>
                <a:lnTo>
                  <a:pt x="70" y="382"/>
                </a:lnTo>
                <a:lnTo>
                  <a:pt x="52" y="372"/>
                </a:lnTo>
                <a:lnTo>
                  <a:pt x="34" y="358"/>
                </a:lnTo>
                <a:lnTo>
                  <a:pt x="20" y="340"/>
                </a:lnTo>
                <a:lnTo>
                  <a:pt x="10" y="320"/>
                </a:lnTo>
                <a:lnTo>
                  <a:pt x="2" y="298"/>
                </a:lnTo>
                <a:lnTo>
                  <a:pt x="0" y="286"/>
                </a:lnTo>
                <a:lnTo>
                  <a:pt x="0" y="274"/>
                </a:lnTo>
                <a:lnTo>
                  <a:pt x="0" y="274"/>
                </a:lnTo>
                <a:lnTo>
                  <a:pt x="2" y="254"/>
                </a:lnTo>
                <a:lnTo>
                  <a:pt x="8" y="234"/>
                </a:lnTo>
                <a:lnTo>
                  <a:pt x="16" y="216"/>
                </a:lnTo>
                <a:lnTo>
                  <a:pt x="28" y="200"/>
                </a:lnTo>
                <a:lnTo>
                  <a:pt x="42" y="186"/>
                </a:lnTo>
                <a:lnTo>
                  <a:pt x="58" y="174"/>
                </a:lnTo>
                <a:lnTo>
                  <a:pt x="78" y="166"/>
                </a:lnTo>
                <a:lnTo>
                  <a:pt x="98" y="160"/>
                </a:lnTo>
                <a:lnTo>
                  <a:pt x="98" y="160"/>
                </a:lnTo>
                <a:lnTo>
                  <a:pt x="100" y="144"/>
                </a:lnTo>
                <a:lnTo>
                  <a:pt x="104" y="128"/>
                </a:lnTo>
                <a:lnTo>
                  <a:pt x="110" y="112"/>
                </a:lnTo>
                <a:lnTo>
                  <a:pt x="116" y="98"/>
                </a:lnTo>
                <a:lnTo>
                  <a:pt x="124" y="84"/>
                </a:lnTo>
                <a:lnTo>
                  <a:pt x="134" y="70"/>
                </a:lnTo>
                <a:lnTo>
                  <a:pt x="144" y="58"/>
                </a:lnTo>
                <a:lnTo>
                  <a:pt x="154" y="46"/>
                </a:lnTo>
                <a:lnTo>
                  <a:pt x="168" y="36"/>
                </a:lnTo>
                <a:lnTo>
                  <a:pt x="180" y="28"/>
                </a:lnTo>
                <a:lnTo>
                  <a:pt x="194" y="20"/>
                </a:lnTo>
                <a:lnTo>
                  <a:pt x="210" y="14"/>
                </a:lnTo>
                <a:lnTo>
                  <a:pt x="224" y="8"/>
                </a:lnTo>
                <a:lnTo>
                  <a:pt x="242" y="4"/>
                </a:lnTo>
                <a:lnTo>
                  <a:pt x="258" y="2"/>
                </a:lnTo>
                <a:lnTo>
                  <a:pt x="274" y="0"/>
                </a:lnTo>
                <a:lnTo>
                  <a:pt x="274" y="0"/>
                </a:lnTo>
                <a:close/>
                <a:moveTo>
                  <a:pt x="180" y="262"/>
                </a:moveTo>
                <a:lnTo>
                  <a:pt x="266" y="262"/>
                </a:lnTo>
                <a:lnTo>
                  <a:pt x="266" y="284"/>
                </a:lnTo>
                <a:lnTo>
                  <a:pt x="180" y="284"/>
                </a:lnTo>
                <a:lnTo>
                  <a:pt x="180" y="262"/>
                </a:lnTo>
                <a:lnTo>
                  <a:pt x="180" y="262"/>
                </a:lnTo>
                <a:close/>
                <a:moveTo>
                  <a:pt x="180" y="226"/>
                </a:moveTo>
                <a:lnTo>
                  <a:pt x="266" y="226"/>
                </a:lnTo>
                <a:lnTo>
                  <a:pt x="266" y="248"/>
                </a:lnTo>
                <a:lnTo>
                  <a:pt x="180" y="248"/>
                </a:lnTo>
                <a:lnTo>
                  <a:pt x="180" y="226"/>
                </a:lnTo>
                <a:lnTo>
                  <a:pt x="180" y="226"/>
                </a:lnTo>
                <a:close/>
                <a:moveTo>
                  <a:pt x="180" y="190"/>
                </a:moveTo>
                <a:lnTo>
                  <a:pt x="266" y="190"/>
                </a:lnTo>
                <a:lnTo>
                  <a:pt x="266" y="210"/>
                </a:lnTo>
                <a:lnTo>
                  <a:pt x="180" y="210"/>
                </a:lnTo>
                <a:lnTo>
                  <a:pt x="180" y="190"/>
                </a:lnTo>
                <a:lnTo>
                  <a:pt x="180" y="190"/>
                </a:lnTo>
                <a:close/>
                <a:moveTo>
                  <a:pt x="160" y="172"/>
                </a:moveTo>
                <a:lnTo>
                  <a:pt x="284" y="172"/>
                </a:lnTo>
                <a:lnTo>
                  <a:pt x="284" y="424"/>
                </a:lnTo>
                <a:lnTo>
                  <a:pt x="160" y="424"/>
                </a:lnTo>
                <a:lnTo>
                  <a:pt x="160" y="172"/>
                </a:lnTo>
                <a:lnTo>
                  <a:pt x="160" y="172"/>
                </a:lnTo>
                <a:close/>
                <a:moveTo>
                  <a:pt x="448" y="488"/>
                </a:moveTo>
                <a:lnTo>
                  <a:pt x="392" y="488"/>
                </a:lnTo>
                <a:lnTo>
                  <a:pt x="392" y="470"/>
                </a:lnTo>
                <a:lnTo>
                  <a:pt x="448" y="470"/>
                </a:lnTo>
                <a:lnTo>
                  <a:pt x="448" y="488"/>
                </a:lnTo>
                <a:lnTo>
                  <a:pt x="448" y="488"/>
                </a:lnTo>
                <a:close/>
                <a:moveTo>
                  <a:pt x="194" y="488"/>
                </a:moveTo>
                <a:lnTo>
                  <a:pt x="138" y="488"/>
                </a:lnTo>
                <a:lnTo>
                  <a:pt x="138" y="470"/>
                </a:lnTo>
                <a:lnTo>
                  <a:pt x="194" y="470"/>
                </a:lnTo>
                <a:lnTo>
                  <a:pt x="194" y="488"/>
                </a:lnTo>
                <a:lnTo>
                  <a:pt x="194" y="488"/>
                </a:lnTo>
                <a:close/>
                <a:moveTo>
                  <a:pt x="336" y="488"/>
                </a:moveTo>
                <a:lnTo>
                  <a:pt x="250" y="488"/>
                </a:lnTo>
                <a:lnTo>
                  <a:pt x="250" y="470"/>
                </a:lnTo>
                <a:lnTo>
                  <a:pt x="336" y="470"/>
                </a:lnTo>
                <a:lnTo>
                  <a:pt x="336" y="488"/>
                </a:lnTo>
                <a:lnTo>
                  <a:pt x="336" y="488"/>
                </a:lnTo>
                <a:close/>
                <a:moveTo>
                  <a:pt x="374" y="462"/>
                </a:moveTo>
                <a:lnTo>
                  <a:pt x="386" y="462"/>
                </a:lnTo>
                <a:lnTo>
                  <a:pt x="386" y="498"/>
                </a:lnTo>
                <a:lnTo>
                  <a:pt x="342" y="498"/>
                </a:lnTo>
                <a:lnTo>
                  <a:pt x="342" y="462"/>
                </a:lnTo>
                <a:lnTo>
                  <a:pt x="354" y="462"/>
                </a:lnTo>
                <a:lnTo>
                  <a:pt x="354" y="434"/>
                </a:lnTo>
                <a:lnTo>
                  <a:pt x="374" y="434"/>
                </a:lnTo>
                <a:lnTo>
                  <a:pt x="374" y="462"/>
                </a:lnTo>
                <a:lnTo>
                  <a:pt x="374" y="462"/>
                </a:lnTo>
                <a:close/>
                <a:moveTo>
                  <a:pt x="232" y="462"/>
                </a:moveTo>
                <a:lnTo>
                  <a:pt x="244" y="462"/>
                </a:lnTo>
                <a:lnTo>
                  <a:pt x="244" y="498"/>
                </a:lnTo>
                <a:lnTo>
                  <a:pt x="202" y="498"/>
                </a:lnTo>
                <a:lnTo>
                  <a:pt x="202" y="462"/>
                </a:lnTo>
                <a:lnTo>
                  <a:pt x="214" y="462"/>
                </a:lnTo>
                <a:lnTo>
                  <a:pt x="214" y="434"/>
                </a:lnTo>
                <a:lnTo>
                  <a:pt x="232" y="434"/>
                </a:lnTo>
                <a:lnTo>
                  <a:pt x="232" y="462"/>
                </a:lnTo>
                <a:lnTo>
                  <a:pt x="232" y="462"/>
                </a:lnTo>
                <a:close/>
                <a:moveTo>
                  <a:pt x="320" y="262"/>
                </a:moveTo>
                <a:lnTo>
                  <a:pt x="408" y="262"/>
                </a:lnTo>
                <a:lnTo>
                  <a:pt x="408" y="284"/>
                </a:lnTo>
                <a:lnTo>
                  <a:pt x="320" y="284"/>
                </a:lnTo>
                <a:lnTo>
                  <a:pt x="320" y="262"/>
                </a:lnTo>
                <a:lnTo>
                  <a:pt x="320" y="262"/>
                </a:lnTo>
                <a:close/>
                <a:moveTo>
                  <a:pt x="320" y="226"/>
                </a:moveTo>
                <a:lnTo>
                  <a:pt x="408" y="226"/>
                </a:lnTo>
                <a:lnTo>
                  <a:pt x="408" y="248"/>
                </a:lnTo>
                <a:lnTo>
                  <a:pt x="320" y="248"/>
                </a:lnTo>
                <a:lnTo>
                  <a:pt x="320" y="226"/>
                </a:lnTo>
                <a:lnTo>
                  <a:pt x="320" y="226"/>
                </a:lnTo>
                <a:close/>
                <a:moveTo>
                  <a:pt x="320" y="190"/>
                </a:moveTo>
                <a:lnTo>
                  <a:pt x="408" y="190"/>
                </a:lnTo>
                <a:lnTo>
                  <a:pt x="408" y="210"/>
                </a:lnTo>
                <a:lnTo>
                  <a:pt x="320" y="210"/>
                </a:lnTo>
                <a:lnTo>
                  <a:pt x="320" y="190"/>
                </a:lnTo>
                <a:lnTo>
                  <a:pt x="320" y="190"/>
                </a:lnTo>
                <a:close/>
                <a:moveTo>
                  <a:pt x="302" y="172"/>
                </a:moveTo>
                <a:lnTo>
                  <a:pt x="426" y="172"/>
                </a:lnTo>
                <a:lnTo>
                  <a:pt x="426" y="424"/>
                </a:lnTo>
                <a:lnTo>
                  <a:pt x="302" y="424"/>
                </a:lnTo>
                <a:lnTo>
                  <a:pt x="302" y="172"/>
                </a:lnTo>
                <a:lnTo>
                  <a:pt x="302" y="172"/>
                </a:lnTo>
                <a:close/>
              </a:path>
            </a:pathLst>
          </a:custGeom>
          <a:solidFill>
            <a:srgbClr val="2DC2EA"/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1799" dirty="0">
              <a:solidFill>
                <a:srgbClr val="2DC2EA"/>
              </a:solidFill>
              <a:latin typeface="Arial" panose="020B0604020202020204" pitchFamily="34" charset="0"/>
            </a:endParaRPr>
          </a:p>
        </p:txBody>
      </p:sp>
      <p:sp>
        <p:nvSpPr>
          <p:cNvPr id="105" name="副标题 1">
            <a:extLst>
              <a:ext uri="{FF2B5EF4-FFF2-40B4-BE49-F238E27FC236}">
                <a16:creationId xmlns="" xmlns:a16="http://schemas.microsoft.com/office/drawing/2014/main" id="{5E68C147-B72C-4C23-9FB9-19545ADB565C}"/>
              </a:ext>
            </a:extLst>
          </p:cNvPr>
          <p:cNvSpPr txBox="1">
            <a:spLocks/>
          </p:cNvSpPr>
          <p:nvPr/>
        </p:nvSpPr>
        <p:spPr>
          <a:xfrm>
            <a:off x="8312373" y="3781073"/>
            <a:ext cx="968557" cy="254319"/>
          </a:xfrm>
          <a:prstGeom prst="rect">
            <a:avLst/>
          </a:prstGeom>
        </p:spPr>
        <p:txBody>
          <a:bodyPr wrap="square" lIns="68553" tIns="34276" rIns="68553" bIns="34276">
            <a:noAutofit/>
          </a:bodyPr>
          <a:lstStyle/>
          <a:p>
            <a:pPr algn="ctr" defTabSz="914187" fontAlgn="ctr">
              <a:spcBef>
                <a:spcPct val="20000"/>
              </a:spcBef>
              <a:defRPr/>
            </a:pP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ltra-broadband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06" name="组合 105">
            <a:extLst>
              <a:ext uri="{FF2B5EF4-FFF2-40B4-BE49-F238E27FC236}">
                <a16:creationId xmlns="" xmlns:a16="http://schemas.microsoft.com/office/drawing/2014/main" id="{039020C9-B2A4-49A2-8848-64865EB8CFED}"/>
              </a:ext>
            </a:extLst>
          </p:cNvPr>
          <p:cNvGrpSpPr/>
          <p:nvPr/>
        </p:nvGrpSpPr>
        <p:grpSpPr>
          <a:xfrm>
            <a:off x="8639455" y="3249093"/>
            <a:ext cx="279467" cy="561832"/>
            <a:chOff x="10766704" y="5347482"/>
            <a:chExt cx="262875" cy="587745"/>
          </a:xfrm>
          <a:solidFill>
            <a:srgbClr val="2DC2EA"/>
          </a:solidFill>
        </p:grpSpPr>
        <p:sp>
          <p:nvSpPr>
            <p:cNvPr id="107" name="任意多边形 167">
              <a:extLst>
                <a:ext uri="{FF2B5EF4-FFF2-40B4-BE49-F238E27FC236}">
                  <a16:creationId xmlns="" xmlns:a16="http://schemas.microsoft.com/office/drawing/2014/main" id="{7BFD8F3A-2E2E-404E-B85E-E7F80F40DEDA}"/>
                </a:ext>
              </a:extLst>
            </p:cNvPr>
            <p:cNvSpPr/>
            <p:nvPr/>
          </p:nvSpPr>
          <p:spPr>
            <a:xfrm>
              <a:off x="10766704" y="5552115"/>
              <a:ext cx="262875" cy="383112"/>
            </a:xfrm>
            <a:custGeom>
              <a:avLst/>
              <a:gdLst>
                <a:gd name="connsiteX0" fmla="*/ 480892 w 732069"/>
                <a:gd name="connsiteY0" fmla="*/ 972522 h 1066910"/>
                <a:gd name="connsiteX1" fmla="*/ 444892 w 732069"/>
                <a:gd name="connsiteY1" fmla="*/ 1008522 h 1066910"/>
                <a:gd name="connsiteX2" fmla="*/ 480892 w 732069"/>
                <a:gd name="connsiteY2" fmla="*/ 1044522 h 1066910"/>
                <a:gd name="connsiteX3" fmla="*/ 516892 w 732069"/>
                <a:gd name="connsiteY3" fmla="*/ 1008522 h 1066910"/>
                <a:gd name="connsiteX4" fmla="*/ 480892 w 732069"/>
                <a:gd name="connsiteY4" fmla="*/ 972522 h 1066910"/>
                <a:gd name="connsiteX5" fmla="*/ 366034 w 732069"/>
                <a:gd name="connsiteY5" fmla="*/ 972522 h 1066910"/>
                <a:gd name="connsiteX6" fmla="*/ 330034 w 732069"/>
                <a:gd name="connsiteY6" fmla="*/ 1008522 h 1066910"/>
                <a:gd name="connsiteX7" fmla="*/ 366034 w 732069"/>
                <a:gd name="connsiteY7" fmla="*/ 1044522 h 1066910"/>
                <a:gd name="connsiteX8" fmla="*/ 402034 w 732069"/>
                <a:gd name="connsiteY8" fmla="*/ 1008522 h 1066910"/>
                <a:gd name="connsiteX9" fmla="*/ 366034 w 732069"/>
                <a:gd name="connsiteY9" fmla="*/ 972522 h 1066910"/>
                <a:gd name="connsiteX10" fmla="*/ 251176 w 732069"/>
                <a:gd name="connsiteY10" fmla="*/ 972522 h 1066910"/>
                <a:gd name="connsiteX11" fmla="*/ 215176 w 732069"/>
                <a:gd name="connsiteY11" fmla="*/ 1008522 h 1066910"/>
                <a:gd name="connsiteX12" fmla="*/ 251176 w 732069"/>
                <a:gd name="connsiteY12" fmla="*/ 1044522 h 1066910"/>
                <a:gd name="connsiteX13" fmla="*/ 287176 w 732069"/>
                <a:gd name="connsiteY13" fmla="*/ 1008522 h 1066910"/>
                <a:gd name="connsiteX14" fmla="*/ 251176 w 732069"/>
                <a:gd name="connsiteY14" fmla="*/ 972522 h 1066910"/>
                <a:gd name="connsiteX15" fmla="*/ 167891 w 732069"/>
                <a:gd name="connsiteY15" fmla="*/ 48804 h 1066910"/>
                <a:gd name="connsiteX16" fmla="*/ 68817 w 732069"/>
                <a:gd name="connsiteY16" fmla="*/ 147878 h 1066910"/>
                <a:gd name="connsiteX17" fmla="*/ 68817 w 732069"/>
                <a:gd name="connsiteY17" fmla="*/ 816054 h 1066910"/>
                <a:gd name="connsiteX18" fmla="*/ 167891 w 732069"/>
                <a:gd name="connsiteY18" fmla="*/ 915128 h 1066910"/>
                <a:gd name="connsiteX19" fmla="*/ 564178 w 732069"/>
                <a:gd name="connsiteY19" fmla="*/ 915128 h 1066910"/>
                <a:gd name="connsiteX20" fmla="*/ 663252 w 732069"/>
                <a:gd name="connsiteY20" fmla="*/ 816054 h 1066910"/>
                <a:gd name="connsiteX21" fmla="*/ 663252 w 732069"/>
                <a:gd name="connsiteY21" fmla="*/ 147878 h 1066910"/>
                <a:gd name="connsiteX22" fmla="*/ 564178 w 732069"/>
                <a:gd name="connsiteY22" fmla="*/ 48804 h 1066910"/>
                <a:gd name="connsiteX23" fmla="*/ 122014 w 732069"/>
                <a:gd name="connsiteY23" fmla="*/ 0 h 1066910"/>
                <a:gd name="connsiteX24" fmla="*/ 610055 w 732069"/>
                <a:gd name="connsiteY24" fmla="*/ 0 h 1066910"/>
                <a:gd name="connsiteX25" fmla="*/ 732069 w 732069"/>
                <a:gd name="connsiteY25" fmla="*/ 122014 h 1066910"/>
                <a:gd name="connsiteX26" fmla="*/ 732069 w 732069"/>
                <a:gd name="connsiteY26" fmla="*/ 944896 h 1066910"/>
                <a:gd name="connsiteX27" fmla="*/ 610055 w 732069"/>
                <a:gd name="connsiteY27" fmla="*/ 1066910 h 1066910"/>
                <a:gd name="connsiteX28" fmla="*/ 122014 w 732069"/>
                <a:gd name="connsiteY28" fmla="*/ 1066910 h 1066910"/>
                <a:gd name="connsiteX29" fmla="*/ 0 w 732069"/>
                <a:gd name="connsiteY29" fmla="*/ 944896 h 1066910"/>
                <a:gd name="connsiteX30" fmla="*/ 0 w 732069"/>
                <a:gd name="connsiteY30" fmla="*/ 122014 h 1066910"/>
                <a:gd name="connsiteX31" fmla="*/ 122014 w 732069"/>
                <a:gd name="connsiteY31" fmla="*/ 0 h 106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32069" h="1066910">
                  <a:moveTo>
                    <a:pt x="480892" y="972522"/>
                  </a:moveTo>
                  <a:cubicBezTo>
                    <a:pt x="461010" y="972522"/>
                    <a:pt x="444892" y="988640"/>
                    <a:pt x="444892" y="1008522"/>
                  </a:cubicBezTo>
                  <a:cubicBezTo>
                    <a:pt x="444892" y="1028404"/>
                    <a:pt x="461010" y="1044522"/>
                    <a:pt x="480892" y="1044522"/>
                  </a:cubicBezTo>
                  <a:cubicBezTo>
                    <a:pt x="500774" y="1044522"/>
                    <a:pt x="516892" y="1028404"/>
                    <a:pt x="516892" y="1008522"/>
                  </a:cubicBezTo>
                  <a:cubicBezTo>
                    <a:pt x="516892" y="988640"/>
                    <a:pt x="500774" y="972522"/>
                    <a:pt x="480892" y="972522"/>
                  </a:cubicBezTo>
                  <a:close/>
                  <a:moveTo>
                    <a:pt x="366034" y="972522"/>
                  </a:moveTo>
                  <a:cubicBezTo>
                    <a:pt x="346152" y="972522"/>
                    <a:pt x="330034" y="988640"/>
                    <a:pt x="330034" y="1008522"/>
                  </a:cubicBezTo>
                  <a:cubicBezTo>
                    <a:pt x="330034" y="1028404"/>
                    <a:pt x="346152" y="1044522"/>
                    <a:pt x="366034" y="1044522"/>
                  </a:cubicBezTo>
                  <a:cubicBezTo>
                    <a:pt x="385916" y="1044522"/>
                    <a:pt x="402034" y="1028404"/>
                    <a:pt x="402034" y="1008522"/>
                  </a:cubicBezTo>
                  <a:cubicBezTo>
                    <a:pt x="402034" y="988640"/>
                    <a:pt x="385916" y="972522"/>
                    <a:pt x="366034" y="972522"/>
                  </a:cubicBezTo>
                  <a:close/>
                  <a:moveTo>
                    <a:pt x="251176" y="972522"/>
                  </a:moveTo>
                  <a:cubicBezTo>
                    <a:pt x="231294" y="972522"/>
                    <a:pt x="215176" y="988640"/>
                    <a:pt x="215176" y="1008522"/>
                  </a:cubicBezTo>
                  <a:cubicBezTo>
                    <a:pt x="215176" y="1028404"/>
                    <a:pt x="231294" y="1044522"/>
                    <a:pt x="251176" y="1044522"/>
                  </a:cubicBezTo>
                  <a:cubicBezTo>
                    <a:pt x="271058" y="1044522"/>
                    <a:pt x="287176" y="1028404"/>
                    <a:pt x="287176" y="1008522"/>
                  </a:cubicBezTo>
                  <a:cubicBezTo>
                    <a:pt x="287176" y="988640"/>
                    <a:pt x="271058" y="972522"/>
                    <a:pt x="251176" y="972522"/>
                  </a:cubicBezTo>
                  <a:close/>
                  <a:moveTo>
                    <a:pt x="167891" y="48804"/>
                  </a:moveTo>
                  <a:cubicBezTo>
                    <a:pt x="113174" y="48804"/>
                    <a:pt x="68817" y="93161"/>
                    <a:pt x="68817" y="147878"/>
                  </a:cubicBezTo>
                  <a:lnTo>
                    <a:pt x="68817" y="816054"/>
                  </a:lnTo>
                  <a:cubicBezTo>
                    <a:pt x="68817" y="870771"/>
                    <a:pt x="113174" y="915128"/>
                    <a:pt x="167891" y="915128"/>
                  </a:cubicBezTo>
                  <a:lnTo>
                    <a:pt x="564178" y="915128"/>
                  </a:lnTo>
                  <a:cubicBezTo>
                    <a:pt x="618895" y="915128"/>
                    <a:pt x="663252" y="870771"/>
                    <a:pt x="663252" y="816054"/>
                  </a:cubicBezTo>
                  <a:lnTo>
                    <a:pt x="663252" y="147878"/>
                  </a:lnTo>
                  <a:cubicBezTo>
                    <a:pt x="663252" y="93161"/>
                    <a:pt x="618895" y="48804"/>
                    <a:pt x="564178" y="48804"/>
                  </a:cubicBezTo>
                  <a:close/>
                  <a:moveTo>
                    <a:pt x="122014" y="0"/>
                  </a:moveTo>
                  <a:lnTo>
                    <a:pt x="610055" y="0"/>
                  </a:lnTo>
                  <a:cubicBezTo>
                    <a:pt x="677441" y="0"/>
                    <a:pt x="732069" y="54628"/>
                    <a:pt x="732069" y="122014"/>
                  </a:cubicBezTo>
                  <a:lnTo>
                    <a:pt x="732069" y="944896"/>
                  </a:lnTo>
                  <a:cubicBezTo>
                    <a:pt x="732069" y="1012282"/>
                    <a:pt x="677441" y="1066910"/>
                    <a:pt x="610055" y="1066910"/>
                  </a:cubicBezTo>
                  <a:lnTo>
                    <a:pt x="122014" y="1066910"/>
                  </a:lnTo>
                  <a:cubicBezTo>
                    <a:pt x="54628" y="1066910"/>
                    <a:pt x="0" y="1012282"/>
                    <a:pt x="0" y="944896"/>
                  </a:cubicBezTo>
                  <a:lnTo>
                    <a:pt x="0" y="122014"/>
                  </a:lnTo>
                  <a:cubicBezTo>
                    <a:pt x="0" y="54628"/>
                    <a:pt x="54628" y="0"/>
                    <a:pt x="12201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srgbClr val="2DC2EA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108" name="组合 107">
              <a:extLst>
                <a:ext uri="{FF2B5EF4-FFF2-40B4-BE49-F238E27FC236}">
                  <a16:creationId xmlns="" xmlns:a16="http://schemas.microsoft.com/office/drawing/2014/main" id="{BE438735-88BC-429D-A99A-0F238627362C}"/>
                </a:ext>
              </a:extLst>
            </p:cNvPr>
            <p:cNvGrpSpPr/>
            <p:nvPr/>
          </p:nvGrpSpPr>
          <p:grpSpPr>
            <a:xfrm rot="18911580">
              <a:off x="10787850" y="5347482"/>
              <a:ext cx="220658" cy="219736"/>
              <a:chOff x="10993460" y="3677190"/>
              <a:chExt cx="345209" cy="343767"/>
            </a:xfrm>
            <a:grpFill/>
          </p:grpSpPr>
          <p:sp>
            <p:nvSpPr>
              <p:cNvPr id="109" name="Freeform 22">
                <a:extLst>
                  <a:ext uri="{FF2B5EF4-FFF2-40B4-BE49-F238E27FC236}">
                    <a16:creationId xmlns="" xmlns:a16="http://schemas.microsoft.com/office/drawing/2014/main" id="{569200A9-1F1E-440E-AF21-A56EA3E11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14819" y="3677190"/>
                <a:ext cx="323850" cy="322263"/>
              </a:xfrm>
              <a:custGeom>
                <a:avLst/>
                <a:gdLst/>
                <a:ahLst/>
                <a:cxnLst>
                  <a:cxn ang="0">
                    <a:pos x="169" y="186"/>
                  </a:cxn>
                  <a:cxn ang="0">
                    <a:pos x="169" y="186"/>
                  </a:cxn>
                  <a:cxn ang="0">
                    <a:pos x="165" y="155"/>
                  </a:cxn>
                  <a:cxn ang="0">
                    <a:pos x="156" y="129"/>
                  </a:cxn>
                  <a:cxn ang="0">
                    <a:pos x="143" y="104"/>
                  </a:cxn>
                  <a:cxn ang="0">
                    <a:pos x="126" y="82"/>
                  </a:cxn>
                  <a:cxn ang="0">
                    <a:pos x="126" y="82"/>
                  </a:cxn>
                  <a:cxn ang="0">
                    <a:pos x="104" y="65"/>
                  </a:cxn>
                  <a:cxn ang="0">
                    <a:pos x="78" y="52"/>
                  </a:cxn>
                  <a:cxn ang="0">
                    <a:pos x="52" y="43"/>
                  </a:cxn>
                  <a:cxn ang="0">
                    <a:pos x="22" y="39"/>
                  </a:cxn>
                  <a:cxn ang="0">
                    <a:pos x="22" y="39"/>
                  </a:cxn>
                  <a:cxn ang="0">
                    <a:pos x="13" y="39"/>
                  </a:cxn>
                  <a:cxn ang="0">
                    <a:pos x="9" y="34"/>
                  </a:cxn>
                  <a:cxn ang="0">
                    <a:pos x="5" y="26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5" y="13"/>
                  </a:cxn>
                  <a:cxn ang="0">
                    <a:pos x="9" y="8"/>
                  </a:cxn>
                  <a:cxn ang="0">
                    <a:pos x="13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57" y="4"/>
                  </a:cxn>
                  <a:cxn ang="0">
                    <a:pos x="91" y="17"/>
                  </a:cxn>
                  <a:cxn ang="0">
                    <a:pos x="122" y="34"/>
                  </a:cxn>
                  <a:cxn ang="0">
                    <a:pos x="152" y="56"/>
                  </a:cxn>
                  <a:cxn ang="0">
                    <a:pos x="174" y="82"/>
                  </a:cxn>
                  <a:cxn ang="0">
                    <a:pos x="191" y="112"/>
                  </a:cxn>
                  <a:cxn ang="0">
                    <a:pos x="200" y="147"/>
                  </a:cxn>
                  <a:cxn ang="0">
                    <a:pos x="204" y="186"/>
                  </a:cxn>
                  <a:cxn ang="0">
                    <a:pos x="204" y="186"/>
                  </a:cxn>
                  <a:cxn ang="0">
                    <a:pos x="204" y="194"/>
                  </a:cxn>
                  <a:cxn ang="0">
                    <a:pos x="200" y="199"/>
                  </a:cxn>
                  <a:cxn ang="0">
                    <a:pos x="195" y="203"/>
                  </a:cxn>
                  <a:cxn ang="0">
                    <a:pos x="187" y="203"/>
                  </a:cxn>
                  <a:cxn ang="0">
                    <a:pos x="187" y="203"/>
                  </a:cxn>
                  <a:cxn ang="0">
                    <a:pos x="178" y="203"/>
                  </a:cxn>
                  <a:cxn ang="0">
                    <a:pos x="174" y="199"/>
                  </a:cxn>
                  <a:cxn ang="0">
                    <a:pos x="169" y="194"/>
                  </a:cxn>
                  <a:cxn ang="0">
                    <a:pos x="169" y="186"/>
                  </a:cxn>
                  <a:cxn ang="0">
                    <a:pos x="169" y="186"/>
                  </a:cxn>
                </a:cxnLst>
                <a:rect l="0" t="0" r="r" b="b"/>
                <a:pathLst>
                  <a:path w="204" h="203">
                    <a:moveTo>
                      <a:pt x="169" y="186"/>
                    </a:moveTo>
                    <a:lnTo>
                      <a:pt x="169" y="186"/>
                    </a:lnTo>
                    <a:lnTo>
                      <a:pt x="165" y="155"/>
                    </a:lnTo>
                    <a:lnTo>
                      <a:pt x="156" y="129"/>
                    </a:lnTo>
                    <a:lnTo>
                      <a:pt x="143" y="104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04" y="65"/>
                    </a:lnTo>
                    <a:lnTo>
                      <a:pt x="78" y="52"/>
                    </a:lnTo>
                    <a:lnTo>
                      <a:pt x="52" y="43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13" y="39"/>
                    </a:lnTo>
                    <a:lnTo>
                      <a:pt x="9" y="34"/>
                    </a:lnTo>
                    <a:lnTo>
                      <a:pt x="5" y="2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5" y="13"/>
                    </a:lnTo>
                    <a:lnTo>
                      <a:pt x="9" y="8"/>
                    </a:lnTo>
                    <a:lnTo>
                      <a:pt x="13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57" y="4"/>
                    </a:lnTo>
                    <a:lnTo>
                      <a:pt x="91" y="17"/>
                    </a:lnTo>
                    <a:lnTo>
                      <a:pt x="122" y="34"/>
                    </a:lnTo>
                    <a:lnTo>
                      <a:pt x="152" y="56"/>
                    </a:lnTo>
                    <a:lnTo>
                      <a:pt x="174" y="82"/>
                    </a:lnTo>
                    <a:lnTo>
                      <a:pt x="191" y="112"/>
                    </a:lnTo>
                    <a:lnTo>
                      <a:pt x="200" y="147"/>
                    </a:lnTo>
                    <a:lnTo>
                      <a:pt x="204" y="186"/>
                    </a:lnTo>
                    <a:lnTo>
                      <a:pt x="204" y="186"/>
                    </a:lnTo>
                    <a:lnTo>
                      <a:pt x="204" y="194"/>
                    </a:lnTo>
                    <a:lnTo>
                      <a:pt x="200" y="199"/>
                    </a:lnTo>
                    <a:lnTo>
                      <a:pt x="195" y="203"/>
                    </a:lnTo>
                    <a:lnTo>
                      <a:pt x="187" y="203"/>
                    </a:lnTo>
                    <a:lnTo>
                      <a:pt x="187" y="203"/>
                    </a:lnTo>
                    <a:lnTo>
                      <a:pt x="178" y="203"/>
                    </a:lnTo>
                    <a:lnTo>
                      <a:pt x="174" y="199"/>
                    </a:lnTo>
                    <a:lnTo>
                      <a:pt x="169" y="194"/>
                    </a:lnTo>
                    <a:lnTo>
                      <a:pt x="169" y="186"/>
                    </a:lnTo>
                    <a:lnTo>
                      <a:pt x="169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1799" dirty="0">
                  <a:solidFill>
                    <a:srgbClr val="2DC2EA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0" name="Freeform 23">
                <a:extLst>
                  <a:ext uri="{FF2B5EF4-FFF2-40B4-BE49-F238E27FC236}">
                    <a16:creationId xmlns="" xmlns:a16="http://schemas.microsoft.com/office/drawing/2014/main" id="{3B0525B7-C53C-45D7-8102-6DC3F169C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93460" y="3793943"/>
                <a:ext cx="234948" cy="227014"/>
              </a:xfrm>
              <a:custGeom>
                <a:avLst/>
                <a:gdLst/>
                <a:ahLst/>
                <a:cxnLst>
                  <a:cxn ang="0">
                    <a:pos x="109" y="126"/>
                  </a:cxn>
                  <a:cxn ang="0">
                    <a:pos x="109" y="126"/>
                  </a:cxn>
                  <a:cxn ang="0">
                    <a:pos x="109" y="108"/>
                  </a:cxn>
                  <a:cxn ang="0">
                    <a:pos x="104" y="91"/>
                  </a:cxn>
                  <a:cxn ang="0">
                    <a:pos x="96" y="74"/>
                  </a:cxn>
                  <a:cxn ang="0">
                    <a:pos x="83" y="61"/>
                  </a:cxn>
                  <a:cxn ang="0">
                    <a:pos x="70" y="52"/>
                  </a:cxn>
                  <a:cxn ang="0">
                    <a:pos x="57" y="44"/>
                  </a:cxn>
                  <a:cxn ang="0">
                    <a:pos x="39" y="39"/>
                  </a:cxn>
                  <a:cxn ang="0">
                    <a:pos x="22" y="35"/>
                  </a:cxn>
                  <a:cxn ang="0">
                    <a:pos x="22" y="35"/>
                  </a:cxn>
                  <a:cxn ang="0">
                    <a:pos x="13" y="35"/>
                  </a:cxn>
                  <a:cxn ang="0">
                    <a:pos x="9" y="31"/>
                  </a:cxn>
                  <a:cxn ang="0">
                    <a:pos x="5" y="26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5" y="9"/>
                  </a:cxn>
                  <a:cxn ang="0">
                    <a:pos x="9" y="5"/>
                  </a:cxn>
                  <a:cxn ang="0">
                    <a:pos x="13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48" y="0"/>
                  </a:cxn>
                  <a:cxn ang="0">
                    <a:pos x="70" y="9"/>
                  </a:cxn>
                  <a:cxn ang="0">
                    <a:pos x="91" y="22"/>
                  </a:cxn>
                  <a:cxn ang="0">
                    <a:pos x="109" y="35"/>
                  </a:cxn>
                  <a:cxn ang="0">
                    <a:pos x="126" y="56"/>
                  </a:cxn>
                  <a:cxn ang="0">
                    <a:pos x="139" y="78"/>
                  </a:cxn>
                  <a:cxn ang="0">
                    <a:pos x="143" y="100"/>
                  </a:cxn>
                  <a:cxn ang="0">
                    <a:pos x="148" y="126"/>
                  </a:cxn>
                  <a:cxn ang="0">
                    <a:pos x="148" y="126"/>
                  </a:cxn>
                  <a:cxn ang="0">
                    <a:pos x="148" y="134"/>
                  </a:cxn>
                  <a:cxn ang="0">
                    <a:pos x="143" y="139"/>
                  </a:cxn>
                  <a:cxn ang="0">
                    <a:pos x="135" y="143"/>
                  </a:cxn>
                  <a:cxn ang="0">
                    <a:pos x="130" y="143"/>
                  </a:cxn>
                  <a:cxn ang="0">
                    <a:pos x="130" y="143"/>
                  </a:cxn>
                  <a:cxn ang="0">
                    <a:pos x="122" y="143"/>
                  </a:cxn>
                  <a:cxn ang="0">
                    <a:pos x="117" y="139"/>
                  </a:cxn>
                  <a:cxn ang="0">
                    <a:pos x="113" y="134"/>
                  </a:cxn>
                  <a:cxn ang="0">
                    <a:pos x="109" y="126"/>
                  </a:cxn>
                  <a:cxn ang="0">
                    <a:pos x="109" y="126"/>
                  </a:cxn>
                </a:cxnLst>
                <a:rect l="0" t="0" r="r" b="b"/>
                <a:pathLst>
                  <a:path w="148" h="143">
                    <a:moveTo>
                      <a:pt x="109" y="126"/>
                    </a:moveTo>
                    <a:lnTo>
                      <a:pt x="109" y="126"/>
                    </a:lnTo>
                    <a:lnTo>
                      <a:pt x="109" y="108"/>
                    </a:lnTo>
                    <a:lnTo>
                      <a:pt x="104" y="91"/>
                    </a:lnTo>
                    <a:lnTo>
                      <a:pt x="96" y="74"/>
                    </a:lnTo>
                    <a:lnTo>
                      <a:pt x="83" y="61"/>
                    </a:lnTo>
                    <a:lnTo>
                      <a:pt x="70" y="52"/>
                    </a:lnTo>
                    <a:lnTo>
                      <a:pt x="57" y="44"/>
                    </a:lnTo>
                    <a:lnTo>
                      <a:pt x="39" y="39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13" y="35"/>
                    </a:lnTo>
                    <a:lnTo>
                      <a:pt x="9" y="31"/>
                    </a:lnTo>
                    <a:lnTo>
                      <a:pt x="5" y="2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5" y="9"/>
                    </a:lnTo>
                    <a:lnTo>
                      <a:pt x="9" y="5"/>
                    </a:lnTo>
                    <a:lnTo>
                      <a:pt x="13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48" y="0"/>
                    </a:lnTo>
                    <a:lnTo>
                      <a:pt x="70" y="9"/>
                    </a:lnTo>
                    <a:lnTo>
                      <a:pt x="91" y="22"/>
                    </a:lnTo>
                    <a:lnTo>
                      <a:pt x="109" y="35"/>
                    </a:lnTo>
                    <a:lnTo>
                      <a:pt x="126" y="56"/>
                    </a:lnTo>
                    <a:lnTo>
                      <a:pt x="139" y="78"/>
                    </a:lnTo>
                    <a:lnTo>
                      <a:pt x="143" y="100"/>
                    </a:lnTo>
                    <a:lnTo>
                      <a:pt x="148" y="126"/>
                    </a:lnTo>
                    <a:lnTo>
                      <a:pt x="148" y="126"/>
                    </a:lnTo>
                    <a:lnTo>
                      <a:pt x="148" y="134"/>
                    </a:lnTo>
                    <a:lnTo>
                      <a:pt x="143" y="139"/>
                    </a:lnTo>
                    <a:lnTo>
                      <a:pt x="135" y="143"/>
                    </a:lnTo>
                    <a:lnTo>
                      <a:pt x="130" y="143"/>
                    </a:lnTo>
                    <a:lnTo>
                      <a:pt x="130" y="143"/>
                    </a:lnTo>
                    <a:lnTo>
                      <a:pt x="122" y="143"/>
                    </a:lnTo>
                    <a:lnTo>
                      <a:pt x="117" y="139"/>
                    </a:lnTo>
                    <a:lnTo>
                      <a:pt x="113" y="134"/>
                    </a:lnTo>
                    <a:lnTo>
                      <a:pt x="109" y="126"/>
                    </a:lnTo>
                    <a:lnTo>
                      <a:pt x="109" y="1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1799" dirty="0">
                  <a:solidFill>
                    <a:srgbClr val="2DC2EA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11" name="副标题 1">
            <a:extLst>
              <a:ext uri="{FF2B5EF4-FFF2-40B4-BE49-F238E27FC236}">
                <a16:creationId xmlns="" xmlns:a16="http://schemas.microsoft.com/office/drawing/2014/main" id="{98D631A4-D909-4EA0-A839-80242E667388}"/>
              </a:ext>
            </a:extLst>
          </p:cNvPr>
          <p:cNvSpPr txBox="1">
            <a:spLocks/>
          </p:cNvSpPr>
          <p:nvPr/>
        </p:nvSpPr>
        <p:spPr>
          <a:xfrm>
            <a:off x="8331505" y="2338350"/>
            <a:ext cx="923077" cy="196672"/>
          </a:xfrm>
          <a:prstGeom prst="rect">
            <a:avLst/>
          </a:prstGeom>
        </p:spPr>
        <p:txBody>
          <a:bodyPr wrap="square" lIns="68553" tIns="34276" rIns="68553" bIns="34276">
            <a:noAutofit/>
          </a:bodyPr>
          <a:lstStyle/>
          <a:p>
            <a:pPr algn="ctr" defTabSz="914187" fontAlgn="ctr">
              <a:spcBef>
                <a:spcPct val="20000"/>
              </a:spcBef>
              <a:defRPr/>
            </a:pP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loud computing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2" name="Freeform 18">
            <a:extLst>
              <a:ext uri="{FF2B5EF4-FFF2-40B4-BE49-F238E27FC236}">
                <a16:creationId xmlns="" xmlns:a16="http://schemas.microsoft.com/office/drawing/2014/main" id="{F6AEBCCE-8942-4344-B303-3104A5F38A09}"/>
              </a:ext>
            </a:extLst>
          </p:cNvPr>
          <p:cNvSpPr>
            <a:spLocks noEditPoints="1"/>
          </p:cNvSpPr>
          <p:nvPr/>
        </p:nvSpPr>
        <p:spPr bwMode="auto">
          <a:xfrm>
            <a:off x="8489474" y="1982142"/>
            <a:ext cx="582802" cy="465844"/>
          </a:xfrm>
          <a:custGeom>
            <a:avLst/>
            <a:gdLst/>
            <a:ahLst/>
            <a:cxnLst>
              <a:cxn ang="0">
                <a:pos x="354" y="18"/>
              </a:cxn>
              <a:cxn ang="0">
                <a:pos x="442" y="110"/>
              </a:cxn>
              <a:cxn ang="0">
                <a:pos x="476" y="114"/>
              </a:cxn>
              <a:cxn ang="0">
                <a:pos x="536" y="142"/>
              </a:cxn>
              <a:cxn ang="0">
                <a:pos x="576" y="196"/>
              </a:cxn>
              <a:cxn ang="0">
                <a:pos x="588" y="250"/>
              </a:cxn>
              <a:cxn ang="0">
                <a:pos x="554" y="340"/>
              </a:cxn>
              <a:cxn ang="0">
                <a:pos x="516" y="354"/>
              </a:cxn>
              <a:cxn ang="0">
                <a:pos x="508" y="272"/>
              </a:cxn>
              <a:cxn ang="0">
                <a:pos x="464" y="208"/>
              </a:cxn>
              <a:cxn ang="0">
                <a:pos x="412" y="178"/>
              </a:cxn>
              <a:cxn ang="0">
                <a:pos x="316" y="200"/>
              </a:cxn>
              <a:cxn ang="0">
                <a:pos x="248" y="212"/>
              </a:cxn>
              <a:cxn ang="0">
                <a:pos x="208" y="274"/>
              </a:cxn>
              <a:cxn ang="0">
                <a:pos x="224" y="340"/>
              </a:cxn>
              <a:cxn ang="0">
                <a:pos x="116" y="390"/>
              </a:cxn>
              <a:cxn ang="0">
                <a:pos x="34" y="356"/>
              </a:cxn>
              <a:cxn ang="0">
                <a:pos x="0" y="274"/>
              </a:cxn>
              <a:cxn ang="0">
                <a:pos x="28" y="198"/>
              </a:cxn>
              <a:cxn ang="0">
                <a:pos x="98" y="158"/>
              </a:cxn>
              <a:cxn ang="0">
                <a:pos x="124" y="82"/>
              </a:cxn>
              <a:cxn ang="0">
                <a:pos x="182" y="26"/>
              </a:cxn>
              <a:cxn ang="0">
                <a:pos x="258" y="0"/>
              </a:cxn>
              <a:cxn ang="0">
                <a:pos x="476" y="246"/>
              </a:cxn>
              <a:cxn ang="0">
                <a:pos x="502" y="332"/>
              </a:cxn>
              <a:cxn ang="0">
                <a:pos x="456" y="432"/>
              </a:cxn>
              <a:cxn ang="0">
                <a:pos x="356" y="448"/>
              </a:cxn>
              <a:cxn ang="0">
                <a:pos x="316" y="440"/>
              </a:cxn>
              <a:cxn ang="0">
                <a:pos x="228" y="390"/>
              </a:cxn>
              <a:cxn ang="0">
                <a:pos x="218" y="302"/>
              </a:cxn>
              <a:cxn ang="0">
                <a:pos x="260" y="222"/>
              </a:cxn>
              <a:cxn ang="0">
                <a:pos x="362" y="184"/>
              </a:cxn>
              <a:cxn ang="0">
                <a:pos x="444" y="244"/>
              </a:cxn>
              <a:cxn ang="0">
                <a:pos x="402" y="282"/>
              </a:cxn>
              <a:cxn ang="0">
                <a:pos x="420" y="326"/>
              </a:cxn>
              <a:cxn ang="0">
                <a:pos x="402" y="372"/>
              </a:cxn>
              <a:cxn ang="0">
                <a:pos x="360" y="390"/>
              </a:cxn>
              <a:cxn ang="0">
                <a:pos x="314" y="372"/>
              </a:cxn>
              <a:cxn ang="0">
                <a:pos x="296" y="328"/>
              </a:cxn>
              <a:cxn ang="0">
                <a:pos x="314" y="284"/>
              </a:cxn>
              <a:cxn ang="0">
                <a:pos x="358" y="264"/>
              </a:cxn>
              <a:cxn ang="0">
                <a:pos x="396" y="320"/>
              </a:cxn>
              <a:cxn ang="0">
                <a:pos x="380" y="296"/>
              </a:cxn>
              <a:cxn ang="0">
                <a:pos x="350" y="290"/>
              </a:cxn>
              <a:cxn ang="0">
                <a:pos x="326" y="306"/>
              </a:cxn>
              <a:cxn ang="0">
                <a:pos x="320" y="336"/>
              </a:cxn>
              <a:cxn ang="0">
                <a:pos x="338" y="360"/>
              </a:cxn>
              <a:cxn ang="0">
                <a:pos x="366" y="366"/>
              </a:cxn>
              <a:cxn ang="0">
                <a:pos x="390" y="348"/>
              </a:cxn>
              <a:cxn ang="0">
                <a:pos x="396" y="320"/>
              </a:cxn>
              <a:cxn ang="0">
                <a:pos x="418" y="288"/>
              </a:cxn>
              <a:cxn ang="0">
                <a:pos x="426" y="354"/>
              </a:cxn>
              <a:cxn ang="0">
                <a:pos x="386" y="394"/>
              </a:cxn>
              <a:cxn ang="0">
                <a:pos x="318" y="388"/>
              </a:cxn>
              <a:cxn ang="0">
                <a:pos x="288" y="342"/>
              </a:cxn>
              <a:cxn ang="0">
                <a:pos x="298" y="288"/>
              </a:cxn>
              <a:cxn ang="0">
                <a:pos x="358" y="256"/>
              </a:cxn>
            </a:cxnLst>
            <a:rect l="0" t="0" r="r" b="b"/>
            <a:pathLst>
              <a:path w="588" h="470">
                <a:moveTo>
                  <a:pt x="276" y="0"/>
                </a:moveTo>
                <a:lnTo>
                  <a:pt x="276" y="0"/>
                </a:lnTo>
                <a:lnTo>
                  <a:pt x="304" y="2"/>
                </a:lnTo>
                <a:lnTo>
                  <a:pt x="330" y="8"/>
                </a:lnTo>
                <a:lnTo>
                  <a:pt x="354" y="18"/>
                </a:lnTo>
                <a:lnTo>
                  <a:pt x="376" y="30"/>
                </a:lnTo>
                <a:lnTo>
                  <a:pt x="396" y="46"/>
                </a:lnTo>
                <a:lnTo>
                  <a:pt x="414" y="66"/>
                </a:lnTo>
                <a:lnTo>
                  <a:pt x="430" y="88"/>
                </a:lnTo>
                <a:lnTo>
                  <a:pt x="442" y="110"/>
                </a:lnTo>
                <a:lnTo>
                  <a:pt x="442" y="110"/>
                </a:lnTo>
                <a:lnTo>
                  <a:pt x="448" y="110"/>
                </a:lnTo>
                <a:lnTo>
                  <a:pt x="448" y="110"/>
                </a:lnTo>
                <a:lnTo>
                  <a:pt x="462" y="112"/>
                </a:lnTo>
                <a:lnTo>
                  <a:pt x="476" y="114"/>
                </a:lnTo>
                <a:lnTo>
                  <a:pt x="490" y="116"/>
                </a:lnTo>
                <a:lnTo>
                  <a:pt x="502" y="122"/>
                </a:lnTo>
                <a:lnTo>
                  <a:pt x="514" y="128"/>
                </a:lnTo>
                <a:lnTo>
                  <a:pt x="526" y="134"/>
                </a:lnTo>
                <a:lnTo>
                  <a:pt x="536" y="142"/>
                </a:lnTo>
                <a:lnTo>
                  <a:pt x="546" y="152"/>
                </a:lnTo>
                <a:lnTo>
                  <a:pt x="556" y="162"/>
                </a:lnTo>
                <a:lnTo>
                  <a:pt x="564" y="172"/>
                </a:lnTo>
                <a:lnTo>
                  <a:pt x="570" y="184"/>
                </a:lnTo>
                <a:lnTo>
                  <a:pt x="576" y="196"/>
                </a:lnTo>
                <a:lnTo>
                  <a:pt x="582" y="208"/>
                </a:lnTo>
                <a:lnTo>
                  <a:pt x="584" y="222"/>
                </a:lnTo>
                <a:lnTo>
                  <a:pt x="586" y="236"/>
                </a:lnTo>
                <a:lnTo>
                  <a:pt x="588" y="250"/>
                </a:lnTo>
                <a:lnTo>
                  <a:pt x="588" y="250"/>
                </a:lnTo>
                <a:lnTo>
                  <a:pt x="586" y="270"/>
                </a:lnTo>
                <a:lnTo>
                  <a:pt x="582" y="290"/>
                </a:lnTo>
                <a:lnTo>
                  <a:pt x="576" y="308"/>
                </a:lnTo>
                <a:lnTo>
                  <a:pt x="566" y="324"/>
                </a:lnTo>
                <a:lnTo>
                  <a:pt x="554" y="340"/>
                </a:lnTo>
                <a:lnTo>
                  <a:pt x="542" y="354"/>
                </a:lnTo>
                <a:lnTo>
                  <a:pt x="526" y="366"/>
                </a:lnTo>
                <a:lnTo>
                  <a:pt x="510" y="376"/>
                </a:lnTo>
                <a:lnTo>
                  <a:pt x="510" y="376"/>
                </a:lnTo>
                <a:lnTo>
                  <a:pt x="516" y="354"/>
                </a:lnTo>
                <a:lnTo>
                  <a:pt x="518" y="332"/>
                </a:lnTo>
                <a:lnTo>
                  <a:pt x="518" y="318"/>
                </a:lnTo>
                <a:lnTo>
                  <a:pt x="492" y="314"/>
                </a:lnTo>
                <a:lnTo>
                  <a:pt x="486" y="286"/>
                </a:lnTo>
                <a:lnTo>
                  <a:pt x="508" y="272"/>
                </a:lnTo>
                <a:lnTo>
                  <a:pt x="502" y="258"/>
                </a:lnTo>
                <a:lnTo>
                  <a:pt x="502" y="258"/>
                </a:lnTo>
                <a:lnTo>
                  <a:pt x="490" y="238"/>
                </a:lnTo>
                <a:lnTo>
                  <a:pt x="474" y="218"/>
                </a:lnTo>
                <a:lnTo>
                  <a:pt x="464" y="208"/>
                </a:lnTo>
                <a:lnTo>
                  <a:pt x="444" y="224"/>
                </a:lnTo>
                <a:lnTo>
                  <a:pt x="418" y="208"/>
                </a:lnTo>
                <a:lnTo>
                  <a:pt x="426" y="182"/>
                </a:lnTo>
                <a:lnTo>
                  <a:pt x="412" y="178"/>
                </a:lnTo>
                <a:lnTo>
                  <a:pt x="412" y="178"/>
                </a:lnTo>
                <a:lnTo>
                  <a:pt x="388" y="170"/>
                </a:lnTo>
                <a:lnTo>
                  <a:pt x="362" y="168"/>
                </a:lnTo>
                <a:lnTo>
                  <a:pt x="348" y="168"/>
                </a:lnTo>
                <a:lnTo>
                  <a:pt x="346" y="194"/>
                </a:lnTo>
                <a:lnTo>
                  <a:pt x="316" y="200"/>
                </a:lnTo>
                <a:lnTo>
                  <a:pt x="302" y="178"/>
                </a:lnTo>
                <a:lnTo>
                  <a:pt x="290" y="184"/>
                </a:lnTo>
                <a:lnTo>
                  <a:pt x="290" y="184"/>
                </a:lnTo>
                <a:lnTo>
                  <a:pt x="268" y="196"/>
                </a:lnTo>
                <a:lnTo>
                  <a:pt x="248" y="212"/>
                </a:lnTo>
                <a:lnTo>
                  <a:pt x="238" y="222"/>
                </a:lnTo>
                <a:lnTo>
                  <a:pt x="254" y="242"/>
                </a:lnTo>
                <a:lnTo>
                  <a:pt x="238" y="268"/>
                </a:lnTo>
                <a:lnTo>
                  <a:pt x="212" y="260"/>
                </a:lnTo>
                <a:lnTo>
                  <a:pt x="208" y="274"/>
                </a:lnTo>
                <a:lnTo>
                  <a:pt x="208" y="274"/>
                </a:lnTo>
                <a:lnTo>
                  <a:pt x="202" y="298"/>
                </a:lnTo>
                <a:lnTo>
                  <a:pt x="198" y="322"/>
                </a:lnTo>
                <a:lnTo>
                  <a:pt x="198" y="338"/>
                </a:lnTo>
                <a:lnTo>
                  <a:pt x="224" y="340"/>
                </a:lnTo>
                <a:lnTo>
                  <a:pt x="230" y="370"/>
                </a:lnTo>
                <a:lnTo>
                  <a:pt x="208" y="382"/>
                </a:lnTo>
                <a:lnTo>
                  <a:pt x="212" y="390"/>
                </a:lnTo>
                <a:lnTo>
                  <a:pt x="116" y="390"/>
                </a:lnTo>
                <a:lnTo>
                  <a:pt x="116" y="390"/>
                </a:lnTo>
                <a:lnTo>
                  <a:pt x="104" y="390"/>
                </a:lnTo>
                <a:lnTo>
                  <a:pt x="94" y="388"/>
                </a:lnTo>
                <a:lnTo>
                  <a:pt x="72" y="380"/>
                </a:lnTo>
                <a:lnTo>
                  <a:pt x="52" y="370"/>
                </a:lnTo>
                <a:lnTo>
                  <a:pt x="34" y="356"/>
                </a:lnTo>
                <a:lnTo>
                  <a:pt x="20" y="338"/>
                </a:lnTo>
                <a:lnTo>
                  <a:pt x="10" y="318"/>
                </a:lnTo>
                <a:lnTo>
                  <a:pt x="4" y="296"/>
                </a:lnTo>
                <a:lnTo>
                  <a:pt x="2" y="286"/>
                </a:lnTo>
                <a:lnTo>
                  <a:pt x="0" y="274"/>
                </a:lnTo>
                <a:lnTo>
                  <a:pt x="0" y="274"/>
                </a:lnTo>
                <a:lnTo>
                  <a:pt x="2" y="252"/>
                </a:lnTo>
                <a:lnTo>
                  <a:pt x="8" y="232"/>
                </a:lnTo>
                <a:lnTo>
                  <a:pt x="16" y="214"/>
                </a:lnTo>
                <a:lnTo>
                  <a:pt x="28" y="198"/>
                </a:lnTo>
                <a:lnTo>
                  <a:pt x="42" y="184"/>
                </a:lnTo>
                <a:lnTo>
                  <a:pt x="60" y="172"/>
                </a:lnTo>
                <a:lnTo>
                  <a:pt x="78" y="164"/>
                </a:lnTo>
                <a:lnTo>
                  <a:pt x="98" y="158"/>
                </a:lnTo>
                <a:lnTo>
                  <a:pt x="98" y="158"/>
                </a:lnTo>
                <a:lnTo>
                  <a:pt x="100" y="142"/>
                </a:lnTo>
                <a:lnTo>
                  <a:pt x="104" y="126"/>
                </a:lnTo>
                <a:lnTo>
                  <a:pt x="110" y="110"/>
                </a:lnTo>
                <a:lnTo>
                  <a:pt x="116" y="96"/>
                </a:lnTo>
                <a:lnTo>
                  <a:pt x="124" y="82"/>
                </a:lnTo>
                <a:lnTo>
                  <a:pt x="134" y="70"/>
                </a:lnTo>
                <a:lnTo>
                  <a:pt x="144" y="56"/>
                </a:lnTo>
                <a:lnTo>
                  <a:pt x="156" y="46"/>
                </a:lnTo>
                <a:lnTo>
                  <a:pt x="168" y="36"/>
                </a:lnTo>
                <a:lnTo>
                  <a:pt x="182" y="26"/>
                </a:lnTo>
                <a:lnTo>
                  <a:pt x="196" y="18"/>
                </a:lnTo>
                <a:lnTo>
                  <a:pt x="210" y="12"/>
                </a:lnTo>
                <a:lnTo>
                  <a:pt x="226" y="6"/>
                </a:lnTo>
                <a:lnTo>
                  <a:pt x="242" y="2"/>
                </a:lnTo>
                <a:lnTo>
                  <a:pt x="258" y="0"/>
                </a:lnTo>
                <a:lnTo>
                  <a:pt x="276" y="0"/>
                </a:lnTo>
                <a:lnTo>
                  <a:pt x="276" y="0"/>
                </a:lnTo>
                <a:close/>
                <a:moveTo>
                  <a:pt x="462" y="228"/>
                </a:moveTo>
                <a:lnTo>
                  <a:pt x="462" y="228"/>
                </a:lnTo>
                <a:lnTo>
                  <a:pt x="476" y="246"/>
                </a:lnTo>
                <a:lnTo>
                  <a:pt x="488" y="266"/>
                </a:lnTo>
                <a:lnTo>
                  <a:pt x="468" y="278"/>
                </a:lnTo>
                <a:lnTo>
                  <a:pt x="480" y="328"/>
                </a:lnTo>
                <a:lnTo>
                  <a:pt x="502" y="332"/>
                </a:lnTo>
                <a:lnTo>
                  <a:pt x="502" y="332"/>
                </a:lnTo>
                <a:lnTo>
                  <a:pt x="500" y="354"/>
                </a:lnTo>
                <a:lnTo>
                  <a:pt x="494" y="376"/>
                </a:lnTo>
                <a:lnTo>
                  <a:pt x="472" y="370"/>
                </a:lnTo>
                <a:lnTo>
                  <a:pt x="442" y="414"/>
                </a:lnTo>
                <a:lnTo>
                  <a:pt x="456" y="432"/>
                </a:lnTo>
                <a:lnTo>
                  <a:pt x="456" y="432"/>
                </a:lnTo>
                <a:lnTo>
                  <a:pt x="440" y="446"/>
                </a:lnTo>
                <a:lnTo>
                  <a:pt x="420" y="456"/>
                </a:lnTo>
                <a:lnTo>
                  <a:pt x="408" y="438"/>
                </a:lnTo>
                <a:lnTo>
                  <a:pt x="356" y="448"/>
                </a:lnTo>
                <a:lnTo>
                  <a:pt x="354" y="470"/>
                </a:lnTo>
                <a:lnTo>
                  <a:pt x="354" y="470"/>
                </a:lnTo>
                <a:lnTo>
                  <a:pt x="332" y="468"/>
                </a:lnTo>
                <a:lnTo>
                  <a:pt x="310" y="462"/>
                </a:lnTo>
                <a:lnTo>
                  <a:pt x="316" y="440"/>
                </a:lnTo>
                <a:lnTo>
                  <a:pt x="272" y="412"/>
                </a:lnTo>
                <a:lnTo>
                  <a:pt x="254" y="426"/>
                </a:lnTo>
                <a:lnTo>
                  <a:pt x="254" y="426"/>
                </a:lnTo>
                <a:lnTo>
                  <a:pt x="240" y="408"/>
                </a:lnTo>
                <a:lnTo>
                  <a:pt x="228" y="390"/>
                </a:lnTo>
                <a:lnTo>
                  <a:pt x="248" y="378"/>
                </a:lnTo>
                <a:lnTo>
                  <a:pt x="238" y="326"/>
                </a:lnTo>
                <a:lnTo>
                  <a:pt x="214" y="324"/>
                </a:lnTo>
                <a:lnTo>
                  <a:pt x="214" y="324"/>
                </a:lnTo>
                <a:lnTo>
                  <a:pt x="218" y="302"/>
                </a:lnTo>
                <a:lnTo>
                  <a:pt x="222" y="280"/>
                </a:lnTo>
                <a:lnTo>
                  <a:pt x="246" y="286"/>
                </a:lnTo>
                <a:lnTo>
                  <a:pt x="274" y="240"/>
                </a:lnTo>
                <a:lnTo>
                  <a:pt x="260" y="222"/>
                </a:lnTo>
                <a:lnTo>
                  <a:pt x="260" y="222"/>
                </a:lnTo>
                <a:lnTo>
                  <a:pt x="278" y="208"/>
                </a:lnTo>
                <a:lnTo>
                  <a:pt x="296" y="198"/>
                </a:lnTo>
                <a:lnTo>
                  <a:pt x="308" y="218"/>
                </a:lnTo>
                <a:lnTo>
                  <a:pt x="360" y="206"/>
                </a:lnTo>
                <a:lnTo>
                  <a:pt x="362" y="184"/>
                </a:lnTo>
                <a:lnTo>
                  <a:pt x="362" y="184"/>
                </a:lnTo>
                <a:lnTo>
                  <a:pt x="384" y="186"/>
                </a:lnTo>
                <a:lnTo>
                  <a:pt x="406" y="192"/>
                </a:lnTo>
                <a:lnTo>
                  <a:pt x="400" y="214"/>
                </a:lnTo>
                <a:lnTo>
                  <a:pt x="444" y="244"/>
                </a:lnTo>
                <a:lnTo>
                  <a:pt x="462" y="228"/>
                </a:lnTo>
                <a:lnTo>
                  <a:pt x="462" y="228"/>
                </a:lnTo>
                <a:close/>
                <a:moveTo>
                  <a:pt x="392" y="274"/>
                </a:moveTo>
                <a:lnTo>
                  <a:pt x="392" y="274"/>
                </a:lnTo>
                <a:lnTo>
                  <a:pt x="402" y="282"/>
                </a:lnTo>
                <a:lnTo>
                  <a:pt x="410" y="292"/>
                </a:lnTo>
                <a:lnTo>
                  <a:pt x="416" y="304"/>
                </a:lnTo>
                <a:lnTo>
                  <a:pt x="420" y="314"/>
                </a:lnTo>
                <a:lnTo>
                  <a:pt x="420" y="314"/>
                </a:lnTo>
                <a:lnTo>
                  <a:pt x="420" y="326"/>
                </a:lnTo>
                <a:lnTo>
                  <a:pt x="420" y="338"/>
                </a:lnTo>
                <a:lnTo>
                  <a:pt x="416" y="350"/>
                </a:lnTo>
                <a:lnTo>
                  <a:pt x="410" y="362"/>
                </a:lnTo>
                <a:lnTo>
                  <a:pt x="410" y="362"/>
                </a:lnTo>
                <a:lnTo>
                  <a:pt x="402" y="372"/>
                </a:lnTo>
                <a:lnTo>
                  <a:pt x="394" y="380"/>
                </a:lnTo>
                <a:lnTo>
                  <a:pt x="382" y="386"/>
                </a:lnTo>
                <a:lnTo>
                  <a:pt x="372" y="388"/>
                </a:lnTo>
                <a:lnTo>
                  <a:pt x="372" y="388"/>
                </a:lnTo>
                <a:lnTo>
                  <a:pt x="360" y="390"/>
                </a:lnTo>
                <a:lnTo>
                  <a:pt x="348" y="388"/>
                </a:lnTo>
                <a:lnTo>
                  <a:pt x="336" y="386"/>
                </a:lnTo>
                <a:lnTo>
                  <a:pt x="324" y="380"/>
                </a:lnTo>
                <a:lnTo>
                  <a:pt x="324" y="380"/>
                </a:lnTo>
                <a:lnTo>
                  <a:pt x="314" y="372"/>
                </a:lnTo>
                <a:lnTo>
                  <a:pt x="306" y="362"/>
                </a:lnTo>
                <a:lnTo>
                  <a:pt x="300" y="352"/>
                </a:lnTo>
                <a:lnTo>
                  <a:pt x="298" y="340"/>
                </a:lnTo>
                <a:lnTo>
                  <a:pt x="298" y="340"/>
                </a:lnTo>
                <a:lnTo>
                  <a:pt x="296" y="328"/>
                </a:lnTo>
                <a:lnTo>
                  <a:pt x="296" y="316"/>
                </a:lnTo>
                <a:lnTo>
                  <a:pt x="300" y="304"/>
                </a:lnTo>
                <a:lnTo>
                  <a:pt x="306" y="294"/>
                </a:lnTo>
                <a:lnTo>
                  <a:pt x="306" y="294"/>
                </a:lnTo>
                <a:lnTo>
                  <a:pt x="314" y="284"/>
                </a:lnTo>
                <a:lnTo>
                  <a:pt x="324" y="276"/>
                </a:lnTo>
                <a:lnTo>
                  <a:pt x="334" y="270"/>
                </a:lnTo>
                <a:lnTo>
                  <a:pt x="346" y="266"/>
                </a:lnTo>
                <a:lnTo>
                  <a:pt x="346" y="266"/>
                </a:lnTo>
                <a:lnTo>
                  <a:pt x="358" y="264"/>
                </a:lnTo>
                <a:lnTo>
                  <a:pt x="370" y="266"/>
                </a:lnTo>
                <a:lnTo>
                  <a:pt x="382" y="270"/>
                </a:lnTo>
                <a:lnTo>
                  <a:pt x="392" y="274"/>
                </a:lnTo>
                <a:lnTo>
                  <a:pt x="392" y="274"/>
                </a:lnTo>
                <a:close/>
                <a:moveTo>
                  <a:pt x="396" y="320"/>
                </a:moveTo>
                <a:lnTo>
                  <a:pt x="396" y="320"/>
                </a:lnTo>
                <a:lnTo>
                  <a:pt x="394" y="312"/>
                </a:lnTo>
                <a:lnTo>
                  <a:pt x="390" y="306"/>
                </a:lnTo>
                <a:lnTo>
                  <a:pt x="386" y="300"/>
                </a:lnTo>
                <a:lnTo>
                  <a:pt x="380" y="296"/>
                </a:lnTo>
                <a:lnTo>
                  <a:pt x="380" y="296"/>
                </a:lnTo>
                <a:lnTo>
                  <a:pt x="372" y="292"/>
                </a:lnTo>
                <a:lnTo>
                  <a:pt x="366" y="290"/>
                </a:lnTo>
                <a:lnTo>
                  <a:pt x="358" y="288"/>
                </a:lnTo>
                <a:lnTo>
                  <a:pt x="350" y="290"/>
                </a:lnTo>
                <a:lnTo>
                  <a:pt x="350" y="290"/>
                </a:lnTo>
                <a:lnTo>
                  <a:pt x="344" y="292"/>
                </a:lnTo>
                <a:lnTo>
                  <a:pt x="336" y="296"/>
                </a:lnTo>
                <a:lnTo>
                  <a:pt x="330" y="300"/>
                </a:lnTo>
                <a:lnTo>
                  <a:pt x="326" y="306"/>
                </a:lnTo>
                <a:lnTo>
                  <a:pt x="326" y="306"/>
                </a:lnTo>
                <a:lnTo>
                  <a:pt x="322" y="314"/>
                </a:lnTo>
                <a:lnTo>
                  <a:pt x="320" y="320"/>
                </a:lnTo>
                <a:lnTo>
                  <a:pt x="320" y="328"/>
                </a:lnTo>
                <a:lnTo>
                  <a:pt x="320" y="336"/>
                </a:lnTo>
                <a:lnTo>
                  <a:pt x="320" y="336"/>
                </a:lnTo>
                <a:lnTo>
                  <a:pt x="322" y="342"/>
                </a:lnTo>
                <a:lnTo>
                  <a:pt x="326" y="348"/>
                </a:lnTo>
                <a:lnTo>
                  <a:pt x="332" y="354"/>
                </a:lnTo>
                <a:lnTo>
                  <a:pt x="338" y="360"/>
                </a:lnTo>
                <a:lnTo>
                  <a:pt x="338" y="360"/>
                </a:lnTo>
                <a:lnTo>
                  <a:pt x="344" y="364"/>
                </a:lnTo>
                <a:lnTo>
                  <a:pt x="352" y="366"/>
                </a:lnTo>
                <a:lnTo>
                  <a:pt x="358" y="366"/>
                </a:lnTo>
                <a:lnTo>
                  <a:pt x="366" y="366"/>
                </a:lnTo>
                <a:lnTo>
                  <a:pt x="366" y="366"/>
                </a:lnTo>
                <a:lnTo>
                  <a:pt x="374" y="362"/>
                </a:lnTo>
                <a:lnTo>
                  <a:pt x="380" y="360"/>
                </a:lnTo>
                <a:lnTo>
                  <a:pt x="386" y="354"/>
                </a:lnTo>
                <a:lnTo>
                  <a:pt x="390" y="348"/>
                </a:lnTo>
                <a:lnTo>
                  <a:pt x="390" y="348"/>
                </a:lnTo>
                <a:lnTo>
                  <a:pt x="394" y="342"/>
                </a:lnTo>
                <a:lnTo>
                  <a:pt x="396" y="334"/>
                </a:lnTo>
                <a:lnTo>
                  <a:pt x="396" y="326"/>
                </a:lnTo>
                <a:lnTo>
                  <a:pt x="396" y="320"/>
                </a:lnTo>
                <a:lnTo>
                  <a:pt x="396" y="320"/>
                </a:lnTo>
                <a:close/>
                <a:moveTo>
                  <a:pt x="398" y="268"/>
                </a:moveTo>
                <a:lnTo>
                  <a:pt x="398" y="268"/>
                </a:lnTo>
                <a:lnTo>
                  <a:pt x="408" y="276"/>
                </a:lnTo>
                <a:lnTo>
                  <a:pt x="418" y="288"/>
                </a:lnTo>
                <a:lnTo>
                  <a:pt x="424" y="300"/>
                </a:lnTo>
                <a:lnTo>
                  <a:pt x="428" y="312"/>
                </a:lnTo>
                <a:lnTo>
                  <a:pt x="430" y="326"/>
                </a:lnTo>
                <a:lnTo>
                  <a:pt x="430" y="340"/>
                </a:lnTo>
                <a:lnTo>
                  <a:pt x="426" y="354"/>
                </a:lnTo>
                <a:lnTo>
                  <a:pt x="418" y="366"/>
                </a:lnTo>
                <a:lnTo>
                  <a:pt x="418" y="366"/>
                </a:lnTo>
                <a:lnTo>
                  <a:pt x="410" y="378"/>
                </a:lnTo>
                <a:lnTo>
                  <a:pt x="398" y="388"/>
                </a:lnTo>
                <a:lnTo>
                  <a:pt x="386" y="394"/>
                </a:lnTo>
                <a:lnTo>
                  <a:pt x="374" y="398"/>
                </a:lnTo>
                <a:lnTo>
                  <a:pt x="360" y="400"/>
                </a:lnTo>
                <a:lnTo>
                  <a:pt x="346" y="398"/>
                </a:lnTo>
                <a:lnTo>
                  <a:pt x="332" y="394"/>
                </a:lnTo>
                <a:lnTo>
                  <a:pt x="318" y="388"/>
                </a:lnTo>
                <a:lnTo>
                  <a:pt x="318" y="388"/>
                </a:lnTo>
                <a:lnTo>
                  <a:pt x="308" y="378"/>
                </a:lnTo>
                <a:lnTo>
                  <a:pt x="298" y="368"/>
                </a:lnTo>
                <a:lnTo>
                  <a:pt x="292" y="356"/>
                </a:lnTo>
                <a:lnTo>
                  <a:pt x="288" y="342"/>
                </a:lnTo>
                <a:lnTo>
                  <a:pt x="286" y="328"/>
                </a:lnTo>
                <a:lnTo>
                  <a:pt x="288" y="314"/>
                </a:lnTo>
                <a:lnTo>
                  <a:pt x="292" y="302"/>
                </a:lnTo>
                <a:lnTo>
                  <a:pt x="298" y="288"/>
                </a:lnTo>
                <a:lnTo>
                  <a:pt x="298" y="288"/>
                </a:lnTo>
                <a:lnTo>
                  <a:pt x="308" y="276"/>
                </a:lnTo>
                <a:lnTo>
                  <a:pt x="318" y="268"/>
                </a:lnTo>
                <a:lnTo>
                  <a:pt x="330" y="262"/>
                </a:lnTo>
                <a:lnTo>
                  <a:pt x="344" y="256"/>
                </a:lnTo>
                <a:lnTo>
                  <a:pt x="358" y="256"/>
                </a:lnTo>
                <a:lnTo>
                  <a:pt x="370" y="256"/>
                </a:lnTo>
                <a:lnTo>
                  <a:pt x="384" y="260"/>
                </a:lnTo>
                <a:lnTo>
                  <a:pt x="398" y="268"/>
                </a:lnTo>
                <a:lnTo>
                  <a:pt x="398" y="268"/>
                </a:lnTo>
                <a:close/>
              </a:path>
            </a:pathLst>
          </a:custGeom>
          <a:solidFill>
            <a:srgbClr val="2DC2EA"/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1799" dirty="0">
              <a:solidFill>
                <a:srgbClr val="2DC2EA"/>
              </a:solidFill>
              <a:latin typeface="Arial" panose="020B0604020202020204" pitchFamily="34" charset="0"/>
            </a:endParaRPr>
          </a:p>
        </p:txBody>
      </p:sp>
      <p:sp>
        <p:nvSpPr>
          <p:cNvPr id="113" name="文本框 112">
            <a:extLst>
              <a:ext uri="{FF2B5EF4-FFF2-40B4-BE49-F238E27FC236}">
                <a16:creationId xmlns="" xmlns:a16="http://schemas.microsoft.com/office/drawing/2014/main" id="{501F8FAF-03BE-4839-8E99-0C870F00FC49}"/>
              </a:ext>
            </a:extLst>
          </p:cNvPr>
          <p:cNvSpPr txBox="1"/>
          <p:nvPr/>
        </p:nvSpPr>
        <p:spPr>
          <a:xfrm>
            <a:off x="9427865" y="3488328"/>
            <a:ext cx="1900522" cy="369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igh bandwidth and low latency</a:t>
            </a:r>
            <a:endParaRPr lang="en-US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4" name="文本框 113">
            <a:extLst>
              <a:ext uri="{FF2B5EF4-FFF2-40B4-BE49-F238E27FC236}">
                <a16:creationId xmlns="" xmlns:a16="http://schemas.microsoft.com/office/drawing/2014/main" id="{AD1F7162-BF18-41EE-BD1B-DA2C76EA8732}"/>
              </a:ext>
            </a:extLst>
          </p:cNvPr>
          <p:cNvSpPr txBox="1"/>
          <p:nvPr/>
        </p:nvSpPr>
        <p:spPr>
          <a:xfrm>
            <a:off x="9427865" y="4764825"/>
            <a:ext cx="2035265" cy="369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1</a:t>
            </a:r>
            <a:r>
              <a:rPr lang="en-US" sz="16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million-level data modeling</a:t>
            </a:r>
            <a:endParaRPr lang="en-US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5" name="文本框 114">
            <a:extLst>
              <a:ext uri="{FF2B5EF4-FFF2-40B4-BE49-F238E27FC236}">
                <a16:creationId xmlns="" xmlns:a16="http://schemas.microsoft.com/office/drawing/2014/main" id="{91C534B6-DE9F-4BB5-9B9C-2DE58CDCCAD3}"/>
              </a:ext>
            </a:extLst>
          </p:cNvPr>
          <p:cNvSpPr txBox="1"/>
          <p:nvPr/>
        </p:nvSpPr>
        <p:spPr>
          <a:xfrm>
            <a:off x="9427864" y="2080019"/>
            <a:ext cx="1828399" cy="369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pen, flexible, and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ecure</a:t>
            </a:r>
            <a:endParaRPr lang="en-US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="" xmlns:a16="http://schemas.microsoft.com/office/drawing/2014/main" id="{5C461D2D-E361-4566-AB96-11FC88EDBD05}"/>
              </a:ext>
            </a:extLst>
          </p:cNvPr>
          <p:cNvGrpSpPr/>
          <p:nvPr/>
        </p:nvGrpSpPr>
        <p:grpSpPr>
          <a:xfrm>
            <a:off x="4209999" y="1193458"/>
            <a:ext cx="2391737" cy="720930"/>
            <a:chOff x="4211095" y="1193670"/>
            <a:chExt cx="2392360" cy="721118"/>
          </a:xfrm>
        </p:grpSpPr>
        <p:sp>
          <p:nvSpPr>
            <p:cNvPr id="69" name="文本框 68">
              <a:extLst>
                <a:ext uri="{FF2B5EF4-FFF2-40B4-BE49-F238E27FC236}">
                  <a16:creationId xmlns="" xmlns:a16="http://schemas.microsoft.com/office/drawing/2014/main" id="{5E007240-7E5F-4C7B-B14E-6B4A371152DD}"/>
                </a:ext>
              </a:extLst>
            </p:cNvPr>
            <p:cNvSpPr txBox="1"/>
            <p:nvPr/>
          </p:nvSpPr>
          <p:spPr>
            <a:xfrm>
              <a:off x="4749885" y="1193670"/>
              <a:ext cx="1853570" cy="30785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1219078" fontAlgn="ctr"/>
              <a:r>
                <a:rPr lang="en-US" sz="1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IoT Data </a:t>
              </a:r>
              <a:r>
                <a:rPr lang="en-US" sz="14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– </a:t>
              </a:r>
              <a:r>
                <a:rPr lang="en-US" sz="1400" dirty="0" smtClean="0">
                  <a:solidFill>
                    <a:srgbClr val="FFC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starry sky</a:t>
              </a:r>
              <a:endPara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grpSp>
          <p:nvGrpSpPr>
            <p:cNvPr id="80" name="组合 79">
              <a:extLst>
                <a:ext uri="{FF2B5EF4-FFF2-40B4-BE49-F238E27FC236}">
                  <a16:creationId xmlns="" xmlns:a16="http://schemas.microsoft.com/office/drawing/2014/main" id="{91D8D1DC-5794-48F4-A5AA-9009096A2EF5}"/>
                </a:ext>
              </a:extLst>
            </p:cNvPr>
            <p:cNvGrpSpPr/>
            <p:nvPr/>
          </p:nvGrpSpPr>
          <p:grpSpPr>
            <a:xfrm>
              <a:off x="4431350" y="1487988"/>
              <a:ext cx="1939493" cy="190718"/>
              <a:chOff x="4411942" y="5230487"/>
              <a:chExt cx="1939493" cy="190718"/>
            </a:xfrm>
          </p:grpSpPr>
          <p:cxnSp>
            <p:nvCxnSpPr>
              <p:cNvPr id="81" name="直接连接符 80">
                <a:extLst>
                  <a:ext uri="{FF2B5EF4-FFF2-40B4-BE49-F238E27FC236}">
                    <a16:creationId xmlns="" xmlns:a16="http://schemas.microsoft.com/office/drawing/2014/main" id="{FCDCB0A9-A5C5-47A7-8810-63A5E81F0C96}"/>
                  </a:ext>
                </a:extLst>
              </p:cNvPr>
              <p:cNvCxnSpPr/>
              <p:nvPr/>
            </p:nvCxnSpPr>
            <p:spPr>
              <a:xfrm flipV="1">
                <a:off x="4411942" y="5230487"/>
                <a:ext cx="232613" cy="19071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>
                <a:extLst>
                  <a:ext uri="{FF2B5EF4-FFF2-40B4-BE49-F238E27FC236}">
                    <a16:creationId xmlns="" xmlns:a16="http://schemas.microsoft.com/office/drawing/2014/main" id="{9179A536-C7D0-497A-B775-3E2B812B185E}"/>
                  </a:ext>
                </a:extLst>
              </p:cNvPr>
              <p:cNvCxnSpPr/>
              <p:nvPr/>
            </p:nvCxnSpPr>
            <p:spPr>
              <a:xfrm>
                <a:off x="4644555" y="5230487"/>
                <a:ext cx="170688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组合 115">
              <a:extLst>
                <a:ext uri="{FF2B5EF4-FFF2-40B4-BE49-F238E27FC236}">
                  <a16:creationId xmlns="" xmlns:a16="http://schemas.microsoft.com/office/drawing/2014/main" id="{C45AA877-2434-4292-AD3F-CA76C4F0A89B}"/>
                </a:ext>
              </a:extLst>
            </p:cNvPr>
            <p:cNvGrpSpPr/>
            <p:nvPr/>
          </p:nvGrpSpPr>
          <p:grpSpPr>
            <a:xfrm>
              <a:off x="4211095" y="1612472"/>
              <a:ext cx="302316" cy="302316"/>
              <a:chOff x="871541" y="3827881"/>
              <a:chExt cx="972000" cy="972000"/>
            </a:xfrm>
          </p:grpSpPr>
          <p:sp>
            <p:nvSpPr>
              <p:cNvPr id="117" name="椭圆 116">
                <a:extLst>
                  <a:ext uri="{FF2B5EF4-FFF2-40B4-BE49-F238E27FC236}">
                    <a16:creationId xmlns="" xmlns:a16="http://schemas.microsoft.com/office/drawing/2014/main" id="{8CAF6C10-5C66-48A2-BF5C-C89FDF1AE790}"/>
                  </a:ext>
                </a:extLst>
              </p:cNvPr>
              <p:cNvSpPr/>
              <p:nvPr/>
            </p:nvSpPr>
            <p:spPr>
              <a:xfrm>
                <a:off x="871541" y="3827881"/>
                <a:ext cx="972000" cy="972000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8" name="椭圆 117">
                <a:extLst>
                  <a:ext uri="{FF2B5EF4-FFF2-40B4-BE49-F238E27FC236}">
                    <a16:creationId xmlns="" xmlns:a16="http://schemas.microsoft.com/office/drawing/2014/main" id="{04BCA520-2643-416B-BD30-BE38E58F3A6A}"/>
                  </a:ext>
                </a:extLst>
              </p:cNvPr>
              <p:cNvSpPr/>
              <p:nvPr/>
            </p:nvSpPr>
            <p:spPr>
              <a:xfrm>
                <a:off x="970505" y="3917879"/>
                <a:ext cx="792000" cy="792000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9078" fontAlgn="ctr"/>
                <a:endParaRPr lang="en-US" altLang="zh-CN" sz="23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3338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10" descr="E:\01 日常工作\04 展厅相关设计\2016年\CEBIT 2016\PPT优化项目\阎总PPT\20副本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-3075"/>
            <a:ext cx="12192000" cy="686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标题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49316" y="2703608"/>
            <a:ext cx="6317244" cy="1450882"/>
          </a:xfrm>
          <a:prstGeom prst="rect">
            <a:avLst/>
          </a:prstGeom>
        </p:spPr>
        <p:txBody>
          <a:bodyPr wrap="square" lIns="47992" tIns="47992" rIns="47992" bIns="47992">
            <a:no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225" fontAlgn="ctr">
              <a:spcBef>
                <a:spcPct val="0"/>
              </a:spcBef>
            </a:pPr>
            <a:r>
              <a:rPr lang="en-US" sz="4399" dirty="0" smtClean="0">
                <a:solidFill>
                  <a:prstClr val="white"/>
                </a:solidFill>
                <a:latin typeface="Arial" panose="020B0604020202020204" pitchFamily="34" charset="0"/>
              </a:rPr>
              <a:t>Huawei's Strategic Vision and Value</a:t>
            </a:r>
            <a:endParaRPr lang="en-US" sz="4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03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2AE40C19-B7D7-40DE-84C6-1846E95A91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1" b="13235"/>
          <a:stretch/>
        </p:blipFill>
        <p:spPr>
          <a:xfrm>
            <a:off x="0" y="560744"/>
            <a:ext cx="12192000" cy="6295570"/>
          </a:xfrm>
          <a:prstGeom prst="rect">
            <a:avLst/>
          </a:prstGeom>
        </p:spPr>
      </p:pic>
      <p:sp>
        <p:nvSpPr>
          <p:cNvPr id="28" name="矩形 27">
            <a:extLst>
              <a:ext uri="{FF2B5EF4-FFF2-40B4-BE49-F238E27FC236}">
                <a16:creationId xmlns="" xmlns:a16="http://schemas.microsoft.com/office/drawing/2014/main" id="{D3AA4054-F7BD-437E-8B99-57D3C984BCDF}"/>
              </a:ext>
            </a:extLst>
          </p:cNvPr>
          <p:cNvSpPr/>
          <p:nvPr/>
        </p:nvSpPr>
        <p:spPr>
          <a:xfrm>
            <a:off x="0" y="99"/>
            <a:ext cx="12190412" cy="6856215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</a:srgbClr>
              </a:gs>
              <a:gs pos="52000">
                <a:srgbClr val="1F497D">
                  <a:lumMod val="50000"/>
                  <a:alpha val="70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="" xmlns:a16="http://schemas.microsoft.com/office/drawing/2014/main" id="{2B1B9510-8C5D-4668-B7DC-5E04A187E871}"/>
              </a:ext>
            </a:extLst>
          </p:cNvPr>
          <p:cNvGrpSpPr/>
          <p:nvPr/>
        </p:nvGrpSpPr>
        <p:grpSpPr>
          <a:xfrm>
            <a:off x="1608272" y="3612001"/>
            <a:ext cx="8975456" cy="2253970"/>
            <a:chOff x="1608690" y="3612842"/>
            <a:chExt cx="8977793" cy="2254557"/>
          </a:xfrm>
        </p:grpSpPr>
        <p:grpSp>
          <p:nvGrpSpPr>
            <p:cNvPr id="32" name="组合 238">
              <a:extLst>
                <a:ext uri="{FF2B5EF4-FFF2-40B4-BE49-F238E27FC236}">
                  <a16:creationId xmlns="" xmlns:a16="http://schemas.microsoft.com/office/drawing/2014/main" id="{B5097823-9025-41D9-A25F-D9F13E5DAAD8}"/>
                </a:ext>
              </a:extLst>
            </p:cNvPr>
            <p:cNvGrpSpPr/>
            <p:nvPr/>
          </p:nvGrpSpPr>
          <p:grpSpPr>
            <a:xfrm rot="16200000">
              <a:off x="5925331" y="-703799"/>
              <a:ext cx="344512" cy="8977793"/>
              <a:chOff x="9411865" y="1728714"/>
              <a:chExt cx="2320082" cy="3789221"/>
            </a:xfrm>
          </p:grpSpPr>
          <p:sp>
            <p:nvSpPr>
              <p:cNvPr id="52" name="Freeform 23">
                <a:extLst>
                  <a:ext uri="{FF2B5EF4-FFF2-40B4-BE49-F238E27FC236}">
                    <a16:creationId xmlns="" xmlns:a16="http://schemas.microsoft.com/office/drawing/2014/main" id="{F95B44AA-B85C-41AC-9886-C348A5713E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1865" y="1728716"/>
                <a:ext cx="2320082" cy="3788277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0 w 10000"/>
                  <a:gd name="connsiteY1" fmla="*/ 10000 h 10000"/>
                  <a:gd name="connsiteX2" fmla="*/ 9162 w 10000"/>
                  <a:gd name="connsiteY2" fmla="*/ 8981 h 10000"/>
                  <a:gd name="connsiteX3" fmla="*/ 10000 w 10000"/>
                  <a:gd name="connsiteY3" fmla="*/ 614 h 10000"/>
                  <a:gd name="connsiteX4" fmla="*/ 0 w 10000"/>
                  <a:gd name="connsiteY4" fmla="*/ 0 h 10000"/>
                  <a:gd name="connsiteX0" fmla="*/ 0 w 10000"/>
                  <a:gd name="connsiteY0" fmla="*/ 0 h 10000"/>
                  <a:gd name="connsiteX1" fmla="*/ 0 w 10000"/>
                  <a:gd name="connsiteY1" fmla="*/ 10000 h 10000"/>
                  <a:gd name="connsiteX2" fmla="*/ 9535 w 10000"/>
                  <a:gd name="connsiteY2" fmla="*/ 9210 h 10000"/>
                  <a:gd name="connsiteX3" fmla="*/ 10000 w 10000"/>
                  <a:gd name="connsiteY3" fmla="*/ 614 h 10000"/>
                  <a:gd name="connsiteX4" fmla="*/ 0 w 10000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0" y="0"/>
                    </a:moveTo>
                    <a:lnTo>
                      <a:pt x="0" y="10000"/>
                    </a:lnTo>
                    <a:lnTo>
                      <a:pt x="9535" y="9210"/>
                    </a:lnTo>
                    <a:cubicBezTo>
                      <a:pt x="9814" y="6421"/>
                      <a:pt x="9721" y="3403"/>
                      <a:pt x="10000" y="614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05" tIns="45701" rIns="91405" bIns="4570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indent="-239939" defTabSz="1219078" fontAlgn="ctr">
                  <a:lnSpc>
                    <a:spcPts val="3732"/>
                  </a:lnSpc>
                  <a:buFont typeface="Arial" pitchFamily="34" charset="0"/>
                  <a:buChar char="•"/>
                  <a:defRPr/>
                </a:pPr>
                <a:endParaRPr lang="en-US" altLang="zh-CN" sz="1799" kern="0" dirty="0">
                  <a:solidFill>
                    <a:sysClr val="windowText" lastClr="000000"/>
                  </a:solidFill>
                  <a:latin typeface="Arial" panose="020B0604020202020204" pitchFamily="34" charset="0"/>
                  <a:sym typeface="Arial" pitchFamily="34" charset="0"/>
                </a:endParaRPr>
              </a:p>
            </p:txBody>
          </p:sp>
          <p:cxnSp>
            <p:nvCxnSpPr>
              <p:cNvPr id="55" name="直接连接符 54">
                <a:extLst>
                  <a:ext uri="{FF2B5EF4-FFF2-40B4-BE49-F238E27FC236}">
                    <a16:creationId xmlns="" xmlns:a16="http://schemas.microsoft.com/office/drawing/2014/main" id="{AEC70EFD-090E-4D77-A1DA-AEE6AAD5A5D2}"/>
                  </a:ext>
                </a:extLst>
              </p:cNvPr>
              <p:cNvCxnSpPr/>
              <p:nvPr/>
            </p:nvCxnSpPr>
            <p:spPr>
              <a:xfrm rot="5400000">
                <a:off x="7541589" y="3622961"/>
                <a:ext cx="3789221" cy="728"/>
              </a:xfrm>
              <a:prstGeom prst="line">
                <a:avLst/>
              </a:prstGeom>
              <a:noFill/>
              <a:ln w="19050" cap="flat" cmpd="sng" algn="ctr">
                <a:solidFill>
                  <a:srgbClr val="43CEFF"/>
                </a:solidFill>
                <a:prstDash val="solid"/>
              </a:ln>
              <a:effectLst/>
            </p:spPr>
          </p:cxnSp>
        </p:grpSp>
        <p:grpSp>
          <p:nvGrpSpPr>
            <p:cNvPr id="35" name="组合 41">
              <a:extLst>
                <a:ext uri="{FF2B5EF4-FFF2-40B4-BE49-F238E27FC236}">
                  <a16:creationId xmlns="" xmlns:a16="http://schemas.microsoft.com/office/drawing/2014/main" id="{E0F7DA4C-5784-42CC-9463-A12F59117DA0}"/>
                </a:ext>
              </a:extLst>
            </p:cNvPr>
            <p:cNvGrpSpPr/>
            <p:nvPr/>
          </p:nvGrpSpPr>
          <p:grpSpPr>
            <a:xfrm>
              <a:off x="1623689" y="4014586"/>
              <a:ext cx="8947797" cy="1852813"/>
              <a:chOff x="13131782" y="4990646"/>
              <a:chExt cx="12728592" cy="1000806"/>
            </a:xfrm>
          </p:grpSpPr>
          <p:sp>
            <p:nvSpPr>
              <p:cNvPr id="47" name="矩形 2">
                <a:extLst>
                  <a:ext uri="{FF2B5EF4-FFF2-40B4-BE49-F238E27FC236}">
                    <a16:creationId xmlns="" xmlns:a16="http://schemas.microsoft.com/office/drawing/2014/main" id="{C7D6D195-10AC-4A5B-BA8A-891E0E893EBD}"/>
                  </a:ext>
                </a:extLst>
              </p:cNvPr>
              <p:cNvSpPr/>
              <p:nvPr/>
            </p:nvSpPr>
            <p:spPr bwMode="auto">
              <a:xfrm>
                <a:off x="13131783" y="4990646"/>
                <a:ext cx="12728591" cy="838654"/>
              </a:xfrm>
              <a:prstGeom prst="rect">
                <a:avLst/>
              </a:prstGeom>
              <a:gradFill>
                <a:gsLst>
                  <a:gs pos="0">
                    <a:srgbClr val="008BBC">
                      <a:alpha val="20000"/>
                    </a:srgbClr>
                  </a:gs>
                  <a:gs pos="100000">
                    <a:srgbClr val="0070C0">
                      <a:alpha val="0"/>
                    </a:srgbClr>
                  </a:gs>
                </a:gsLst>
                <a:lin ang="540000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13" tIns="45707" rIns="91413" bIns="45707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lvl="4" indent="-239939" algn="ctr" defTabSz="236426" fontAlgn="ctr">
                  <a:lnSpc>
                    <a:spcPts val="3732"/>
                  </a:lnSpc>
                  <a:spcBef>
                    <a:spcPts val="1134"/>
                  </a:spcBef>
                  <a:buClr>
                    <a:srgbClr val="CC9900"/>
                  </a:buClr>
                  <a:buSzPct val="100000"/>
                  <a:buFont typeface="Wingdings" pitchFamily="2" charset="2"/>
                  <a:buChar char="n"/>
                  <a:defRPr/>
                </a:pPr>
                <a:endParaRPr lang="en-US" altLang="zh-CN" sz="800" kern="0" dirty="0">
                  <a:solidFill>
                    <a:sysClr val="window" lastClr="FFFFFF"/>
                  </a:solidFill>
                  <a:effectLst>
                    <a:outerShdw blurRad="50800" dist="50800" dir="5400000" algn="ctr" rotWithShape="0">
                      <a:srgbClr val="0070C0">
                        <a:alpha val="0"/>
                      </a:srgbClr>
                    </a:outerShdw>
                  </a:effectLst>
                  <a:latin typeface="Arial" panose="020B0604020202020204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48" name="矩形 47">
                <a:extLst>
                  <a:ext uri="{FF2B5EF4-FFF2-40B4-BE49-F238E27FC236}">
                    <a16:creationId xmlns="" xmlns:a16="http://schemas.microsoft.com/office/drawing/2014/main" id="{21C1F6D3-2BCC-46EC-900D-28A6894B9A32}"/>
                  </a:ext>
                </a:extLst>
              </p:cNvPr>
              <p:cNvSpPr/>
              <p:nvPr/>
            </p:nvSpPr>
            <p:spPr bwMode="auto">
              <a:xfrm rot="10800000">
                <a:off x="13131782" y="5657850"/>
                <a:ext cx="12728591" cy="333602"/>
              </a:xfrm>
              <a:prstGeom prst="rect">
                <a:avLst/>
              </a:prstGeom>
              <a:gradFill>
                <a:gsLst>
                  <a:gs pos="0">
                    <a:srgbClr val="008BBC">
                      <a:alpha val="20000"/>
                    </a:srgbClr>
                  </a:gs>
                  <a:gs pos="100000">
                    <a:srgbClr val="0070C0">
                      <a:alpha val="0"/>
                    </a:srgbClr>
                  </a:gs>
                </a:gsLst>
                <a:lin ang="540000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13" tIns="45707" rIns="91413" bIns="45707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lvl="4" indent="-239939" algn="ctr" defTabSz="236426" fontAlgn="ctr">
                  <a:lnSpc>
                    <a:spcPts val="3732"/>
                  </a:lnSpc>
                  <a:spcBef>
                    <a:spcPts val="1134"/>
                  </a:spcBef>
                  <a:buClr>
                    <a:srgbClr val="CC9900"/>
                  </a:buClr>
                  <a:buSzPct val="100000"/>
                  <a:buFont typeface="Wingdings" pitchFamily="2" charset="2"/>
                  <a:buChar char="n"/>
                  <a:defRPr/>
                </a:pPr>
                <a:endParaRPr lang="en-US" altLang="zh-CN" sz="800" kern="0" dirty="0">
                  <a:solidFill>
                    <a:sysClr val="window" lastClr="FFFFFF"/>
                  </a:solidFill>
                  <a:effectLst>
                    <a:outerShdw blurRad="50800" dist="50800" dir="5400000" algn="ctr" rotWithShape="0">
                      <a:srgbClr val="0070C0">
                        <a:alpha val="0"/>
                      </a:srgbClr>
                    </a:outerShdw>
                  </a:effectLst>
                  <a:latin typeface="Arial" panose="020B0604020202020204" pitchFamily="34" charset="0"/>
                  <a:cs typeface="Arial" pitchFamily="34" charset="0"/>
                  <a:sym typeface="Arial"/>
                </a:endParaRPr>
              </a:p>
            </p:txBody>
          </p:sp>
        </p:grpSp>
        <p:grpSp>
          <p:nvGrpSpPr>
            <p:cNvPr id="4" name="组合 3">
              <a:extLst>
                <a:ext uri="{FF2B5EF4-FFF2-40B4-BE49-F238E27FC236}">
                  <a16:creationId xmlns="" xmlns:a16="http://schemas.microsoft.com/office/drawing/2014/main" id="{EF683DCB-FF6F-4A0A-BD9F-D58BAAB8C134}"/>
                </a:ext>
              </a:extLst>
            </p:cNvPr>
            <p:cNvGrpSpPr/>
            <p:nvPr/>
          </p:nvGrpSpPr>
          <p:grpSpPr>
            <a:xfrm>
              <a:off x="1817265" y="4071258"/>
              <a:ext cx="8560645" cy="1628501"/>
              <a:chOff x="1879608" y="4071258"/>
              <a:chExt cx="8560645" cy="1628501"/>
            </a:xfrm>
          </p:grpSpPr>
          <p:sp>
            <p:nvSpPr>
              <p:cNvPr id="68" name="矩形 67">
                <a:extLst>
                  <a:ext uri="{FF2B5EF4-FFF2-40B4-BE49-F238E27FC236}">
                    <a16:creationId xmlns="" xmlns:a16="http://schemas.microsoft.com/office/drawing/2014/main" id="{24A8A9EF-ECD0-4805-9169-E8988B675760}"/>
                  </a:ext>
                </a:extLst>
              </p:cNvPr>
              <p:cNvSpPr/>
              <p:nvPr/>
            </p:nvSpPr>
            <p:spPr bwMode="auto">
              <a:xfrm>
                <a:off x="1879608" y="4071258"/>
                <a:ext cx="3945254" cy="1628501"/>
              </a:xfrm>
              <a:prstGeom prst="rect">
                <a:avLst/>
              </a:pr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9600000" scaled="0"/>
              </a:gradFill>
              <a:ln w="9525">
                <a:gradFill>
                  <a:gsLst>
                    <a:gs pos="0">
                      <a:srgbClr val="002060">
                        <a:alpha val="47000"/>
                      </a:srgbClr>
                    </a:gs>
                    <a:gs pos="50000">
                      <a:schemeClr val="accent1">
                        <a:tint val="44500"/>
                        <a:satMod val="160000"/>
                        <a:alpha val="37000"/>
                      </a:schemeClr>
                    </a:gs>
                    <a:gs pos="100000">
                      <a:srgbClr val="002060">
                        <a:alpha val="37000"/>
                      </a:srgbClr>
                    </a:gs>
                  </a:gsLst>
                  <a:lin ang="5400000" scaled="0"/>
                </a:gradFill>
                <a:miter lim="800000"/>
                <a:headEnd/>
                <a:tailEnd/>
              </a:ln>
              <a:extLst/>
            </p:spPr>
            <p:txBody>
  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1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69" name="矩形 68">
                <a:extLst>
                  <a:ext uri="{FF2B5EF4-FFF2-40B4-BE49-F238E27FC236}">
                    <a16:creationId xmlns="" xmlns:a16="http://schemas.microsoft.com/office/drawing/2014/main" id="{A573DE16-3A63-4666-A14C-6FCC724D397A}"/>
                  </a:ext>
                </a:extLst>
              </p:cNvPr>
              <p:cNvSpPr/>
              <p:nvPr/>
            </p:nvSpPr>
            <p:spPr bwMode="auto">
              <a:xfrm>
                <a:off x="6494999" y="4071258"/>
                <a:ext cx="3945254" cy="1628501"/>
              </a:xfrm>
              <a:prstGeom prst="rect">
                <a:avLst/>
              </a:pr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9600000" scaled="0"/>
              </a:gradFill>
              <a:ln w="9525">
                <a:gradFill>
                  <a:gsLst>
                    <a:gs pos="0">
                      <a:srgbClr val="002060">
                        <a:alpha val="47000"/>
                      </a:srgbClr>
                    </a:gs>
                    <a:gs pos="50000">
                      <a:schemeClr val="accent1">
                        <a:tint val="44500"/>
                        <a:satMod val="160000"/>
                        <a:alpha val="37000"/>
                      </a:schemeClr>
                    </a:gs>
                    <a:gs pos="100000">
                      <a:srgbClr val="002060">
                        <a:alpha val="37000"/>
                      </a:srgbClr>
                    </a:gs>
                  </a:gsLst>
                  <a:lin ang="5400000" scaled="0"/>
                </a:gradFill>
                <a:miter lim="800000"/>
                <a:headEnd/>
                <a:tailEnd/>
              </a:ln>
              <a:extLst/>
            </p:spPr>
            <p:txBody>
    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1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29" name="标题 1">
            <a:extLst>
              <a:ext uri="{FF2B5EF4-FFF2-40B4-BE49-F238E27FC236}">
                <a16:creationId xmlns="" xmlns:a16="http://schemas.microsoft.com/office/drawing/2014/main" id="{0A6CF393-099F-4FFF-8BAE-1E9DF2032C7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4441" y="447673"/>
            <a:ext cx="11096589" cy="745741"/>
          </a:xfrm>
          <a:prstGeom prst="rect">
            <a:avLst/>
          </a:prstGeom>
        </p:spPr>
        <p:txBody>
          <a:bodyPr vert="horz" wrap="square" lIns="91413" tIns="45707" rIns="91413" bIns="45707" rtlCol="0" anchor="ctr">
            <a:noAutofit/>
          </a:bodyPr>
          <a:lstStyle/>
          <a:p>
            <a:pPr defTabSz="1170322" eaLnBrk="0" fontAlgn="ctr" hangingPunct="0">
              <a:spcBef>
                <a:spcPct val="0"/>
              </a:spcBef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uawei Smart City Strategic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Vision: Platform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+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cosystem, Build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etter Smart Cities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="" xmlns:a16="http://schemas.microsoft.com/office/drawing/2014/main" id="{512E802F-9A68-4170-BF21-3D0FA6A0EE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193854" y="1628185"/>
            <a:ext cx="7681666" cy="549603"/>
          </a:xfrm>
          <a:prstGeom prst="rect">
            <a:avLst/>
          </a:prstGeom>
          <a:noFill/>
        </p:spPr>
        <p:txBody>
          <a:bodyPr wrap="square" lIns="91432" tIns="45716" rIns="91432" bIns="71979" rtlCol="0">
            <a:noAutofit/>
          </a:bodyPr>
          <a:lstStyle/>
          <a:p>
            <a:pPr algn="ctr" defTabSz="685548" fontAlgn="ctr">
              <a:spcAft>
                <a:spcPts val="449"/>
              </a:spcAft>
              <a:defRPr/>
            </a:pPr>
            <a:r>
              <a:rPr lang="en-US" sz="2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Focus on customer requirements and provide a holistic set of Smart City solution.</a:t>
            </a:r>
            <a:endParaRPr lang="en-US" sz="2799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="" xmlns:a16="http://schemas.microsoft.com/office/drawing/2014/main" id="{0FF1AA29-CF81-42B4-B4EC-C66A7EDD83C6}"/>
              </a:ext>
            </a:extLst>
          </p:cNvPr>
          <p:cNvGrpSpPr/>
          <p:nvPr/>
        </p:nvGrpSpPr>
        <p:grpSpPr>
          <a:xfrm>
            <a:off x="1907079" y="4414158"/>
            <a:ext cx="991583" cy="991583"/>
            <a:chOff x="2111865" y="4415208"/>
            <a:chExt cx="991841" cy="991841"/>
          </a:xfrm>
        </p:grpSpPr>
        <p:sp>
          <p:nvSpPr>
            <p:cNvPr id="37" name="椭圆 36">
              <a:extLst>
                <a:ext uri="{FF2B5EF4-FFF2-40B4-BE49-F238E27FC236}">
                  <a16:creationId xmlns="" xmlns:a16="http://schemas.microsoft.com/office/drawing/2014/main" id="{29B1FAFD-C7C5-483D-A6FD-98D5C8C87A15}"/>
                </a:ext>
              </a:extLst>
            </p:cNvPr>
            <p:cNvSpPr/>
            <p:nvPr/>
          </p:nvSpPr>
          <p:spPr bwMode="auto">
            <a:xfrm>
              <a:off x="2111865" y="4415208"/>
              <a:ext cx="991841" cy="991841"/>
            </a:xfrm>
            <a:prstGeom prst="ellipse">
              <a:avLst/>
            </a:prstGeom>
            <a:gradFill flip="none" rotWithShape="1">
              <a:gsLst>
                <a:gs pos="0">
                  <a:srgbClr val="00B0F0">
                    <a:alpha val="24000"/>
                  </a:srgbClr>
                </a:gs>
                <a:gs pos="21000">
                  <a:srgbClr val="00B0F0">
                    <a:alpha val="50000"/>
                  </a:srgbClr>
                </a:gs>
                <a:gs pos="44000">
                  <a:srgbClr val="00B0F0">
                    <a:alpha val="39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solidFill>
                <a:srgbClr val="6DA6D9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  <a:extLst/>
          </p:spPr>
          <p:txBody>
            <a:bodyPr wrap="square" rtlCol="0" anchor="ctr">
              <a:noAutofit/>
            </a:bodyPr>
            <a:lstStyle/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</p:txBody>
        </p:sp>
        <p:sp>
          <p:nvSpPr>
            <p:cNvPr id="39" name="508039104">
              <a:extLst>
                <a:ext uri="{FF2B5EF4-FFF2-40B4-BE49-F238E27FC236}">
                  <a16:creationId xmlns="" xmlns:a16="http://schemas.microsoft.com/office/drawing/2014/main" id="{1542522E-CB61-401D-A9DD-D4F18B95BB6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213409" y="4958661"/>
              <a:ext cx="803704" cy="134507"/>
            </a:xfrm>
            <a:custGeom>
              <a:avLst/>
              <a:gdLst>
                <a:gd name="T0" fmla="*/ 14496 w 16800"/>
                <a:gd name="T1" fmla="*/ 160 h 2720"/>
                <a:gd name="T2" fmla="*/ 15232 w 16800"/>
                <a:gd name="T3" fmla="*/ 416 h 2720"/>
                <a:gd name="T4" fmla="*/ 15488 w 16800"/>
                <a:gd name="T5" fmla="*/ 608 h 2720"/>
                <a:gd name="T6" fmla="*/ 15488 w 16800"/>
                <a:gd name="T7" fmla="*/ 832 h 2720"/>
                <a:gd name="T8" fmla="*/ 15200 w 16800"/>
                <a:gd name="T9" fmla="*/ 1088 h 2720"/>
                <a:gd name="T10" fmla="*/ 14656 w 16800"/>
                <a:gd name="T11" fmla="*/ 1312 h 2720"/>
                <a:gd name="T12" fmla="*/ 13376 w 16800"/>
                <a:gd name="T13" fmla="*/ 1600 h 2720"/>
                <a:gd name="T14" fmla="*/ 11104 w 16800"/>
                <a:gd name="T15" fmla="*/ 1920 h 2720"/>
                <a:gd name="T16" fmla="*/ 8352 w 16800"/>
                <a:gd name="T17" fmla="*/ 2016 h 2720"/>
                <a:gd name="T18" fmla="*/ 5632 w 16800"/>
                <a:gd name="T19" fmla="*/ 1920 h 2720"/>
                <a:gd name="T20" fmla="*/ 3329 w 16800"/>
                <a:gd name="T21" fmla="*/ 1600 h 2720"/>
                <a:gd name="T22" fmla="*/ 2080 w 16800"/>
                <a:gd name="T23" fmla="*/ 1312 h 2720"/>
                <a:gd name="T24" fmla="*/ 1536 w 16800"/>
                <a:gd name="T25" fmla="*/ 1088 h 2720"/>
                <a:gd name="T26" fmla="*/ 1216 w 16800"/>
                <a:gd name="T27" fmla="*/ 832 h 2720"/>
                <a:gd name="T28" fmla="*/ 1216 w 16800"/>
                <a:gd name="T29" fmla="*/ 640 h 2720"/>
                <a:gd name="T30" fmla="*/ 1472 w 16800"/>
                <a:gd name="T31" fmla="*/ 448 h 2720"/>
                <a:gd name="T32" fmla="*/ 2144 w 16800"/>
                <a:gd name="T33" fmla="*/ 192 h 2720"/>
                <a:gd name="T34" fmla="*/ 2112 w 16800"/>
                <a:gd name="T35" fmla="*/ 160 h 2720"/>
                <a:gd name="T36" fmla="*/ 1120 w 16800"/>
                <a:gd name="T37" fmla="*/ 416 h 2720"/>
                <a:gd name="T38" fmla="*/ 416 w 16800"/>
                <a:gd name="T39" fmla="*/ 704 h 2720"/>
                <a:gd name="T40" fmla="*/ 32 w 16800"/>
                <a:gd name="T41" fmla="*/ 1024 h 2720"/>
                <a:gd name="T42" fmla="*/ 0 w 16800"/>
                <a:gd name="T43" fmla="*/ 1184 h 2720"/>
                <a:gd name="T44" fmla="*/ 32 w 16800"/>
                <a:gd name="T45" fmla="*/ 1344 h 2720"/>
                <a:gd name="T46" fmla="*/ 352 w 16800"/>
                <a:gd name="T47" fmla="*/ 1664 h 2720"/>
                <a:gd name="T48" fmla="*/ 992 w 16800"/>
                <a:gd name="T49" fmla="*/ 1920 h 2720"/>
                <a:gd name="T50" fmla="*/ 1920 w 16800"/>
                <a:gd name="T51" fmla="*/ 2176 h 2720"/>
                <a:gd name="T52" fmla="*/ 3680 w 16800"/>
                <a:gd name="T53" fmla="*/ 2464 h 2720"/>
                <a:gd name="T54" fmla="*/ 6689 w 16800"/>
                <a:gd name="T55" fmla="*/ 2688 h 2720"/>
                <a:gd name="T56" fmla="*/ 10080 w 16800"/>
                <a:gd name="T57" fmla="*/ 2688 h 2720"/>
                <a:gd name="T58" fmla="*/ 13088 w 16800"/>
                <a:gd name="T59" fmla="*/ 2464 h 2720"/>
                <a:gd name="T60" fmla="*/ 14880 w 16800"/>
                <a:gd name="T61" fmla="*/ 2176 h 2720"/>
                <a:gd name="T62" fmla="*/ 15776 w 16800"/>
                <a:gd name="T63" fmla="*/ 1920 h 2720"/>
                <a:gd name="T64" fmla="*/ 16416 w 16800"/>
                <a:gd name="T65" fmla="*/ 1664 h 2720"/>
                <a:gd name="T66" fmla="*/ 16769 w 16800"/>
                <a:gd name="T67" fmla="*/ 1344 h 2720"/>
                <a:gd name="T68" fmla="*/ 16800 w 16800"/>
                <a:gd name="T69" fmla="*/ 1184 h 2720"/>
                <a:gd name="T70" fmla="*/ 16736 w 16800"/>
                <a:gd name="T71" fmla="*/ 1024 h 2720"/>
                <a:gd name="T72" fmla="*/ 16608 w 16800"/>
                <a:gd name="T73" fmla="*/ 832 h 2720"/>
                <a:gd name="T74" fmla="*/ 16000 w 16800"/>
                <a:gd name="T75" fmla="*/ 544 h 2720"/>
                <a:gd name="T76" fmla="*/ 15072 w 16800"/>
                <a:gd name="T77" fmla="*/ 256 h 2720"/>
                <a:gd name="T78" fmla="*/ 13856 w 16800"/>
                <a:gd name="T79" fmla="*/ 0 h 272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6800"/>
                <a:gd name="T121" fmla="*/ 0 h 2720"/>
                <a:gd name="T122" fmla="*/ 16800 w 16800"/>
                <a:gd name="T123" fmla="*/ 2720 h 272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6800" h="2720">
                  <a:moveTo>
                    <a:pt x="13856" y="0"/>
                  </a:moveTo>
                  <a:lnTo>
                    <a:pt x="14496" y="160"/>
                  </a:lnTo>
                  <a:lnTo>
                    <a:pt x="15040" y="352"/>
                  </a:lnTo>
                  <a:lnTo>
                    <a:pt x="15232" y="416"/>
                  </a:lnTo>
                  <a:lnTo>
                    <a:pt x="15392" y="512"/>
                  </a:lnTo>
                  <a:lnTo>
                    <a:pt x="15488" y="608"/>
                  </a:lnTo>
                  <a:lnTo>
                    <a:pt x="15520" y="704"/>
                  </a:lnTo>
                  <a:lnTo>
                    <a:pt x="15488" y="832"/>
                  </a:lnTo>
                  <a:lnTo>
                    <a:pt x="15392" y="960"/>
                  </a:lnTo>
                  <a:lnTo>
                    <a:pt x="15200" y="1088"/>
                  </a:lnTo>
                  <a:lnTo>
                    <a:pt x="14944" y="1184"/>
                  </a:lnTo>
                  <a:lnTo>
                    <a:pt x="14656" y="1312"/>
                  </a:lnTo>
                  <a:lnTo>
                    <a:pt x="14272" y="1409"/>
                  </a:lnTo>
                  <a:lnTo>
                    <a:pt x="13376" y="1600"/>
                  </a:lnTo>
                  <a:lnTo>
                    <a:pt x="12320" y="1792"/>
                  </a:lnTo>
                  <a:lnTo>
                    <a:pt x="11104" y="1920"/>
                  </a:lnTo>
                  <a:lnTo>
                    <a:pt x="9760" y="1984"/>
                  </a:lnTo>
                  <a:lnTo>
                    <a:pt x="8352" y="2016"/>
                  </a:lnTo>
                  <a:lnTo>
                    <a:pt x="6944" y="1984"/>
                  </a:lnTo>
                  <a:lnTo>
                    <a:pt x="5632" y="1920"/>
                  </a:lnTo>
                  <a:lnTo>
                    <a:pt x="4416" y="1792"/>
                  </a:lnTo>
                  <a:lnTo>
                    <a:pt x="3329" y="1600"/>
                  </a:lnTo>
                  <a:lnTo>
                    <a:pt x="2464" y="1409"/>
                  </a:lnTo>
                  <a:lnTo>
                    <a:pt x="2080" y="1312"/>
                  </a:lnTo>
                  <a:lnTo>
                    <a:pt x="1760" y="1184"/>
                  </a:lnTo>
                  <a:lnTo>
                    <a:pt x="1536" y="1088"/>
                  </a:lnTo>
                  <a:lnTo>
                    <a:pt x="1344" y="960"/>
                  </a:lnTo>
                  <a:lnTo>
                    <a:pt x="1216" y="832"/>
                  </a:lnTo>
                  <a:lnTo>
                    <a:pt x="1184" y="704"/>
                  </a:lnTo>
                  <a:lnTo>
                    <a:pt x="1216" y="640"/>
                  </a:lnTo>
                  <a:lnTo>
                    <a:pt x="1313" y="544"/>
                  </a:lnTo>
                  <a:lnTo>
                    <a:pt x="1472" y="448"/>
                  </a:lnTo>
                  <a:lnTo>
                    <a:pt x="1632" y="352"/>
                  </a:lnTo>
                  <a:lnTo>
                    <a:pt x="2144" y="192"/>
                  </a:lnTo>
                  <a:lnTo>
                    <a:pt x="2721" y="64"/>
                  </a:lnTo>
                  <a:lnTo>
                    <a:pt x="2112" y="160"/>
                  </a:lnTo>
                  <a:lnTo>
                    <a:pt x="1568" y="288"/>
                  </a:lnTo>
                  <a:lnTo>
                    <a:pt x="1120" y="416"/>
                  </a:lnTo>
                  <a:lnTo>
                    <a:pt x="704" y="544"/>
                  </a:lnTo>
                  <a:lnTo>
                    <a:pt x="416" y="704"/>
                  </a:lnTo>
                  <a:lnTo>
                    <a:pt x="160" y="864"/>
                  </a:lnTo>
                  <a:lnTo>
                    <a:pt x="32" y="1024"/>
                  </a:lnTo>
                  <a:lnTo>
                    <a:pt x="0" y="1088"/>
                  </a:lnTo>
                  <a:lnTo>
                    <a:pt x="0" y="1184"/>
                  </a:lnTo>
                  <a:lnTo>
                    <a:pt x="0" y="1280"/>
                  </a:lnTo>
                  <a:lnTo>
                    <a:pt x="32" y="1344"/>
                  </a:lnTo>
                  <a:lnTo>
                    <a:pt x="160" y="1504"/>
                  </a:lnTo>
                  <a:lnTo>
                    <a:pt x="352" y="1664"/>
                  </a:lnTo>
                  <a:lnTo>
                    <a:pt x="641" y="1792"/>
                  </a:lnTo>
                  <a:lnTo>
                    <a:pt x="992" y="1920"/>
                  </a:lnTo>
                  <a:lnTo>
                    <a:pt x="1408" y="2048"/>
                  </a:lnTo>
                  <a:lnTo>
                    <a:pt x="1920" y="2176"/>
                  </a:lnTo>
                  <a:lnTo>
                    <a:pt x="2432" y="2272"/>
                  </a:lnTo>
                  <a:lnTo>
                    <a:pt x="3680" y="2464"/>
                  </a:lnTo>
                  <a:lnTo>
                    <a:pt x="5120" y="2624"/>
                  </a:lnTo>
                  <a:lnTo>
                    <a:pt x="6689" y="2688"/>
                  </a:lnTo>
                  <a:lnTo>
                    <a:pt x="8384" y="2720"/>
                  </a:lnTo>
                  <a:lnTo>
                    <a:pt x="10080" y="2688"/>
                  </a:lnTo>
                  <a:lnTo>
                    <a:pt x="11648" y="2624"/>
                  </a:lnTo>
                  <a:lnTo>
                    <a:pt x="13088" y="2464"/>
                  </a:lnTo>
                  <a:lnTo>
                    <a:pt x="14336" y="2272"/>
                  </a:lnTo>
                  <a:lnTo>
                    <a:pt x="14880" y="2176"/>
                  </a:lnTo>
                  <a:lnTo>
                    <a:pt x="15360" y="2048"/>
                  </a:lnTo>
                  <a:lnTo>
                    <a:pt x="15776" y="1920"/>
                  </a:lnTo>
                  <a:lnTo>
                    <a:pt x="16128" y="1792"/>
                  </a:lnTo>
                  <a:lnTo>
                    <a:pt x="16416" y="1664"/>
                  </a:lnTo>
                  <a:lnTo>
                    <a:pt x="16640" y="1504"/>
                  </a:lnTo>
                  <a:lnTo>
                    <a:pt x="16769" y="1344"/>
                  </a:lnTo>
                  <a:lnTo>
                    <a:pt x="16800" y="1280"/>
                  </a:lnTo>
                  <a:lnTo>
                    <a:pt x="16800" y="1184"/>
                  </a:lnTo>
                  <a:lnTo>
                    <a:pt x="16800" y="1088"/>
                  </a:lnTo>
                  <a:lnTo>
                    <a:pt x="16736" y="1024"/>
                  </a:lnTo>
                  <a:lnTo>
                    <a:pt x="16672" y="928"/>
                  </a:lnTo>
                  <a:lnTo>
                    <a:pt x="16608" y="832"/>
                  </a:lnTo>
                  <a:lnTo>
                    <a:pt x="16352" y="672"/>
                  </a:lnTo>
                  <a:lnTo>
                    <a:pt x="16000" y="544"/>
                  </a:lnTo>
                  <a:lnTo>
                    <a:pt x="15584" y="384"/>
                  </a:lnTo>
                  <a:lnTo>
                    <a:pt x="15072" y="256"/>
                  </a:lnTo>
                  <a:lnTo>
                    <a:pt x="14496" y="129"/>
                  </a:lnTo>
                  <a:lnTo>
                    <a:pt x="13856" y="0"/>
                  </a:lnTo>
                  <a:close/>
                </a:path>
              </a:pathLst>
            </a:cu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396" tIns="45697" rIns="91396" bIns="45697">
              <a:noAutofit/>
            </a:bodyPr>
            <a:lstStyle/>
            <a:p>
              <a:pPr defTabSz="1219078" fontAlgn="ctr"/>
              <a:endParaRPr lang="en-US" altLang="zh-CN" sz="17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1498772399">
              <a:extLst>
                <a:ext uri="{FF2B5EF4-FFF2-40B4-BE49-F238E27FC236}">
                  <a16:creationId xmlns="" xmlns:a16="http://schemas.microsoft.com/office/drawing/2014/main" id="{F945E325-EDB1-41E6-9C7B-F97ABD168579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2403496" y="4632186"/>
              <a:ext cx="434646" cy="392405"/>
            </a:xfrm>
            <a:custGeom>
              <a:avLst/>
              <a:gdLst>
                <a:gd name="T0" fmla="*/ 394 w 541"/>
                <a:gd name="T1" fmla="*/ 489 h 489"/>
                <a:gd name="T2" fmla="*/ 332 w 541"/>
                <a:gd name="T3" fmla="*/ 480 h 489"/>
                <a:gd name="T4" fmla="*/ 307 w 541"/>
                <a:gd name="T5" fmla="*/ 489 h 489"/>
                <a:gd name="T6" fmla="*/ 243 w 541"/>
                <a:gd name="T7" fmla="*/ 480 h 489"/>
                <a:gd name="T8" fmla="*/ 218 w 541"/>
                <a:gd name="T9" fmla="*/ 489 h 489"/>
                <a:gd name="T10" fmla="*/ 156 w 541"/>
                <a:gd name="T11" fmla="*/ 480 h 489"/>
                <a:gd name="T12" fmla="*/ 394 w 541"/>
                <a:gd name="T13" fmla="*/ 401 h 489"/>
                <a:gd name="T14" fmla="*/ 332 w 541"/>
                <a:gd name="T15" fmla="*/ 392 h 489"/>
                <a:gd name="T16" fmla="*/ 307 w 541"/>
                <a:gd name="T17" fmla="*/ 401 h 489"/>
                <a:gd name="T18" fmla="*/ 156 w 541"/>
                <a:gd name="T19" fmla="*/ 391 h 489"/>
                <a:gd name="T20" fmla="*/ 414 w 541"/>
                <a:gd name="T21" fmla="*/ 358 h 489"/>
                <a:gd name="T22" fmla="*/ 472 w 541"/>
                <a:gd name="T23" fmla="*/ 338 h 489"/>
                <a:gd name="T24" fmla="*/ 513 w 541"/>
                <a:gd name="T25" fmla="*/ 302 h 489"/>
                <a:gd name="T26" fmla="*/ 532 w 541"/>
                <a:gd name="T27" fmla="*/ 253 h 489"/>
                <a:gd name="T28" fmla="*/ 526 w 541"/>
                <a:gd name="T29" fmla="*/ 205 h 489"/>
                <a:gd name="T30" fmla="*/ 501 w 541"/>
                <a:gd name="T31" fmla="*/ 167 h 489"/>
                <a:gd name="T32" fmla="*/ 462 w 541"/>
                <a:gd name="T33" fmla="*/ 139 h 489"/>
                <a:gd name="T34" fmla="*/ 434 w 541"/>
                <a:gd name="T35" fmla="*/ 103 h 489"/>
                <a:gd name="T36" fmla="*/ 407 w 541"/>
                <a:gd name="T37" fmla="*/ 61 h 489"/>
                <a:gd name="T38" fmla="*/ 355 w 541"/>
                <a:gd name="T39" fmla="*/ 23 h 489"/>
                <a:gd name="T40" fmla="*/ 284 w 541"/>
                <a:gd name="T41" fmla="*/ 8 h 489"/>
                <a:gd name="T42" fmla="*/ 217 w 541"/>
                <a:gd name="T43" fmla="*/ 21 h 489"/>
                <a:gd name="T44" fmla="*/ 164 w 541"/>
                <a:gd name="T45" fmla="*/ 59 h 489"/>
                <a:gd name="T46" fmla="*/ 135 w 541"/>
                <a:gd name="T47" fmla="*/ 112 h 489"/>
                <a:gd name="T48" fmla="*/ 97 w 541"/>
                <a:gd name="T49" fmla="*/ 133 h 489"/>
                <a:gd name="T50" fmla="*/ 48 w 541"/>
                <a:gd name="T51" fmla="*/ 161 h 489"/>
                <a:gd name="T52" fmla="*/ 16 w 541"/>
                <a:gd name="T53" fmla="*/ 205 h 489"/>
                <a:gd name="T54" fmla="*/ 10 w 541"/>
                <a:gd name="T55" fmla="*/ 248 h 489"/>
                <a:gd name="T56" fmla="*/ 28 w 541"/>
                <a:gd name="T57" fmla="*/ 300 h 489"/>
                <a:gd name="T58" fmla="*/ 69 w 541"/>
                <a:gd name="T59" fmla="*/ 338 h 489"/>
                <a:gd name="T60" fmla="*/ 128 w 541"/>
                <a:gd name="T61" fmla="*/ 358 h 489"/>
                <a:gd name="T62" fmla="*/ 130 w 541"/>
                <a:gd name="T63" fmla="*/ 366 h 489"/>
                <a:gd name="T64" fmla="*/ 82 w 541"/>
                <a:gd name="T65" fmla="*/ 355 h 489"/>
                <a:gd name="T66" fmla="*/ 31 w 541"/>
                <a:gd name="T67" fmla="*/ 319 h 489"/>
                <a:gd name="T68" fmla="*/ 5 w 541"/>
                <a:gd name="T69" fmla="*/ 273 h 489"/>
                <a:gd name="T70" fmla="*/ 2 w 541"/>
                <a:gd name="T71" fmla="*/ 223 h 489"/>
                <a:gd name="T72" fmla="*/ 21 w 541"/>
                <a:gd name="T73" fmla="*/ 176 h 489"/>
                <a:gd name="T74" fmla="*/ 66 w 541"/>
                <a:gd name="T75" fmla="*/ 136 h 489"/>
                <a:gd name="T76" fmla="*/ 123 w 541"/>
                <a:gd name="T77" fmla="*/ 118 h 489"/>
                <a:gd name="T78" fmla="*/ 143 w 541"/>
                <a:gd name="T79" fmla="*/ 74 h 489"/>
                <a:gd name="T80" fmla="*/ 189 w 541"/>
                <a:gd name="T81" fmla="*/ 26 h 489"/>
                <a:gd name="T82" fmla="*/ 255 w 541"/>
                <a:gd name="T83" fmla="*/ 1 h 489"/>
                <a:gd name="T84" fmla="*/ 330 w 541"/>
                <a:gd name="T85" fmla="*/ 5 h 489"/>
                <a:gd name="T86" fmla="*/ 394 w 541"/>
                <a:gd name="T87" fmla="*/ 36 h 489"/>
                <a:gd name="T88" fmla="*/ 437 w 541"/>
                <a:gd name="T89" fmla="*/ 89 h 489"/>
                <a:gd name="T90" fmla="*/ 455 w 541"/>
                <a:gd name="T91" fmla="*/ 126 h 489"/>
                <a:gd name="T92" fmla="*/ 499 w 541"/>
                <a:gd name="T93" fmla="*/ 154 h 489"/>
                <a:gd name="T94" fmla="*/ 531 w 541"/>
                <a:gd name="T95" fmla="*/ 194 h 489"/>
                <a:gd name="T96" fmla="*/ 541 w 541"/>
                <a:gd name="T97" fmla="*/ 241 h 489"/>
                <a:gd name="T98" fmla="*/ 526 w 541"/>
                <a:gd name="T99" fmla="*/ 297 h 489"/>
                <a:gd name="T100" fmla="*/ 486 w 541"/>
                <a:gd name="T101" fmla="*/ 340 h 489"/>
                <a:gd name="T102" fmla="*/ 430 w 541"/>
                <a:gd name="T103" fmla="*/ 363 h 489"/>
                <a:gd name="T104" fmla="*/ 322 w 541"/>
                <a:gd name="T105" fmla="*/ 241 h 489"/>
                <a:gd name="T106" fmla="*/ 386 w 541"/>
                <a:gd name="T107" fmla="*/ 250 h 48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41"/>
                <a:gd name="T163" fmla="*/ 0 h 489"/>
                <a:gd name="T164" fmla="*/ 541 w 541"/>
                <a:gd name="T165" fmla="*/ 489 h 48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41" h="489">
                  <a:moveTo>
                    <a:pt x="394" y="489"/>
                  </a:moveTo>
                  <a:lnTo>
                    <a:pt x="322" y="489"/>
                  </a:lnTo>
                  <a:lnTo>
                    <a:pt x="322" y="417"/>
                  </a:lnTo>
                  <a:lnTo>
                    <a:pt x="394" y="417"/>
                  </a:lnTo>
                  <a:lnTo>
                    <a:pt x="394" y="489"/>
                  </a:lnTo>
                  <a:close/>
                  <a:moveTo>
                    <a:pt x="332" y="480"/>
                  </a:moveTo>
                  <a:lnTo>
                    <a:pt x="386" y="480"/>
                  </a:lnTo>
                  <a:lnTo>
                    <a:pt x="386" y="427"/>
                  </a:lnTo>
                  <a:lnTo>
                    <a:pt x="332" y="427"/>
                  </a:lnTo>
                  <a:lnTo>
                    <a:pt x="332" y="480"/>
                  </a:lnTo>
                  <a:close/>
                  <a:moveTo>
                    <a:pt x="307" y="489"/>
                  </a:moveTo>
                  <a:lnTo>
                    <a:pt x="235" y="489"/>
                  </a:lnTo>
                  <a:lnTo>
                    <a:pt x="235" y="417"/>
                  </a:lnTo>
                  <a:lnTo>
                    <a:pt x="307" y="417"/>
                  </a:lnTo>
                  <a:lnTo>
                    <a:pt x="307" y="489"/>
                  </a:lnTo>
                  <a:close/>
                  <a:moveTo>
                    <a:pt x="243" y="480"/>
                  </a:moveTo>
                  <a:lnTo>
                    <a:pt x="297" y="480"/>
                  </a:lnTo>
                  <a:lnTo>
                    <a:pt x="297" y="427"/>
                  </a:lnTo>
                  <a:lnTo>
                    <a:pt x="243" y="427"/>
                  </a:lnTo>
                  <a:lnTo>
                    <a:pt x="243" y="480"/>
                  </a:lnTo>
                  <a:close/>
                  <a:moveTo>
                    <a:pt x="218" y="489"/>
                  </a:moveTo>
                  <a:lnTo>
                    <a:pt x="148" y="489"/>
                  </a:lnTo>
                  <a:lnTo>
                    <a:pt x="148" y="417"/>
                  </a:lnTo>
                  <a:lnTo>
                    <a:pt x="218" y="417"/>
                  </a:lnTo>
                  <a:lnTo>
                    <a:pt x="218" y="489"/>
                  </a:lnTo>
                  <a:close/>
                  <a:moveTo>
                    <a:pt x="156" y="480"/>
                  </a:moveTo>
                  <a:lnTo>
                    <a:pt x="210" y="480"/>
                  </a:lnTo>
                  <a:lnTo>
                    <a:pt x="210" y="427"/>
                  </a:lnTo>
                  <a:lnTo>
                    <a:pt x="156" y="427"/>
                  </a:lnTo>
                  <a:lnTo>
                    <a:pt x="156" y="480"/>
                  </a:lnTo>
                  <a:close/>
                  <a:moveTo>
                    <a:pt x="394" y="401"/>
                  </a:moveTo>
                  <a:lnTo>
                    <a:pt x="322" y="401"/>
                  </a:lnTo>
                  <a:lnTo>
                    <a:pt x="322" y="330"/>
                  </a:lnTo>
                  <a:lnTo>
                    <a:pt x="394" y="330"/>
                  </a:lnTo>
                  <a:lnTo>
                    <a:pt x="394" y="401"/>
                  </a:lnTo>
                  <a:close/>
                  <a:moveTo>
                    <a:pt x="332" y="392"/>
                  </a:moveTo>
                  <a:lnTo>
                    <a:pt x="386" y="392"/>
                  </a:lnTo>
                  <a:lnTo>
                    <a:pt x="386" y="338"/>
                  </a:lnTo>
                  <a:lnTo>
                    <a:pt x="332" y="338"/>
                  </a:lnTo>
                  <a:lnTo>
                    <a:pt x="332" y="392"/>
                  </a:lnTo>
                  <a:close/>
                  <a:moveTo>
                    <a:pt x="307" y="401"/>
                  </a:moveTo>
                  <a:lnTo>
                    <a:pt x="148" y="401"/>
                  </a:lnTo>
                  <a:lnTo>
                    <a:pt x="148" y="241"/>
                  </a:lnTo>
                  <a:lnTo>
                    <a:pt x="307" y="241"/>
                  </a:lnTo>
                  <a:lnTo>
                    <a:pt x="307" y="401"/>
                  </a:lnTo>
                  <a:close/>
                  <a:moveTo>
                    <a:pt x="156" y="391"/>
                  </a:moveTo>
                  <a:lnTo>
                    <a:pt x="299" y="391"/>
                  </a:lnTo>
                  <a:lnTo>
                    <a:pt x="299" y="250"/>
                  </a:lnTo>
                  <a:lnTo>
                    <a:pt x="156" y="250"/>
                  </a:lnTo>
                  <a:lnTo>
                    <a:pt x="156" y="391"/>
                  </a:lnTo>
                  <a:close/>
                  <a:moveTo>
                    <a:pt x="416" y="366"/>
                  </a:moveTo>
                  <a:lnTo>
                    <a:pt x="407" y="366"/>
                  </a:lnTo>
                  <a:lnTo>
                    <a:pt x="407" y="358"/>
                  </a:lnTo>
                  <a:lnTo>
                    <a:pt x="414" y="358"/>
                  </a:lnTo>
                  <a:lnTo>
                    <a:pt x="429" y="355"/>
                  </a:lnTo>
                  <a:lnTo>
                    <a:pt x="440" y="353"/>
                  </a:lnTo>
                  <a:lnTo>
                    <a:pt x="452" y="348"/>
                  </a:lnTo>
                  <a:lnTo>
                    <a:pt x="462" y="345"/>
                  </a:lnTo>
                  <a:lnTo>
                    <a:pt x="472" y="338"/>
                  </a:lnTo>
                  <a:lnTo>
                    <a:pt x="481" y="333"/>
                  </a:lnTo>
                  <a:lnTo>
                    <a:pt x="491" y="327"/>
                  </a:lnTo>
                  <a:lnTo>
                    <a:pt x="499" y="319"/>
                  </a:lnTo>
                  <a:lnTo>
                    <a:pt x="506" y="310"/>
                  </a:lnTo>
                  <a:lnTo>
                    <a:pt x="513" y="302"/>
                  </a:lnTo>
                  <a:lnTo>
                    <a:pt x="519" y="292"/>
                  </a:lnTo>
                  <a:lnTo>
                    <a:pt x="524" y="284"/>
                  </a:lnTo>
                  <a:lnTo>
                    <a:pt x="527" y="274"/>
                  </a:lnTo>
                  <a:lnTo>
                    <a:pt x="531" y="263"/>
                  </a:lnTo>
                  <a:lnTo>
                    <a:pt x="532" y="253"/>
                  </a:lnTo>
                  <a:lnTo>
                    <a:pt x="532" y="241"/>
                  </a:lnTo>
                  <a:lnTo>
                    <a:pt x="532" y="231"/>
                  </a:lnTo>
                  <a:lnTo>
                    <a:pt x="531" y="223"/>
                  </a:lnTo>
                  <a:lnTo>
                    <a:pt x="529" y="213"/>
                  </a:lnTo>
                  <a:lnTo>
                    <a:pt x="526" y="205"/>
                  </a:lnTo>
                  <a:lnTo>
                    <a:pt x="522" y="197"/>
                  </a:lnTo>
                  <a:lnTo>
                    <a:pt x="518" y="189"/>
                  </a:lnTo>
                  <a:lnTo>
                    <a:pt x="513" y="181"/>
                  </a:lnTo>
                  <a:lnTo>
                    <a:pt x="508" y="174"/>
                  </a:lnTo>
                  <a:lnTo>
                    <a:pt x="501" y="167"/>
                  </a:lnTo>
                  <a:lnTo>
                    <a:pt x="495" y="161"/>
                  </a:lnTo>
                  <a:lnTo>
                    <a:pt x="486" y="154"/>
                  </a:lnTo>
                  <a:lnTo>
                    <a:pt x="480" y="149"/>
                  </a:lnTo>
                  <a:lnTo>
                    <a:pt x="470" y="143"/>
                  </a:lnTo>
                  <a:lnTo>
                    <a:pt x="462" y="139"/>
                  </a:lnTo>
                  <a:lnTo>
                    <a:pt x="452" y="135"/>
                  </a:lnTo>
                  <a:lnTo>
                    <a:pt x="440" y="131"/>
                  </a:lnTo>
                  <a:lnTo>
                    <a:pt x="439" y="121"/>
                  </a:lnTo>
                  <a:lnTo>
                    <a:pt x="435" y="110"/>
                  </a:lnTo>
                  <a:lnTo>
                    <a:pt x="434" y="103"/>
                  </a:lnTo>
                  <a:lnTo>
                    <a:pt x="432" y="98"/>
                  </a:lnTo>
                  <a:lnTo>
                    <a:pt x="426" y="87"/>
                  </a:lnTo>
                  <a:lnTo>
                    <a:pt x="419" y="75"/>
                  </a:lnTo>
                  <a:lnTo>
                    <a:pt x="416" y="70"/>
                  </a:lnTo>
                  <a:lnTo>
                    <a:pt x="407" y="61"/>
                  </a:lnTo>
                  <a:lnTo>
                    <a:pt x="399" y="52"/>
                  </a:lnTo>
                  <a:lnTo>
                    <a:pt x="389" y="43"/>
                  </a:lnTo>
                  <a:lnTo>
                    <a:pt x="378" y="36"/>
                  </a:lnTo>
                  <a:lnTo>
                    <a:pt x="366" y="29"/>
                  </a:lnTo>
                  <a:lnTo>
                    <a:pt x="355" y="23"/>
                  </a:lnTo>
                  <a:lnTo>
                    <a:pt x="342" y="18"/>
                  </a:lnTo>
                  <a:lnTo>
                    <a:pt x="329" y="13"/>
                  </a:lnTo>
                  <a:lnTo>
                    <a:pt x="314" y="11"/>
                  </a:lnTo>
                  <a:lnTo>
                    <a:pt x="299" y="10"/>
                  </a:lnTo>
                  <a:lnTo>
                    <a:pt x="284" y="8"/>
                  </a:lnTo>
                  <a:lnTo>
                    <a:pt x="271" y="10"/>
                  </a:lnTo>
                  <a:lnTo>
                    <a:pt x="256" y="11"/>
                  </a:lnTo>
                  <a:lnTo>
                    <a:pt x="243" y="13"/>
                  </a:lnTo>
                  <a:lnTo>
                    <a:pt x="230" y="18"/>
                  </a:lnTo>
                  <a:lnTo>
                    <a:pt x="217" y="21"/>
                  </a:lnTo>
                  <a:lnTo>
                    <a:pt x="205" y="28"/>
                  </a:lnTo>
                  <a:lnTo>
                    <a:pt x="194" y="34"/>
                  </a:lnTo>
                  <a:lnTo>
                    <a:pt x="184" y="41"/>
                  </a:lnTo>
                  <a:lnTo>
                    <a:pt x="174" y="49"/>
                  </a:lnTo>
                  <a:lnTo>
                    <a:pt x="164" y="59"/>
                  </a:lnTo>
                  <a:lnTo>
                    <a:pt x="156" y="67"/>
                  </a:lnTo>
                  <a:lnTo>
                    <a:pt x="149" y="77"/>
                  </a:lnTo>
                  <a:lnTo>
                    <a:pt x="143" y="89"/>
                  </a:lnTo>
                  <a:lnTo>
                    <a:pt x="138" y="100"/>
                  </a:lnTo>
                  <a:lnTo>
                    <a:pt x="135" y="112"/>
                  </a:lnTo>
                  <a:lnTo>
                    <a:pt x="133" y="116"/>
                  </a:lnTo>
                  <a:lnTo>
                    <a:pt x="130" y="126"/>
                  </a:lnTo>
                  <a:lnTo>
                    <a:pt x="122" y="126"/>
                  </a:lnTo>
                  <a:lnTo>
                    <a:pt x="108" y="130"/>
                  </a:lnTo>
                  <a:lnTo>
                    <a:pt x="97" y="133"/>
                  </a:lnTo>
                  <a:lnTo>
                    <a:pt x="85" y="136"/>
                  </a:lnTo>
                  <a:lnTo>
                    <a:pt x="76" y="141"/>
                  </a:lnTo>
                  <a:lnTo>
                    <a:pt x="66" y="146"/>
                  </a:lnTo>
                  <a:lnTo>
                    <a:pt x="56" y="153"/>
                  </a:lnTo>
                  <a:lnTo>
                    <a:pt x="48" y="161"/>
                  </a:lnTo>
                  <a:lnTo>
                    <a:pt x="39" y="167"/>
                  </a:lnTo>
                  <a:lnTo>
                    <a:pt x="33" y="176"/>
                  </a:lnTo>
                  <a:lnTo>
                    <a:pt x="26" y="185"/>
                  </a:lnTo>
                  <a:lnTo>
                    <a:pt x="20" y="195"/>
                  </a:lnTo>
                  <a:lnTo>
                    <a:pt x="16" y="205"/>
                  </a:lnTo>
                  <a:lnTo>
                    <a:pt x="15" y="210"/>
                  </a:lnTo>
                  <a:lnTo>
                    <a:pt x="11" y="220"/>
                  </a:lnTo>
                  <a:lnTo>
                    <a:pt x="10" y="231"/>
                  </a:lnTo>
                  <a:lnTo>
                    <a:pt x="10" y="241"/>
                  </a:lnTo>
                  <a:lnTo>
                    <a:pt x="10" y="248"/>
                  </a:lnTo>
                  <a:lnTo>
                    <a:pt x="10" y="259"/>
                  </a:lnTo>
                  <a:lnTo>
                    <a:pt x="13" y="269"/>
                  </a:lnTo>
                  <a:lnTo>
                    <a:pt x="16" y="281"/>
                  </a:lnTo>
                  <a:lnTo>
                    <a:pt x="21" y="291"/>
                  </a:lnTo>
                  <a:lnTo>
                    <a:pt x="28" y="300"/>
                  </a:lnTo>
                  <a:lnTo>
                    <a:pt x="34" y="309"/>
                  </a:lnTo>
                  <a:lnTo>
                    <a:pt x="41" y="317"/>
                  </a:lnTo>
                  <a:lnTo>
                    <a:pt x="49" y="325"/>
                  </a:lnTo>
                  <a:lnTo>
                    <a:pt x="59" y="333"/>
                  </a:lnTo>
                  <a:lnTo>
                    <a:pt x="69" y="338"/>
                  </a:lnTo>
                  <a:lnTo>
                    <a:pt x="80" y="345"/>
                  </a:lnTo>
                  <a:lnTo>
                    <a:pt x="92" y="350"/>
                  </a:lnTo>
                  <a:lnTo>
                    <a:pt x="103" y="353"/>
                  </a:lnTo>
                  <a:lnTo>
                    <a:pt x="115" y="356"/>
                  </a:lnTo>
                  <a:lnTo>
                    <a:pt x="128" y="358"/>
                  </a:lnTo>
                  <a:lnTo>
                    <a:pt x="140" y="358"/>
                  </a:lnTo>
                  <a:lnTo>
                    <a:pt x="140" y="361"/>
                  </a:lnTo>
                  <a:lnTo>
                    <a:pt x="135" y="363"/>
                  </a:lnTo>
                  <a:lnTo>
                    <a:pt x="135" y="366"/>
                  </a:lnTo>
                  <a:lnTo>
                    <a:pt x="130" y="366"/>
                  </a:lnTo>
                  <a:lnTo>
                    <a:pt x="122" y="365"/>
                  </a:lnTo>
                  <a:lnTo>
                    <a:pt x="107" y="363"/>
                  </a:lnTo>
                  <a:lnTo>
                    <a:pt x="95" y="360"/>
                  </a:lnTo>
                  <a:lnTo>
                    <a:pt x="82" y="355"/>
                  </a:lnTo>
                  <a:lnTo>
                    <a:pt x="71" y="350"/>
                  </a:lnTo>
                  <a:lnTo>
                    <a:pt x="59" y="343"/>
                  </a:lnTo>
                  <a:lnTo>
                    <a:pt x="49" y="337"/>
                  </a:lnTo>
                  <a:lnTo>
                    <a:pt x="39" y="328"/>
                  </a:lnTo>
                  <a:lnTo>
                    <a:pt x="31" y="319"/>
                  </a:lnTo>
                  <a:lnTo>
                    <a:pt x="23" y="310"/>
                  </a:lnTo>
                  <a:lnTo>
                    <a:pt x="16" y="300"/>
                  </a:lnTo>
                  <a:lnTo>
                    <a:pt x="13" y="294"/>
                  </a:lnTo>
                  <a:lnTo>
                    <a:pt x="8" y="284"/>
                  </a:lnTo>
                  <a:lnTo>
                    <a:pt x="5" y="273"/>
                  </a:lnTo>
                  <a:lnTo>
                    <a:pt x="2" y="261"/>
                  </a:lnTo>
                  <a:lnTo>
                    <a:pt x="0" y="248"/>
                  </a:lnTo>
                  <a:lnTo>
                    <a:pt x="0" y="241"/>
                  </a:lnTo>
                  <a:lnTo>
                    <a:pt x="0" y="236"/>
                  </a:lnTo>
                  <a:lnTo>
                    <a:pt x="2" y="223"/>
                  </a:lnTo>
                  <a:lnTo>
                    <a:pt x="3" y="218"/>
                  </a:lnTo>
                  <a:lnTo>
                    <a:pt x="7" y="207"/>
                  </a:lnTo>
                  <a:lnTo>
                    <a:pt x="10" y="195"/>
                  </a:lnTo>
                  <a:lnTo>
                    <a:pt x="16" y="185"/>
                  </a:lnTo>
                  <a:lnTo>
                    <a:pt x="21" y="176"/>
                  </a:lnTo>
                  <a:lnTo>
                    <a:pt x="30" y="167"/>
                  </a:lnTo>
                  <a:lnTo>
                    <a:pt x="38" y="158"/>
                  </a:lnTo>
                  <a:lnTo>
                    <a:pt x="46" y="149"/>
                  </a:lnTo>
                  <a:lnTo>
                    <a:pt x="56" y="143"/>
                  </a:lnTo>
                  <a:lnTo>
                    <a:pt x="66" y="136"/>
                  </a:lnTo>
                  <a:lnTo>
                    <a:pt x="77" y="131"/>
                  </a:lnTo>
                  <a:lnTo>
                    <a:pt x="89" y="126"/>
                  </a:lnTo>
                  <a:lnTo>
                    <a:pt x="100" y="123"/>
                  </a:lnTo>
                  <a:lnTo>
                    <a:pt x="113" y="120"/>
                  </a:lnTo>
                  <a:lnTo>
                    <a:pt x="123" y="118"/>
                  </a:lnTo>
                  <a:lnTo>
                    <a:pt x="125" y="115"/>
                  </a:lnTo>
                  <a:lnTo>
                    <a:pt x="126" y="108"/>
                  </a:lnTo>
                  <a:lnTo>
                    <a:pt x="130" y="97"/>
                  </a:lnTo>
                  <a:lnTo>
                    <a:pt x="136" y="84"/>
                  </a:lnTo>
                  <a:lnTo>
                    <a:pt x="143" y="74"/>
                  </a:lnTo>
                  <a:lnTo>
                    <a:pt x="149" y="62"/>
                  </a:lnTo>
                  <a:lnTo>
                    <a:pt x="159" y="52"/>
                  </a:lnTo>
                  <a:lnTo>
                    <a:pt x="168" y="43"/>
                  </a:lnTo>
                  <a:lnTo>
                    <a:pt x="179" y="34"/>
                  </a:lnTo>
                  <a:lnTo>
                    <a:pt x="189" y="26"/>
                  </a:lnTo>
                  <a:lnTo>
                    <a:pt x="202" y="20"/>
                  </a:lnTo>
                  <a:lnTo>
                    <a:pt x="214" y="15"/>
                  </a:lnTo>
                  <a:lnTo>
                    <a:pt x="227" y="10"/>
                  </a:lnTo>
                  <a:lnTo>
                    <a:pt x="241" y="5"/>
                  </a:lnTo>
                  <a:lnTo>
                    <a:pt x="255" y="1"/>
                  </a:lnTo>
                  <a:lnTo>
                    <a:pt x="269" y="0"/>
                  </a:lnTo>
                  <a:lnTo>
                    <a:pt x="284" y="0"/>
                  </a:lnTo>
                  <a:lnTo>
                    <a:pt x="301" y="0"/>
                  </a:lnTo>
                  <a:lnTo>
                    <a:pt x="315" y="3"/>
                  </a:lnTo>
                  <a:lnTo>
                    <a:pt x="330" y="5"/>
                  </a:lnTo>
                  <a:lnTo>
                    <a:pt x="345" y="10"/>
                  </a:lnTo>
                  <a:lnTo>
                    <a:pt x="358" y="15"/>
                  </a:lnTo>
                  <a:lnTo>
                    <a:pt x="371" y="21"/>
                  </a:lnTo>
                  <a:lnTo>
                    <a:pt x="383" y="28"/>
                  </a:lnTo>
                  <a:lnTo>
                    <a:pt x="394" y="36"/>
                  </a:lnTo>
                  <a:lnTo>
                    <a:pt x="404" y="46"/>
                  </a:lnTo>
                  <a:lnTo>
                    <a:pt x="414" y="56"/>
                  </a:lnTo>
                  <a:lnTo>
                    <a:pt x="422" y="66"/>
                  </a:lnTo>
                  <a:lnTo>
                    <a:pt x="430" y="77"/>
                  </a:lnTo>
                  <a:lnTo>
                    <a:pt x="437" y="89"/>
                  </a:lnTo>
                  <a:lnTo>
                    <a:pt x="439" y="95"/>
                  </a:lnTo>
                  <a:lnTo>
                    <a:pt x="442" y="102"/>
                  </a:lnTo>
                  <a:lnTo>
                    <a:pt x="445" y="113"/>
                  </a:lnTo>
                  <a:lnTo>
                    <a:pt x="449" y="125"/>
                  </a:lnTo>
                  <a:lnTo>
                    <a:pt x="455" y="126"/>
                  </a:lnTo>
                  <a:lnTo>
                    <a:pt x="465" y="131"/>
                  </a:lnTo>
                  <a:lnTo>
                    <a:pt x="475" y="136"/>
                  </a:lnTo>
                  <a:lnTo>
                    <a:pt x="483" y="141"/>
                  </a:lnTo>
                  <a:lnTo>
                    <a:pt x="493" y="148"/>
                  </a:lnTo>
                  <a:lnTo>
                    <a:pt x="499" y="154"/>
                  </a:lnTo>
                  <a:lnTo>
                    <a:pt x="508" y="161"/>
                  </a:lnTo>
                  <a:lnTo>
                    <a:pt x="514" y="169"/>
                  </a:lnTo>
                  <a:lnTo>
                    <a:pt x="519" y="176"/>
                  </a:lnTo>
                  <a:lnTo>
                    <a:pt x="526" y="184"/>
                  </a:lnTo>
                  <a:lnTo>
                    <a:pt x="531" y="194"/>
                  </a:lnTo>
                  <a:lnTo>
                    <a:pt x="534" y="202"/>
                  </a:lnTo>
                  <a:lnTo>
                    <a:pt x="537" y="212"/>
                  </a:lnTo>
                  <a:lnTo>
                    <a:pt x="539" y="222"/>
                  </a:lnTo>
                  <a:lnTo>
                    <a:pt x="541" y="231"/>
                  </a:lnTo>
                  <a:lnTo>
                    <a:pt x="541" y="241"/>
                  </a:lnTo>
                  <a:lnTo>
                    <a:pt x="541" y="253"/>
                  </a:lnTo>
                  <a:lnTo>
                    <a:pt x="539" y="264"/>
                  </a:lnTo>
                  <a:lnTo>
                    <a:pt x="536" y="276"/>
                  </a:lnTo>
                  <a:lnTo>
                    <a:pt x="531" y="287"/>
                  </a:lnTo>
                  <a:lnTo>
                    <a:pt x="526" y="297"/>
                  </a:lnTo>
                  <a:lnTo>
                    <a:pt x="521" y="307"/>
                  </a:lnTo>
                  <a:lnTo>
                    <a:pt x="513" y="317"/>
                  </a:lnTo>
                  <a:lnTo>
                    <a:pt x="504" y="325"/>
                  </a:lnTo>
                  <a:lnTo>
                    <a:pt x="496" y="333"/>
                  </a:lnTo>
                  <a:lnTo>
                    <a:pt x="486" y="340"/>
                  </a:lnTo>
                  <a:lnTo>
                    <a:pt x="476" y="346"/>
                  </a:lnTo>
                  <a:lnTo>
                    <a:pt x="465" y="351"/>
                  </a:lnTo>
                  <a:lnTo>
                    <a:pt x="453" y="356"/>
                  </a:lnTo>
                  <a:lnTo>
                    <a:pt x="442" y="361"/>
                  </a:lnTo>
                  <a:lnTo>
                    <a:pt x="430" y="363"/>
                  </a:lnTo>
                  <a:lnTo>
                    <a:pt x="417" y="366"/>
                  </a:lnTo>
                  <a:lnTo>
                    <a:pt x="416" y="366"/>
                  </a:lnTo>
                  <a:close/>
                  <a:moveTo>
                    <a:pt x="394" y="312"/>
                  </a:moveTo>
                  <a:lnTo>
                    <a:pt x="322" y="312"/>
                  </a:lnTo>
                  <a:lnTo>
                    <a:pt x="322" y="241"/>
                  </a:lnTo>
                  <a:lnTo>
                    <a:pt x="394" y="241"/>
                  </a:lnTo>
                  <a:lnTo>
                    <a:pt x="394" y="312"/>
                  </a:lnTo>
                  <a:close/>
                  <a:moveTo>
                    <a:pt x="332" y="304"/>
                  </a:moveTo>
                  <a:lnTo>
                    <a:pt x="386" y="304"/>
                  </a:lnTo>
                  <a:lnTo>
                    <a:pt x="386" y="250"/>
                  </a:lnTo>
                  <a:lnTo>
                    <a:pt x="332" y="250"/>
                  </a:lnTo>
                  <a:lnTo>
                    <a:pt x="332" y="304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396" tIns="45697" rIns="91396" bIns="45697">
              <a:noAutofit/>
            </a:bodyPr>
            <a:lstStyle/>
            <a:p>
              <a:pPr defTabSz="1219078" fontAlgn="ctr"/>
              <a:endParaRPr lang="en-US" altLang="zh-CN" sz="17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="" xmlns:a16="http://schemas.microsoft.com/office/drawing/2014/main" id="{DE5D6CDB-A8BF-4992-BD2D-23959F502497}"/>
              </a:ext>
            </a:extLst>
          </p:cNvPr>
          <p:cNvGrpSpPr/>
          <p:nvPr/>
        </p:nvGrpSpPr>
        <p:grpSpPr>
          <a:xfrm>
            <a:off x="6716147" y="4414158"/>
            <a:ext cx="991583" cy="991583"/>
            <a:chOff x="6415015" y="4415208"/>
            <a:chExt cx="991841" cy="991841"/>
          </a:xfrm>
        </p:grpSpPr>
        <p:sp>
          <p:nvSpPr>
            <p:cNvPr id="38" name="椭圆 37">
              <a:extLst>
                <a:ext uri="{FF2B5EF4-FFF2-40B4-BE49-F238E27FC236}">
                  <a16:creationId xmlns="" xmlns:a16="http://schemas.microsoft.com/office/drawing/2014/main" id="{1A50054A-D4D2-4B8F-AC67-9C074316CAD5}"/>
                </a:ext>
              </a:extLst>
            </p:cNvPr>
            <p:cNvSpPr/>
            <p:nvPr/>
          </p:nvSpPr>
          <p:spPr bwMode="auto">
            <a:xfrm>
              <a:off x="6415015" y="4415208"/>
              <a:ext cx="991841" cy="991841"/>
            </a:xfrm>
            <a:prstGeom prst="ellipse">
              <a:avLst/>
            </a:prstGeom>
            <a:gradFill flip="none" rotWithShape="1">
              <a:gsLst>
                <a:gs pos="0">
                  <a:srgbClr val="00B0F0">
                    <a:alpha val="24000"/>
                  </a:srgbClr>
                </a:gs>
                <a:gs pos="21000">
                  <a:srgbClr val="00B0F0">
                    <a:alpha val="50000"/>
                  </a:srgbClr>
                </a:gs>
                <a:gs pos="44000">
                  <a:srgbClr val="00B0F0">
                    <a:alpha val="39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solidFill>
                <a:srgbClr val="6DA6D9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  <a:extLst/>
          </p:spPr>
          <p:txBody>
            <a:bodyPr wrap="square" rtlCol="0" anchor="ctr">
              <a:noAutofit/>
            </a:bodyPr>
            <a:lstStyle/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  <a:p>
              <a:pPr marL="0" lvl="4" indent="-239939" algn="ctr" defTabSz="1219078" fontAlgn="ctr">
                <a:lnSpc>
                  <a:spcPts val="3732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en-US" altLang="zh-CN" sz="2798" dirty="0">
                <a:solidFill>
                  <a:prstClr val="white"/>
                </a:solidFill>
                <a:latin typeface="Arial" panose="020B0604020202020204" pitchFamily="34" charset="0"/>
                <a:sym typeface="Arial"/>
              </a:endParaRPr>
            </a:p>
          </p:txBody>
        </p:sp>
        <p:sp>
          <p:nvSpPr>
            <p:cNvPr id="41" name="577228898">
              <a:extLst>
                <a:ext uri="{FF2B5EF4-FFF2-40B4-BE49-F238E27FC236}">
                  <a16:creationId xmlns="" xmlns:a16="http://schemas.microsoft.com/office/drawing/2014/main" id="{7FCD3E54-9865-4876-BA7E-3293B1536A35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 rot="975699">
              <a:off x="6661512" y="4665351"/>
              <a:ext cx="617073" cy="555000"/>
            </a:xfrm>
            <a:custGeom>
              <a:avLst/>
              <a:gdLst/>
              <a:ahLst/>
              <a:cxnLst>
                <a:cxn ang="0">
                  <a:pos x="219" y="38"/>
                </a:cxn>
                <a:cxn ang="0">
                  <a:pos x="193" y="65"/>
                </a:cxn>
                <a:cxn ang="0">
                  <a:pos x="194" y="72"/>
                </a:cxn>
                <a:cxn ang="0">
                  <a:pos x="156" y="87"/>
                </a:cxn>
                <a:cxn ang="0">
                  <a:pos x="105" y="53"/>
                </a:cxn>
                <a:cxn ang="0">
                  <a:pos x="69" y="66"/>
                </a:cxn>
                <a:cxn ang="0">
                  <a:pos x="48" y="44"/>
                </a:cxn>
                <a:cxn ang="0">
                  <a:pos x="55" y="26"/>
                </a:cxn>
                <a:cxn ang="0">
                  <a:pos x="28" y="0"/>
                </a:cxn>
                <a:cxn ang="0">
                  <a:pos x="2" y="26"/>
                </a:cxn>
                <a:cxn ang="0">
                  <a:pos x="28" y="53"/>
                </a:cxn>
                <a:cxn ang="0">
                  <a:pos x="44" y="48"/>
                </a:cxn>
                <a:cxn ang="0">
                  <a:pos x="64" y="70"/>
                </a:cxn>
                <a:cxn ang="0">
                  <a:pos x="48" y="110"/>
                </a:cxn>
                <a:cxn ang="0">
                  <a:pos x="64" y="150"/>
                </a:cxn>
                <a:cxn ang="0">
                  <a:pos x="42" y="173"/>
                </a:cxn>
                <a:cxn ang="0">
                  <a:pos x="27" y="168"/>
                </a:cxn>
                <a:cxn ang="0">
                  <a:pos x="0" y="195"/>
                </a:cxn>
                <a:cxn ang="0">
                  <a:pos x="27" y="221"/>
                </a:cxn>
                <a:cxn ang="0">
                  <a:pos x="53" y="195"/>
                </a:cxn>
                <a:cxn ang="0">
                  <a:pos x="47" y="177"/>
                </a:cxn>
                <a:cxn ang="0">
                  <a:pos x="68" y="154"/>
                </a:cxn>
                <a:cxn ang="0">
                  <a:pos x="105" y="167"/>
                </a:cxn>
                <a:cxn ang="0">
                  <a:pos x="162" y="110"/>
                </a:cxn>
                <a:cxn ang="0">
                  <a:pos x="159" y="92"/>
                </a:cxn>
                <a:cxn ang="0">
                  <a:pos x="196" y="78"/>
                </a:cxn>
                <a:cxn ang="0">
                  <a:pos x="219" y="92"/>
                </a:cxn>
                <a:cxn ang="0">
                  <a:pos x="246" y="65"/>
                </a:cxn>
                <a:cxn ang="0">
                  <a:pos x="219" y="38"/>
                </a:cxn>
                <a:cxn ang="0">
                  <a:pos x="8" y="26"/>
                </a:cxn>
                <a:cxn ang="0">
                  <a:pos x="28" y="6"/>
                </a:cxn>
                <a:cxn ang="0">
                  <a:pos x="49" y="26"/>
                </a:cxn>
                <a:cxn ang="0">
                  <a:pos x="28" y="47"/>
                </a:cxn>
                <a:cxn ang="0">
                  <a:pos x="8" y="26"/>
                </a:cxn>
                <a:cxn ang="0">
                  <a:pos x="27" y="215"/>
                </a:cxn>
                <a:cxn ang="0">
                  <a:pos x="6" y="195"/>
                </a:cxn>
                <a:cxn ang="0">
                  <a:pos x="27" y="174"/>
                </a:cxn>
                <a:cxn ang="0">
                  <a:pos x="47" y="195"/>
                </a:cxn>
                <a:cxn ang="0">
                  <a:pos x="27" y="215"/>
                </a:cxn>
                <a:cxn ang="0">
                  <a:pos x="105" y="161"/>
                </a:cxn>
                <a:cxn ang="0">
                  <a:pos x="54" y="110"/>
                </a:cxn>
                <a:cxn ang="0">
                  <a:pos x="105" y="59"/>
                </a:cxn>
                <a:cxn ang="0">
                  <a:pos x="156" y="110"/>
                </a:cxn>
                <a:cxn ang="0">
                  <a:pos x="105" y="161"/>
                </a:cxn>
                <a:cxn ang="0">
                  <a:pos x="219" y="86"/>
                </a:cxn>
                <a:cxn ang="0">
                  <a:pos x="199" y="65"/>
                </a:cxn>
                <a:cxn ang="0">
                  <a:pos x="219" y="44"/>
                </a:cxn>
                <a:cxn ang="0">
                  <a:pos x="240" y="65"/>
                </a:cxn>
                <a:cxn ang="0">
                  <a:pos x="219" y="86"/>
                </a:cxn>
              </a:cxnLst>
              <a:rect l="0" t="0" r="r" b="b"/>
              <a:pathLst>
                <a:path w="246" h="221">
                  <a:moveTo>
                    <a:pt x="219" y="38"/>
                  </a:moveTo>
                  <a:cubicBezTo>
                    <a:pt x="205" y="38"/>
                    <a:pt x="193" y="50"/>
                    <a:pt x="193" y="65"/>
                  </a:cubicBezTo>
                  <a:cubicBezTo>
                    <a:pt x="193" y="67"/>
                    <a:pt x="193" y="70"/>
                    <a:pt x="194" y="7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47" y="67"/>
                    <a:pt x="128" y="53"/>
                    <a:pt x="105" y="53"/>
                  </a:cubicBezTo>
                  <a:cubicBezTo>
                    <a:pt x="91" y="53"/>
                    <a:pt x="79" y="58"/>
                    <a:pt x="69" y="66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52" y="39"/>
                    <a:pt x="55" y="33"/>
                    <a:pt x="55" y="26"/>
                  </a:cubicBezTo>
                  <a:cubicBezTo>
                    <a:pt x="55" y="12"/>
                    <a:pt x="43" y="0"/>
                    <a:pt x="28" y="0"/>
                  </a:cubicBezTo>
                  <a:cubicBezTo>
                    <a:pt x="14" y="0"/>
                    <a:pt x="2" y="12"/>
                    <a:pt x="2" y="26"/>
                  </a:cubicBezTo>
                  <a:cubicBezTo>
                    <a:pt x="2" y="41"/>
                    <a:pt x="14" y="53"/>
                    <a:pt x="28" y="53"/>
                  </a:cubicBezTo>
                  <a:cubicBezTo>
                    <a:pt x="34" y="53"/>
                    <a:pt x="39" y="51"/>
                    <a:pt x="44" y="48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54" y="81"/>
                    <a:pt x="48" y="95"/>
                    <a:pt x="48" y="110"/>
                  </a:cubicBezTo>
                  <a:cubicBezTo>
                    <a:pt x="48" y="126"/>
                    <a:pt x="54" y="140"/>
                    <a:pt x="64" y="150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38" y="170"/>
                    <a:pt x="32" y="168"/>
                    <a:pt x="27" y="168"/>
                  </a:cubicBezTo>
                  <a:cubicBezTo>
                    <a:pt x="12" y="168"/>
                    <a:pt x="0" y="180"/>
                    <a:pt x="0" y="195"/>
                  </a:cubicBezTo>
                  <a:cubicBezTo>
                    <a:pt x="0" y="209"/>
                    <a:pt x="12" y="221"/>
                    <a:pt x="27" y="221"/>
                  </a:cubicBezTo>
                  <a:cubicBezTo>
                    <a:pt x="41" y="221"/>
                    <a:pt x="53" y="209"/>
                    <a:pt x="53" y="195"/>
                  </a:cubicBezTo>
                  <a:cubicBezTo>
                    <a:pt x="53" y="188"/>
                    <a:pt x="51" y="182"/>
                    <a:pt x="47" y="177"/>
                  </a:cubicBezTo>
                  <a:cubicBezTo>
                    <a:pt x="68" y="154"/>
                    <a:pt x="68" y="154"/>
                    <a:pt x="68" y="154"/>
                  </a:cubicBezTo>
                  <a:cubicBezTo>
                    <a:pt x="78" y="162"/>
                    <a:pt x="91" y="167"/>
                    <a:pt x="105" y="167"/>
                  </a:cubicBezTo>
                  <a:cubicBezTo>
                    <a:pt x="136" y="167"/>
                    <a:pt x="162" y="142"/>
                    <a:pt x="162" y="110"/>
                  </a:cubicBezTo>
                  <a:cubicBezTo>
                    <a:pt x="162" y="104"/>
                    <a:pt x="161" y="98"/>
                    <a:pt x="159" y="92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200" y="86"/>
                    <a:pt x="209" y="92"/>
                    <a:pt x="219" y="92"/>
                  </a:cubicBezTo>
                  <a:cubicBezTo>
                    <a:pt x="234" y="92"/>
                    <a:pt x="246" y="80"/>
                    <a:pt x="246" y="65"/>
                  </a:cubicBezTo>
                  <a:cubicBezTo>
                    <a:pt x="246" y="50"/>
                    <a:pt x="234" y="38"/>
                    <a:pt x="219" y="38"/>
                  </a:cubicBezTo>
                  <a:close/>
                  <a:moveTo>
                    <a:pt x="8" y="26"/>
                  </a:moveTo>
                  <a:cubicBezTo>
                    <a:pt x="8" y="15"/>
                    <a:pt x="17" y="6"/>
                    <a:pt x="28" y="6"/>
                  </a:cubicBezTo>
                  <a:cubicBezTo>
                    <a:pt x="40" y="6"/>
                    <a:pt x="49" y="15"/>
                    <a:pt x="49" y="26"/>
                  </a:cubicBezTo>
                  <a:cubicBezTo>
                    <a:pt x="49" y="38"/>
                    <a:pt x="40" y="47"/>
                    <a:pt x="28" y="47"/>
                  </a:cubicBezTo>
                  <a:cubicBezTo>
                    <a:pt x="17" y="47"/>
                    <a:pt x="8" y="38"/>
                    <a:pt x="8" y="26"/>
                  </a:cubicBezTo>
                  <a:close/>
                  <a:moveTo>
                    <a:pt x="27" y="215"/>
                  </a:moveTo>
                  <a:cubicBezTo>
                    <a:pt x="15" y="215"/>
                    <a:pt x="6" y="206"/>
                    <a:pt x="6" y="195"/>
                  </a:cubicBezTo>
                  <a:cubicBezTo>
                    <a:pt x="6" y="183"/>
                    <a:pt x="15" y="174"/>
                    <a:pt x="27" y="174"/>
                  </a:cubicBezTo>
                  <a:cubicBezTo>
                    <a:pt x="38" y="174"/>
                    <a:pt x="47" y="183"/>
                    <a:pt x="47" y="195"/>
                  </a:cubicBezTo>
                  <a:cubicBezTo>
                    <a:pt x="47" y="206"/>
                    <a:pt x="38" y="215"/>
                    <a:pt x="27" y="215"/>
                  </a:cubicBezTo>
                  <a:close/>
                  <a:moveTo>
                    <a:pt x="105" y="161"/>
                  </a:moveTo>
                  <a:cubicBezTo>
                    <a:pt x="77" y="161"/>
                    <a:pt x="54" y="138"/>
                    <a:pt x="54" y="110"/>
                  </a:cubicBezTo>
                  <a:cubicBezTo>
                    <a:pt x="54" y="82"/>
                    <a:pt x="77" y="59"/>
                    <a:pt x="105" y="59"/>
                  </a:cubicBezTo>
                  <a:cubicBezTo>
                    <a:pt x="133" y="59"/>
                    <a:pt x="156" y="82"/>
                    <a:pt x="156" y="110"/>
                  </a:cubicBezTo>
                  <a:cubicBezTo>
                    <a:pt x="156" y="138"/>
                    <a:pt x="133" y="161"/>
                    <a:pt x="105" y="161"/>
                  </a:cubicBezTo>
                  <a:close/>
                  <a:moveTo>
                    <a:pt x="219" y="86"/>
                  </a:moveTo>
                  <a:cubicBezTo>
                    <a:pt x="208" y="86"/>
                    <a:pt x="199" y="76"/>
                    <a:pt x="199" y="65"/>
                  </a:cubicBezTo>
                  <a:cubicBezTo>
                    <a:pt x="199" y="54"/>
                    <a:pt x="208" y="44"/>
                    <a:pt x="219" y="44"/>
                  </a:cubicBezTo>
                  <a:cubicBezTo>
                    <a:pt x="231" y="44"/>
                    <a:pt x="240" y="54"/>
                    <a:pt x="240" y="65"/>
                  </a:cubicBezTo>
                  <a:cubicBezTo>
                    <a:pt x="240" y="76"/>
                    <a:pt x="231" y="86"/>
                    <a:pt x="219" y="8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13" tIns="45707" rIns="91413" bIns="45707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>
                <a:defRPr/>
              </a:pPr>
              <a:endParaRPr lang="en-US" altLang="zh-CN" sz="17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2" name="907797442">
            <a:extLst>
              <a:ext uri="{FF2B5EF4-FFF2-40B4-BE49-F238E27FC236}">
                <a16:creationId xmlns="" xmlns:a16="http://schemas.microsoft.com/office/drawing/2014/main" id="{856FF4CA-023D-4501-9996-B2A6682AB0EF}"/>
              </a:ext>
            </a:extLst>
          </p:cNvPr>
          <p:cNvSpPr txBox="1"/>
          <p:nvPr/>
        </p:nvSpPr>
        <p:spPr>
          <a:xfrm>
            <a:off x="2513561" y="4371681"/>
            <a:ext cx="3369512" cy="4921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 defTabSz="685800">
              <a:spcAft>
                <a:spcPts val="450"/>
              </a:spcAft>
              <a:defRPr sz="2000" b="1" kern="0">
                <a:solidFill>
                  <a:srgbClr val="00B0F0"/>
                </a:solidFill>
                <a:latin typeface="微软雅黑"/>
                <a:ea typeface="微软雅黑"/>
              </a:defRPr>
            </a:lvl1pPr>
          </a:lstStyle>
          <a:p>
            <a:pPr fontAlgn="ctr"/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</a:rPr>
              <a:t>Platform strategy</a:t>
            </a:r>
            <a:endParaRPr lang="en-US" altLang="zh-CN" sz="2400" dirty="0">
              <a:solidFill>
                <a:srgbClr val="FFC000"/>
              </a:solidFill>
              <a:latin typeface="Arial" panose="020B0604020202020204" pitchFamily="34" charset="0"/>
              <a:ea typeface="微软雅黑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矩形 9">
            <a:extLst>
              <a:ext uri="{FF2B5EF4-FFF2-40B4-BE49-F238E27FC236}">
                <a16:creationId xmlns="" xmlns:a16="http://schemas.microsoft.com/office/drawing/2014/main" id="{686CE0CF-37B6-4039-9831-7FFC5B6E78C2}"/>
              </a:ext>
            </a:extLst>
          </p:cNvPr>
          <p:cNvSpPr/>
          <p:nvPr/>
        </p:nvSpPr>
        <p:spPr>
          <a:xfrm>
            <a:off x="3053943" y="5068560"/>
            <a:ext cx="2181071" cy="27687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Open, elastic, flexible, an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secure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4" name="TextBox 10">
            <a:extLst>
              <a:ext uri="{FF2B5EF4-FFF2-40B4-BE49-F238E27FC236}">
                <a16:creationId xmlns="" xmlns:a16="http://schemas.microsoft.com/office/drawing/2014/main" id="{6721D896-76E9-4A88-8BEF-58732867E317}"/>
              </a:ext>
            </a:extLst>
          </p:cNvPr>
          <p:cNvSpPr txBox="1"/>
          <p:nvPr/>
        </p:nvSpPr>
        <p:spPr>
          <a:xfrm>
            <a:off x="5862538" y="4513509"/>
            <a:ext cx="769241" cy="8956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219078" fontAlgn="ctr"/>
            <a:r>
              <a:rPr lang="en-US" sz="5998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+</a:t>
            </a:r>
            <a:endParaRPr lang="en-US" sz="5998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45" name="907797442">
            <a:extLst>
              <a:ext uri="{FF2B5EF4-FFF2-40B4-BE49-F238E27FC236}">
                <a16:creationId xmlns="" xmlns:a16="http://schemas.microsoft.com/office/drawing/2014/main" id="{09DBAABB-7FA6-4E70-B1A7-F142A4631CE8}"/>
              </a:ext>
            </a:extLst>
          </p:cNvPr>
          <p:cNvSpPr txBox="1"/>
          <p:nvPr/>
        </p:nvSpPr>
        <p:spPr>
          <a:xfrm>
            <a:off x="7506623" y="4216398"/>
            <a:ext cx="2660160" cy="4921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ctr" defTabSz="685800">
              <a:spcAft>
                <a:spcPts val="450"/>
              </a:spcAft>
              <a:defRPr sz="2000" b="1" kern="0">
                <a:solidFill>
                  <a:srgbClr val="00B0F0"/>
                </a:solidFill>
                <a:latin typeface="微软雅黑"/>
                <a:ea typeface="微软雅黑"/>
              </a:defRPr>
            </a:lvl1pPr>
          </a:lstStyle>
          <a:p>
            <a:pPr fontAlgn="ctr"/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</a:rPr>
              <a:t>Ecosystem strategy</a:t>
            </a:r>
            <a:endParaRPr lang="en-US" altLang="zh-CN" sz="2400" dirty="0">
              <a:solidFill>
                <a:srgbClr val="FFC000"/>
              </a:solidFill>
              <a:latin typeface="Arial" panose="020B0604020202020204" pitchFamily="34" charset="0"/>
              <a:ea typeface="微软雅黑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="" xmlns:a16="http://schemas.microsoft.com/office/drawing/2014/main" id="{A0CF21CD-C60A-4ADE-A977-A0AC26D0DA1E}"/>
              </a:ext>
            </a:extLst>
          </p:cNvPr>
          <p:cNvSpPr/>
          <p:nvPr/>
        </p:nvSpPr>
        <p:spPr>
          <a:xfrm>
            <a:off x="7960092" y="5068560"/>
            <a:ext cx="2405593" cy="27687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Co-existence, mutual-growth, and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regeneration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="" xmlns:a16="http://schemas.microsoft.com/office/drawing/2014/main" id="{B7144530-CE69-42B4-8178-664DC595028C}"/>
              </a:ext>
            </a:extLst>
          </p:cNvPr>
          <p:cNvGrpSpPr/>
          <p:nvPr/>
        </p:nvGrpSpPr>
        <p:grpSpPr>
          <a:xfrm>
            <a:off x="4407434" y="2953376"/>
            <a:ext cx="3377134" cy="303741"/>
            <a:chOff x="3686217" y="2954046"/>
            <a:chExt cx="3378013" cy="303820"/>
          </a:xfrm>
        </p:grpSpPr>
        <p:grpSp>
          <p:nvGrpSpPr>
            <p:cNvPr id="34" name="组合 103">
              <a:extLst>
                <a:ext uri="{FF2B5EF4-FFF2-40B4-BE49-F238E27FC236}">
                  <a16:creationId xmlns="" xmlns:a16="http://schemas.microsoft.com/office/drawing/2014/main" id="{47EF9C6E-BED2-430F-AE8E-58DC4EFC8AB8}"/>
                </a:ext>
              </a:extLst>
            </p:cNvPr>
            <p:cNvGrpSpPr/>
            <p:nvPr/>
          </p:nvGrpSpPr>
          <p:grpSpPr>
            <a:xfrm rot="16200000">
              <a:off x="3616908" y="3023355"/>
              <a:ext cx="303820" cy="165202"/>
              <a:chOff x="7746386" y="2931576"/>
              <a:chExt cx="431750" cy="234764"/>
            </a:xfrm>
            <a:solidFill>
              <a:srgbClr val="77D4F9"/>
            </a:solidFill>
          </p:grpSpPr>
          <p:sp>
            <p:nvSpPr>
              <p:cNvPr id="49" name="Freeform 11">
                <a:extLst>
                  <a:ext uri="{FF2B5EF4-FFF2-40B4-BE49-F238E27FC236}">
                    <a16:creationId xmlns="" xmlns:a16="http://schemas.microsoft.com/office/drawing/2014/main" id="{BB932D97-D440-4DB3-B854-C468F2E52E93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>
                <a:off x="8020706" y="2931576"/>
                <a:ext cx="157430" cy="234764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0" y="0"/>
                  </a:cxn>
                  <a:cxn ang="0">
                    <a:pos x="158" y="78"/>
                  </a:cxn>
                  <a:cxn ang="0">
                    <a:pos x="158" y="111"/>
                  </a:cxn>
                  <a:cxn ang="0">
                    <a:pos x="0" y="189"/>
                  </a:cxn>
                  <a:cxn ang="0">
                    <a:pos x="0" y="152"/>
                  </a:cxn>
                  <a:cxn ang="0">
                    <a:pos x="114" y="95"/>
                  </a:cxn>
                  <a:cxn ang="0">
                    <a:pos x="0" y="38"/>
                  </a:cxn>
                </a:cxnLst>
                <a:rect l="0" t="0" r="r" b="b"/>
                <a:pathLst>
                  <a:path w="158" h="189">
                    <a:moveTo>
                      <a:pt x="0" y="38"/>
                    </a:moveTo>
                    <a:lnTo>
                      <a:pt x="0" y="0"/>
                    </a:lnTo>
                    <a:lnTo>
                      <a:pt x="158" y="78"/>
                    </a:lnTo>
                    <a:lnTo>
                      <a:pt x="158" y="111"/>
                    </a:lnTo>
                    <a:lnTo>
                      <a:pt x="0" y="189"/>
                    </a:lnTo>
                    <a:lnTo>
                      <a:pt x="0" y="152"/>
                    </a:lnTo>
                    <a:lnTo>
                      <a:pt x="114" y="9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1" tIns="8421" rIns="16841" bIns="8421" anchor="ctr" anchorCtr="0">
                <a:noAutofit/>
              </a:bodyPr>
              <a:lstStyle/>
              <a:p>
                <a:pPr marL="0" lvl="4" indent="-228515" algn="ctr" defTabSz="1219078" eaLnBrk="0" fontAlgn="ctr" hangingPunct="0">
                  <a:lnSpc>
                    <a:spcPct val="120000"/>
                  </a:lnSpc>
                  <a:spcBef>
                    <a:spcPts val="1134"/>
                  </a:spcBef>
                  <a:buClr>
                    <a:srgbClr val="CC9900"/>
                  </a:buClr>
                  <a:buSzPct val="60000"/>
                  <a:buFont typeface="Wingdings" pitchFamily="2" charset="2"/>
                  <a:buChar char="n"/>
                  <a:defRPr/>
                </a:pPr>
                <a:endParaRPr lang="en-US" altLang="zh-CN" sz="1050" b="1" dirty="0">
                  <a:solidFill>
                    <a:srgbClr val="FFFFFF"/>
                  </a:solidFill>
                  <a:latin typeface="Arial" panose="020B0604020202020204" pitchFamily="34" charset="0"/>
                  <a:ea typeface="方正兰亭黑简体" pitchFamily="2" charset="-122"/>
                  <a:sym typeface="Arial"/>
                </a:endParaRPr>
              </a:p>
            </p:txBody>
          </p:sp>
          <p:sp>
            <p:nvSpPr>
              <p:cNvPr id="51" name="Freeform 11">
                <a:extLst>
                  <a:ext uri="{FF2B5EF4-FFF2-40B4-BE49-F238E27FC236}">
                    <a16:creationId xmlns="" xmlns:a16="http://schemas.microsoft.com/office/drawing/2014/main" id="{3425C177-14BC-476E-A6EB-78334EAF5D79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>
                <a:off x="7746386" y="2931576"/>
                <a:ext cx="157430" cy="234764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0" y="0"/>
                  </a:cxn>
                  <a:cxn ang="0">
                    <a:pos x="158" y="78"/>
                  </a:cxn>
                  <a:cxn ang="0">
                    <a:pos x="158" y="111"/>
                  </a:cxn>
                  <a:cxn ang="0">
                    <a:pos x="0" y="189"/>
                  </a:cxn>
                  <a:cxn ang="0">
                    <a:pos x="0" y="152"/>
                  </a:cxn>
                  <a:cxn ang="0">
                    <a:pos x="114" y="95"/>
                  </a:cxn>
                  <a:cxn ang="0">
                    <a:pos x="0" y="38"/>
                  </a:cxn>
                </a:cxnLst>
                <a:rect l="0" t="0" r="r" b="b"/>
                <a:pathLst>
                  <a:path w="158" h="189">
                    <a:moveTo>
                      <a:pt x="0" y="38"/>
                    </a:moveTo>
                    <a:lnTo>
                      <a:pt x="0" y="0"/>
                    </a:lnTo>
                    <a:lnTo>
                      <a:pt x="158" y="78"/>
                    </a:lnTo>
                    <a:lnTo>
                      <a:pt x="158" y="111"/>
                    </a:lnTo>
                    <a:lnTo>
                      <a:pt x="0" y="189"/>
                    </a:lnTo>
                    <a:lnTo>
                      <a:pt x="0" y="152"/>
                    </a:lnTo>
                    <a:lnTo>
                      <a:pt x="114" y="9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1" tIns="8421" rIns="16841" bIns="8421" anchor="ctr" anchorCtr="0">
                <a:noAutofit/>
              </a:bodyPr>
              <a:lstStyle/>
              <a:p>
                <a:pPr marL="0" lvl="4" indent="-228515" algn="ctr" defTabSz="1219078" eaLnBrk="0" fontAlgn="ctr" hangingPunct="0">
                  <a:lnSpc>
                    <a:spcPct val="120000"/>
                  </a:lnSpc>
                  <a:spcBef>
                    <a:spcPts val="1134"/>
                  </a:spcBef>
                  <a:buClr>
                    <a:srgbClr val="CC9900"/>
                  </a:buClr>
                  <a:buSzPct val="60000"/>
                  <a:buFont typeface="Wingdings" pitchFamily="2" charset="2"/>
                  <a:buChar char="n"/>
                  <a:defRPr/>
                </a:pPr>
                <a:endParaRPr lang="en-US" altLang="zh-CN" sz="1050" b="1" dirty="0">
                  <a:solidFill>
                    <a:srgbClr val="FFFFFF"/>
                  </a:solidFill>
                  <a:latin typeface="Arial" panose="020B0604020202020204" pitchFamily="34" charset="0"/>
                  <a:ea typeface="方正兰亭黑简体" pitchFamily="2" charset="-122"/>
                  <a:sym typeface="Arial"/>
                </a:endParaRPr>
              </a:p>
            </p:txBody>
          </p:sp>
        </p:grpSp>
        <p:grpSp>
          <p:nvGrpSpPr>
            <p:cNvPr id="75" name="组合 103">
              <a:extLst>
                <a:ext uri="{FF2B5EF4-FFF2-40B4-BE49-F238E27FC236}">
                  <a16:creationId xmlns="" xmlns:a16="http://schemas.microsoft.com/office/drawing/2014/main" id="{73C85A60-82EC-44AA-AF75-AF95613F9D61}"/>
                </a:ext>
              </a:extLst>
            </p:cNvPr>
            <p:cNvGrpSpPr/>
            <p:nvPr/>
          </p:nvGrpSpPr>
          <p:grpSpPr>
            <a:xfrm rot="16200000">
              <a:off x="6829719" y="3023355"/>
              <a:ext cx="303820" cy="165202"/>
              <a:chOff x="7746386" y="2931576"/>
              <a:chExt cx="431750" cy="234764"/>
            </a:xfrm>
            <a:solidFill>
              <a:srgbClr val="77D4F9"/>
            </a:solidFill>
          </p:grpSpPr>
          <p:sp>
            <p:nvSpPr>
              <p:cNvPr id="76" name="Freeform 11">
                <a:extLst>
                  <a:ext uri="{FF2B5EF4-FFF2-40B4-BE49-F238E27FC236}">
                    <a16:creationId xmlns="" xmlns:a16="http://schemas.microsoft.com/office/drawing/2014/main" id="{BA51C164-E980-4FEB-ABEF-3DBAD9333081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>
                <a:off x="8020706" y="2931576"/>
                <a:ext cx="157430" cy="234764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0" y="0"/>
                  </a:cxn>
                  <a:cxn ang="0">
                    <a:pos x="158" y="78"/>
                  </a:cxn>
                  <a:cxn ang="0">
                    <a:pos x="158" y="111"/>
                  </a:cxn>
                  <a:cxn ang="0">
                    <a:pos x="0" y="189"/>
                  </a:cxn>
                  <a:cxn ang="0">
                    <a:pos x="0" y="152"/>
                  </a:cxn>
                  <a:cxn ang="0">
                    <a:pos x="114" y="95"/>
                  </a:cxn>
                  <a:cxn ang="0">
                    <a:pos x="0" y="38"/>
                  </a:cxn>
                </a:cxnLst>
                <a:rect l="0" t="0" r="r" b="b"/>
                <a:pathLst>
                  <a:path w="158" h="189">
                    <a:moveTo>
                      <a:pt x="0" y="38"/>
                    </a:moveTo>
                    <a:lnTo>
                      <a:pt x="0" y="0"/>
                    </a:lnTo>
                    <a:lnTo>
                      <a:pt x="158" y="78"/>
                    </a:lnTo>
                    <a:lnTo>
                      <a:pt x="158" y="111"/>
                    </a:lnTo>
                    <a:lnTo>
                      <a:pt x="0" y="189"/>
                    </a:lnTo>
                    <a:lnTo>
                      <a:pt x="0" y="152"/>
                    </a:lnTo>
                    <a:lnTo>
                      <a:pt x="114" y="9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1" tIns="8421" rIns="16841" bIns="8421" anchor="ctr" anchorCtr="0">
                <a:noAutofit/>
              </a:bodyPr>
              <a:lstStyle/>
              <a:p>
                <a:pPr marL="0" lvl="4" indent="-228515" algn="ctr" defTabSz="1219078" eaLnBrk="0" fontAlgn="ctr" hangingPunct="0">
                  <a:lnSpc>
                    <a:spcPct val="120000"/>
                  </a:lnSpc>
                  <a:spcBef>
                    <a:spcPts val="1134"/>
                  </a:spcBef>
                  <a:buClr>
                    <a:srgbClr val="CC9900"/>
                  </a:buClr>
                  <a:buSzPct val="60000"/>
                  <a:buFont typeface="Wingdings" pitchFamily="2" charset="2"/>
                  <a:buChar char="n"/>
                  <a:defRPr/>
                </a:pPr>
                <a:endParaRPr lang="en-US" altLang="zh-CN" sz="1050" b="1" dirty="0">
                  <a:solidFill>
                    <a:srgbClr val="FFFFFF"/>
                  </a:solidFill>
                  <a:latin typeface="Arial" panose="020B0604020202020204" pitchFamily="34" charset="0"/>
                  <a:ea typeface="方正兰亭黑简体" pitchFamily="2" charset="-122"/>
                  <a:sym typeface="Arial"/>
                </a:endParaRPr>
              </a:p>
            </p:txBody>
          </p:sp>
          <p:sp>
            <p:nvSpPr>
              <p:cNvPr id="77" name="Freeform 11">
                <a:extLst>
                  <a:ext uri="{FF2B5EF4-FFF2-40B4-BE49-F238E27FC236}">
                    <a16:creationId xmlns="" xmlns:a16="http://schemas.microsoft.com/office/drawing/2014/main" id="{4914AF60-32F5-44E8-92AF-1A6D27FCF49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>
                <a:off x="7746386" y="2931576"/>
                <a:ext cx="157430" cy="234764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0" y="0"/>
                  </a:cxn>
                  <a:cxn ang="0">
                    <a:pos x="158" y="78"/>
                  </a:cxn>
                  <a:cxn ang="0">
                    <a:pos x="158" y="111"/>
                  </a:cxn>
                  <a:cxn ang="0">
                    <a:pos x="0" y="189"/>
                  </a:cxn>
                  <a:cxn ang="0">
                    <a:pos x="0" y="152"/>
                  </a:cxn>
                  <a:cxn ang="0">
                    <a:pos x="114" y="95"/>
                  </a:cxn>
                  <a:cxn ang="0">
                    <a:pos x="0" y="38"/>
                  </a:cxn>
                </a:cxnLst>
                <a:rect l="0" t="0" r="r" b="b"/>
                <a:pathLst>
                  <a:path w="158" h="189">
                    <a:moveTo>
                      <a:pt x="0" y="38"/>
                    </a:moveTo>
                    <a:lnTo>
                      <a:pt x="0" y="0"/>
                    </a:lnTo>
                    <a:lnTo>
                      <a:pt x="158" y="78"/>
                    </a:lnTo>
                    <a:lnTo>
                      <a:pt x="158" y="111"/>
                    </a:lnTo>
                    <a:lnTo>
                      <a:pt x="0" y="189"/>
                    </a:lnTo>
                    <a:lnTo>
                      <a:pt x="0" y="152"/>
                    </a:lnTo>
                    <a:lnTo>
                      <a:pt x="114" y="9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1" tIns="8421" rIns="16841" bIns="8421" anchor="ctr" anchorCtr="0">
                <a:noAutofit/>
              </a:bodyPr>
              <a:lstStyle/>
              <a:p>
                <a:pPr marL="0" lvl="4" indent="-228515" algn="ctr" defTabSz="1219078" eaLnBrk="0" fontAlgn="ctr" hangingPunct="0">
                  <a:lnSpc>
                    <a:spcPct val="120000"/>
                  </a:lnSpc>
                  <a:spcBef>
                    <a:spcPts val="1134"/>
                  </a:spcBef>
                  <a:buClr>
                    <a:srgbClr val="CC9900"/>
                  </a:buClr>
                  <a:buSzPct val="60000"/>
                  <a:buFont typeface="Wingdings" pitchFamily="2" charset="2"/>
                  <a:buChar char="n"/>
                  <a:defRPr/>
                </a:pPr>
                <a:endParaRPr lang="en-US" altLang="zh-CN" sz="1050" b="1" dirty="0">
                  <a:solidFill>
                    <a:srgbClr val="FFFFFF"/>
                  </a:solidFill>
                  <a:latin typeface="Arial" panose="020B0604020202020204" pitchFamily="34" charset="0"/>
                  <a:ea typeface="方正兰亭黑简体" pitchFamily="2" charset="-122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189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能量汇聚.jpg">
            <a:extLst>
              <a:ext uri="{FF2B5EF4-FFF2-40B4-BE49-F238E27FC236}">
                <a16:creationId xmlns="" xmlns:a16="http://schemas.microsoft.com/office/drawing/2014/main" id="{2C32A9EF-469D-4EA8-943A-BDC9A4761F3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3086" y="99"/>
            <a:ext cx="12215087" cy="6857802"/>
          </a:xfrm>
          <a:prstGeom prst="rect">
            <a:avLst/>
          </a:prstGeom>
        </p:spPr>
      </p:pic>
      <p:sp>
        <p:nvSpPr>
          <p:cNvPr id="48" name="矩形 47">
            <a:extLst>
              <a:ext uri="{FF2B5EF4-FFF2-40B4-BE49-F238E27FC236}">
                <a16:creationId xmlns="" xmlns:a16="http://schemas.microsoft.com/office/drawing/2014/main" id="{00D39AAB-FF9F-4A2C-BE89-AFC139C06DB1}"/>
              </a:ext>
            </a:extLst>
          </p:cNvPr>
          <p:cNvSpPr/>
          <p:nvPr/>
        </p:nvSpPr>
        <p:spPr>
          <a:xfrm>
            <a:off x="0" y="1686"/>
            <a:ext cx="12188826" cy="6856215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</a:srgbClr>
              </a:gs>
              <a:gs pos="52000">
                <a:srgbClr val="1F497D">
                  <a:lumMod val="50000"/>
                  <a:alpha val="37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="" xmlns:a16="http://schemas.microsoft.com/office/drawing/2014/main" id="{E4A1B9AA-4C80-43AE-BB4C-838177203E1A}"/>
              </a:ext>
            </a:extLst>
          </p:cNvPr>
          <p:cNvSpPr>
            <a:spLocks/>
          </p:cNvSpPr>
          <p:nvPr/>
        </p:nvSpPr>
        <p:spPr bwMode="auto">
          <a:xfrm>
            <a:off x="2199396" y="1771023"/>
            <a:ext cx="1814242" cy="2026711"/>
          </a:xfrm>
          <a:custGeom>
            <a:avLst/>
            <a:gdLst/>
            <a:ahLst/>
            <a:cxnLst>
              <a:cxn ang="0">
                <a:pos x="397" y="15"/>
              </a:cxn>
              <a:cxn ang="0">
                <a:pos x="523" y="88"/>
              </a:cxn>
              <a:cxn ang="0">
                <a:pos x="652" y="162"/>
              </a:cxn>
              <a:cxn ang="0">
                <a:pos x="652" y="162"/>
              </a:cxn>
              <a:cxn ang="0">
                <a:pos x="685" y="195"/>
              </a:cxn>
              <a:cxn ang="0">
                <a:pos x="698" y="235"/>
              </a:cxn>
              <a:cxn ang="0">
                <a:pos x="698" y="390"/>
              </a:cxn>
              <a:cxn ang="0">
                <a:pos x="698" y="538"/>
              </a:cxn>
              <a:cxn ang="0">
                <a:pos x="686" y="584"/>
              </a:cxn>
              <a:cxn ang="0">
                <a:pos x="657" y="615"/>
              </a:cxn>
              <a:cxn ang="0">
                <a:pos x="523" y="692"/>
              </a:cxn>
              <a:cxn ang="0">
                <a:pos x="392" y="768"/>
              </a:cxn>
              <a:cxn ang="0">
                <a:pos x="348" y="779"/>
              </a:cxn>
              <a:cxn ang="0">
                <a:pos x="306" y="768"/>
              </a:cxn>
              <a:cxn ang="0">
                <a:pos x="174" y="692"/>
              </a:cxn>
              <a:cxn ang="0">
                <a:pos x="38" y="614"/>
              </a:cxn>
              <a:cxn ang="0">
                <a:pos x="9" y="579"/>
              </a:cxn>
              <a:cxn ang="0">
                <a:pos x="0" y="547"/>
              </a:cxn>
              <a:cxn ang="0">
                <a:pos x="0" y="390"/>
              </a:cxn>
              <a:cxn ang="0">
                <a:pos x="0" y="232"/>
              </a:cxn>
              <a:cxn ang="0">
                <a:pos x="11" y="197"/>
              </a:cxn>
              <a:cxn ang="0">
                <a:pos x="42" y="164"/>
              </a:cxn>
              <a:cxn ang="0">
                <a:pos x="174" y="88"/>
              </a:cxn>
              <a:cxn ang="0">
                <a:pos x="303" y="14"/>
              </a:cxn>
              <a:cxn ang="0">
                <a:pos x="303" y="14"/>
              </a:cxn>
              <a:cxn ang="0">
                <a:pos x="352" y="1"/>
              </a:cxn>
              <a:cxn ang="0">
                <a:pos x="397" y="15"/>
              </a:cxn>
            </a:cxnLst>
            <a:rect l="0" t="0" r="r" b="b"/>
            <a:pathLst>
              <a:path w="698" h="779">
                <a:moveTo>
                  <a:pt x="397" y="15"/>
                </a:moveTo>
                <a:cubicBezTo>
                  <a:pt x="523" y="88"/>
                  <a:pt x="523" y="88"/>
                  <a:pt x="523" y="88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74" y="176"/>
                  <a:pt x="685" y="195"/>
                </a:cubicBezTo>
                <a:cubicBezTo>
                  <a:pt x="694" y="210"/>
                  <a:pt x="697" y="225"/>
                  <a:pt x="698" y="235"/>
                </a:cubicBezTo>
                <a:cubicBezTo>
                  <a:pt x="698" y="390"/>
                  <a:pt x="698" y="390"/>
                  <a:pt x="698" y="390"/>
                </a:cubicBezTo>
                <a:cubicBezTo>
                  <a:pt x="698" y="538"/>
                  <a:pt x="698" y="538"/>
                  <a:pt x="698" y="538"/>
                </a:cubicBezTo>
                <a:cubicBezTo>
                  <a:pt x="698" y="545"/>
                  <a:pt x="696" y="569"/>
                  <a:pt x="686" y="584"/>
                </a:cubicBezTo>
                <a:cubicBezTo>
                  <a:pt x="676" y="599"/>
                  <a:pt x="662" y="611"/>
                  <a:pt x="657" y="615"/>
                </a:cubicBezTo>
                <a:cubicBezTo>
                  <a:pt x="523" y="692"/>
                  <a:pt x="523" y="692"/>
                  <a:pt x="523" y="692"/>
                </a:cubicBezTo>
                <a:cubicBezTo>
                  <a:pt x="392" y="768"/>
                  <a:pt x="392" y="768"/>
                  <a:pt x="392" y="768"/>
                </a:cubicBezTo>
                <a:cubicBezTo>
                  <a:pt x="385" y="772"/>
                  <a:pt x="368" y="779"/>
                  <a:pt x="348" y="779"/>
                </a:cubicBezTo>
                <a:cubicBezTo>
                  <a:pt x="331" y="779"/>
                  <a:pt x="315" y="772"/>
                  <a:pt x="306" y="768"/>
                </a:cubicBezTo>
                <a:cubicBezTo>
                  <a:pt x="174" y="692"/>
                  <a:pt x="174" y="692"/>
                  <a:pt x="174" y="692"/>
                </a:cubicBezTo>
                <a:cubicBezTo>
                  <a:pt x="38" y="614"/>
                  <a:pt x="38" y="614"/>
                  <a:pt x="38" y="614"/>
                </a:cubicBezTo>
                <a:cubicBezTo>
                  <a:pt x="31" y="608"/>
                  <a:pt x="15" y="594"/>
                  <a:pt x="9" y="579"/>
                </a:cubicBezTo>
                <a:cubicBezTo>
                  <a:pt x="3" y="566"/>
                  <a:pt x="1" y="554"/>
                  <a:pt x="0" y="547"/>
                </a:cubicBezTo>
                <a:cubicBezTo>
                  <a:pt x="0" y="390"/>
                  <a:pt x="0" y="390"/>
                  <a:pt x="0" y="390"/>
                </a:cubicBezTo>
                <a:cubicBezTo>
                  <a:pt x="0" y="232"/>
                  <a:pt x="0" y="232"/>
                  <a:pt x="0" y="232"/>
                </a:cubicBezTo>
                <a:cubicBezTo>
                  <a:pt x="1" y="223"/>
                  <a:pt x="3" y="210"/>
                  <a:pt x="11" y="197"/>
                </a:cubicBezTo>
                <a:cubicBezTo>
                  <a:pt x="23" y="177"/>
                  <a:pt x="38" y="167"/>
                  <a:pt x="42" y="164"/>
                </a:cubicBezTo>
                <a:cubicBezTo>
                  <a:pt x="174" y="88"/>
                  <a:pt x="174" y="88"/>
                  <a:pt x="174" y="88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27" y="0"/>
                  <a:pt x="352" y="1"/>
                </a:cubicBezTo>
                <a:cubicBezTo>
                  <a:pt x="378" y="3"/>
                  <a:pt x="397" y="15"/>
                  <a:pt x="397" y="15"/>
                </a:cubicBezTo>
                <a:close/>
              </a:path>
            </a:pathLst>
          </a:cu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="" xmlns:a16="http://schemas.microsoft.com/office/drawing/2014/main" id="{253E509F-4A2B-4B7D-85AD-46E60202F591}"/>
              </a:ext>
            </a:extLst>
          </p:cNvPr>
          <p:cNvSpPr>
            <a:spLocks/>
          </p:cNvSpPr>
          <p:nvPr/>
        </p:nvSpPr>
        <p:spPr bwMode="auto">
          <a:xfrm>
            <a:off x="5165062" y="1103540"/>
            <a:ext cx="1814242" cy="2026711"/>
          </a:xfrm>
          <a:custGeom>
            <a:avLst/>
            <a:gdLst/>
            <a:ahLst/>
            <a:cxnLst>
              <a:cxn ang="0">
                <a:pos x="397" y="15"/>
              </a:cxn>
              <a:cxn ang="0">
                <a:pos x="523" y="88"/>
              </a:cxn>
              <a:cxn ang="0">
                <a:pos x="652" y="162"/>
              </a:cxn>
              <a:cxn ang="0">
                <a:pos x="652" y="162"/>
              </a:cxn>
              <a:cxn ang="0">
                <a:pos x="685" y="195"/>
              </a:cxn>
              <a:cxn ang="0">
                <a:pos x="698" y="235"/>
              </a:cxn>
              <a:cxn ang="0">
                <a:pos x="698" y="390"/>
              </a:cxn>
              <a:cxn ang="0">
                <a:pos x="698" y="538"/>
              </a:cxn>
              <a:cxn ang="0">
                <a:pos x="686" y="584"/>
              </a:cxn>
              <a:cxn ang="0">
                <a:pos x="657" y="615"/>
              </a:cxn>
              <a:cxn ang="0">
                <a:pos x="523" y="692"/>
              </a:cxn>
              <a:cxn ang="0">
                <a:pos x="392" y="768"/>
              </a:cxn>
              <a:cxn ang="0">
                <a:pos x="348" y="779"/>
              </a:cxn>
              <a:cxn ang="0">
                <a:pos x="306" y="768"/>
              </a:cxn>
              <a:cxn ang="0">
                <a:pos x="174" y="692"/>
              </a:cxn>
              <a:cxn ang="0">
                <a:pos x="38" y="614"/>
              </a:cxn>
              <a:cxn ang="0">
                <a:pos x="9" y="579"/>
              </a:cxn>
              <a:cxn ang="0">
                <a:pos x="0" y="547"/>
              </a:cxn>
              <a:cxn ang="0">
                <a:pos x="0" y="390"/>
              </a:cxn>
              <a:cxn ang="0">
                <a:pos x="0" y="232"/>
              </a:cxn>
              <a:cxn ang="0">
                <a:pos x="11" y="197"/>
              </a:cxn>
              <a:cxn ang="0">
                <a:pos x="42" y="164"/>
              </a:cxn>
              <a:cxn ang="0">
                <a:pos x="174" y="88"/>
              </a:cxn>
              <a:cxn ang="0">
                <a:pos x="303" y="14"/>
              </a:cxn>
              <a:cxn ang="0">
                <a:pos x="303" y="14"/>
              </a:cxn>
              <a:cxn ang="0">
                <a:pos x="352" y="1"/>
              </a:cxn>
              <a:cxn ang="0">
                <a:pos x="397" y="15"/>
              </a:cxn>
            </a:cxnLst>
            <a:rect l="0" t="0" r="r" b="b"/>
            <a:pathLst>
              <a:path w="698" h="779">
                <a:moveTo>
                  <a:pt x="397" y="15"/>
                </a:moveTo>
                <a:cubicBezTo>
                  <a:pt x="523" y="88"/>
                  <a:pt x="523" y="88"/>
                  <a:pt x="523" y="88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74" y="176"/>
                  <a:pt x="685" y="195"/>
                </a:cubicBezTo>
                <a:cubicBezTo>
                  <a:pt x="694" y="210"/>
                  <a:pt x="697" y="225"/>
                  <a:pt x="698" y="235"/>
                </a:cubicBezTo>
                <a:cubicBezTo>
                  <a:pt x="698" y="390"/>
                  <a:pt x="698" y="390"/>
                  <a:pt x="698" y="390"/>
                </a:cubicBezTo>
                <a:cubicBezTo>
                  <a:pt x="698" y="538"/>
                  <a:pt x="698" y="538"/>
                  <a:pt x="698" y="538"/>
                </a:cubicBezTo>
                <a:cubicBezTo>
                  <a:pt x="698" y="545"/>
                  <a:pt x="696" y="569"/>
                  <a:pt x="686" y="584"/>
                </a:cubicBezTo>
                <a:cubicBezTo>
                  <a:pt x="676" y="599"/>
                  <a:pt x="662" y="611"/>
                  <a:pt x="657" y="615"/>
                </a:cubicBezTo>
                <a:cubicBezTo>
                  <a:pt x="523" y="692"/>
                  <a:pt x="523" y="692"/>
                  <a:pt x="523" y="692"/>
                </a:cubicBezTo>
                <a:cubicBezTo>
                  <a:pt x="392" y="768"/>
                  <a:pt x="392" y="768"/>
                  <a:pt x="392" y="768"/>
                </a:cubicBezTo>
                <a:cubicBezTo>
                  <a:pt x="385" y="772"/>
                  <a:pt x="368" y="779"/>
                  <a:pt x="348" y="779"/>
                </a:cubicBezTo>
                <a:cubicBezTo>
                  <a:pt x="331" y="779"/>
                  <a:pt x="315" y="772"/>
                  <a:pt x="306" y="768"/>
                </a:cubicBezTo>
                <a:cubicBezTo>
                  <a:pt x="174" y="692"/>
                  <a:pt x="174" y="692"/>
                  <a:pt x="174" y="692"/>
                </a:cubicBezTo>
                <a:cubicBezTo>
                  <a:pt x="38" y="614"/>
                  <a:pt x="38" y="614"/>
                  <a:pt x="38" y="614"/>
                </a:cubicBezTo>
                <a:cubicBezTo>
                  <a:pt x="31" y="608"/>
                  <a:pt x="15" y="594"/>
                  <a:pt x="9" y="579"/>
                </a:cubicBezTo>
                <a:cubicBezTo>
                  <a:pt x="3" y="566"/>
                  <a:pt x="1" y="554"/>
                  <a:pt x="0" y="547"/>
                </a:cubicBezTo>
                <a:cubicBezTo>
                  <a:pt x="0" y="390"/>
                  <a:pt x="0" y="390"/>
                  <a:pt x="0" y="390"/>
                </a:cubicBezTo>
                <a:cubicBezTo>
                  <a:pt x="0" y="232"/>
                  <a:pt x="0" y="232"/>
                  <a:pt x="0" y="232"/>
                </a:cubicBezTo>
                <a:cubicBezTo>
                  <a:pt x="1" y="223"/>
                  <a:pt x="3" y="210"/>
                  <a:pt x="11" y="197"/>
                </a:cubicBezTo>
                <a:cubicBezTo>
                  <a:pt x="23" y="177"/>
                  <a:pt x="38" y="167"/>
                  <a:pt x="42" y="164"/>
                </a:cubicBezTo>
                <a:cubicBezTo>
                  <a:pt x="174" y="88"/>
                  <a:pt x="174" y="88"/>
                  <a:pt x="174" y="88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27" y="0"/>
                  <a:pt x="352" y="1"/>
                </a:cubicBezTo>
                <a:cubicBezTo>
                  <a:pt x="378" y="3"/>
                  <a:pt x="397" y="15"/>
                  <a:pt x="397" y="15"/>
                </a:cubicBezTo>
                <a:close/>
              </a:path>
            </a:pathLst>
          </a:cu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64">
            <a:extLst>
              <a:ext uri="{FF2B5EF4-FFF2-40B4-BE49-F238E27FC236}">
                <a16:creationId xmlns="" xmlns:a16="http://schemas.microsoft.com/office/drawing/2014/main" id="{CC28C6BB-2E3B-4429-BA96-F08F7C5C7112}"/>
              </a:ext>
            </a:extLst>
          </p:cNvPr>
          <p:cNvSpPr txBox="1"/>
          <p:nvPr/>
        </p:nvSpPr>
        <p:spPr>
          <a:xfrm>
            <a:off x="2162360" y="2947377"/>
            <a:ext cx="1983930" cy="411138"/>
          </a:xfrm>
          <a:prstGeom prst="rect">
            <a:avLst/>
          </a:prstGeom>
          <a:noFill/>
          <a:effectLst/>
        </p:spPr>
        <p:txBody>
          <a:bodyPr wrap="square" lIns="90234" tIns="45114" rIns="90234" bIns="45114" rtlCol="0">
            <a:noAutofit/>
          </a:bodyPr>
          <a:lstStyle/>
          <a:p>
            <a:pPr algn="ctr" defTabSz="1219078" fontAlgn="ctr">
              <a:lnSpc>
                <a:spcPct val="80000"/>
              </a:lnSpc>
            </a:pPr>
            <a:r>
              <a:rPr lang="en-US" sz="2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latform</a:t>
            </a:r>
            <a:endParaRPr lang="en-US" altLang="zh-CN" sz="2400" b="1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0" name="TextBox 68">
            <a:extLst>
              <a:ext uri="{FF2B5EF4-FFF2-40B4-BE49-F238E27FC236}">
                <a16:creationId xmlns="" xmlns:a16="http://schemas.microsoft.com/office/drawing/2014/main" id="{C2A25165-6F14-4747-81AD-3BDA98A46A06}"/>
              </a:ext>
            </a:extLst>
          </p:cNvPr>
          <p:cNvSpPr txBox="1"/>
          <p:nvPr/>
        </p:nvSpPr>
        <p:spPr>
          <a:xfrm>
            <a:off x="4996904" y="2250871"/>
            <a:ext cx="2147926" cy="392689"/>
          </a:xfrm>
          <a:prstGeom prst="rect">
            <a:avLst/>
          </a:prstGeom>
          <a:noFill/>
          <a:effectLst/>
        </p:spPr>
        <p:txBody>
          <a:bodyPr wrap="square" lIns="35984" tIns="35984" rIns="35984" bIns="35984" rtlCol="0">
            <a:noAutofit/>
          </a:bodyPr>
          <a:lstStyle/>
          <a:p>
            <a:pPr algn="ctr" defTabSz="1219078" fontAlgn="ctr">
              <a:lnSpc>
                <a:spcPct val="80000"/>
              </a:lnSpc>
            </a:pPr>
            <a:r>
              <a:rPr lang="en-US" sz="2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cosystem</a:t>
            </a:r>
            <a:endParaRPr lang="en-US" altLang="zh-CN" sz="2400" b="1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="" xmlns:a16="http://schemas.microsoft.com/office/drawing/2014/main" id="{9B78EF83-0239-455C-A4A1-7D0FFCDC90B5}"/>
              </a:ext>
            </a:extLst>
          </p:cNvPr>
          <p:cNvCxnSpPr/>
          <p:nvPr/>
        </p:nvCxnSpPr>
        <p:spPr>
          <a:xfrm flipV="1">
            <a:off x="3103352" y="3797734"/>
            <a:ext cx="0" cy="2017557"/>
          </a:xfrm>
          <a:prstGeom prst="line">
            <a:avLst/>
          </a:prstGeom>
          <a:ln w="127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="" xmlns:a16="http://schemas.microsoft.com/office/drawing/2014/main" id="{B61FB6CF-6308-46E0-A6EC-B29F4CB9AEBA}"/>
              </a:ext>
            </a:extLst>
          </p:cNvPr>
          <p:cNvCxnSpPr/>
          <p:nvPr/>
        </p:nvCxnSpPr>
        <p:spPr>
          <a:xfrm flipV="1">
            <a:off x="6067309" y="3151984"/>
            <a:ext cx="0" cy="2663306"/>
          </a:xfrm>
          <a:prstGeom prst="line">
            <a:avLst/>
          </a:prstGeom>
          <a:ln w="127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椭圆 22">
            <a:extLst>
              <a:ext uri="{FF2B5EF4-FFF2-40B4-BE49-F238E27FC236}">
                <a16:creationId xmlns="" xmlns:a16="http://schemas.microsoft.com/office/drawing/2014/main" id="{447C9DE1-8115-482F-AB34-0CDDC2F6D153}"/>
              </a:ext>
            </a:extLst>
          </p:cNvPr>
          <p:cNvSpPr/>
          <p:nvPr/>
        </p:nvSpPr>
        <p:spPr>
          <a:xfrm>
            <a:off x="6022335" y="350277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="" xmlns:a16="http://schemas.microsoft.com/office/drawing/2014/main" id="{FDD56114-6358-4AF1-90A7-C950BD89707E}"/>
              </a:ext>
            </a:extLst>
          </p:cNvPr>
          <p:cNvSpPr/>
          <p:nvPr/>
        </p:nvSpPr>
        <p:spPr>
          <a:xfrm>
            <a:off x="6007112" y="4006695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="" xmlns:a16="http://schemas.microsoft.com/office/drawing/2014/main" id="{DEB57AD9-7DA8-42A3-8B4C-D01B802AA652}"/>
              </a:ext>
            </a:extLst>
          </p:cNvPr>
          <p:cNvSpPr/>
          <p:nvPr/>
        </p:nvSpPr>
        <p:spPr>
          <a:xfrm>
            <a:off x="6007112" y="443863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6" name="TextBox 128">
            <a:extLst>
              <a:ext uri="{FF2B5EF4-FFF2-40B4-BE49-F238E27FC236}">
                <a16:creationId xmlns="" xmlns:a16="http://schemas.microsoft.com/office/drawing/2014/main" id="{D794090B-97DD-40FB-80C1-D889D0F8226D}"/>
              </a:ext>
            </a:extLst>
          </p:cNvPr>
          <p:cNvSpPr txBox="1"/>
          <p:nvPr/>
        </p:nvSpPr>
        <p:spPr>
          <a:xfrm>
            <a:off x="6279477" y="3196046"/>
            <a:ext cx="1147400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Developers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7" name="TextBox 129">
            <a:extLst>
              <a:ext uri="{FF2B5EF4-FFF2-40B4-BE49-F238E27FC236}">
                <a16:creationId xmlns="" xmlns:a16="http://schemas.microsoft.com/office/drawing/2014/main" id="{99300232-250A-4773-9ACF-3BFB5E9A1F66}"/>
              </a:ext>
            </a:extLst>
          </p:cNvPr>
          <p:cNvSpPr txBox="1"/>
          <p:nvPr/>
        </p:nvSpPr>
        <p:spPr>
          <a:xfrm>
            <a:off x="5605921" y="3678056"/>
            <a:ext cx="567725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SP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130">
            <a:extLst>
              <a:ext uri="{FF2B5EF4-FFF2-40B4-BE49-F238E27FC236}">
                <a16:creationId xmlns="" xmlns:a16="http://schemas.microsoft.com/office/drawing/2014/main" id="{7F9B721F-C0B3-4006-A194-433CCC624FF7}"/>
              </a:ext>
            </a:extLst>
          </p:cNvPr>
          <p:cNvSpPr txBox="1"/>
          <p:nvPr/>
        </p:nvSpPr>
        <p:spPr>
          <a:xfrm>
            <a:off x="6279475" y="4266422"/>
            <a:ext cx="1912333" cy="36923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Standards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9" name="Freeform 212">
            <a:extLst>
              <a:ext uri="{FF2B5EF4-FFF2-40B4-BE49-F238E27FC236}">
                <a16:creationId xmlns="" xmlns:a16="http://schemas.microsoft.com/office/drawing/2014/main" id="{516FF51B-A4DE-47FA-ACA9-AEA5AABDC1C8}"/>
              </a:ext>
            </a:extLst>
          </p:cNvPr>
          <p:cNvSpPr>
            <a:spLocks noEditPoints="1"/>
          </p:cNvSpPr>
          <p:nvPr/>
        </p:nvSpPr>
        <p:spPr bwMode="auto">
          <a:xfrm rot="975699">
            <a:off x="5717263" y="1560364"/>
            <a:ext cx="805426" cy="723742"/>
          </a:xfrm>
          <a:custGeom>
            <a:avLst/>
            <a:gdLst/>
            <a:ahLst/>
            <a:cxnLst>
              <a:cxn ang="0">
                <a:pos x="219" y="38"/>
              </a:cxn>
              <a:cxn ang="0">
                <a:pos x="193" y="65"/>
              </a:cxn>
              <a:cxn ang="0">
                <a:pos x="194" y="72"/>
              </a:cxn>
              <a:cxn ang="0">
                <a:pos x="156" y="87"/>
              </a:cxn>
              <a:cxn ang="0">
                <a:pos x="105" y="53"/>
              </a:cxn>
              <a:cxn ang="0">
                <a:pos x="69" y="66"/>
              </a:cxn>
              <a:cxn ang="0">
                <a:pos x="48" y="44"/>
              </a:cxn>
              <a:cxn ang="0">
                <a:pos x="55" y="26"/>
              </a:cxn>
              <a:cxn ang="0">
                <a:pos x="28" y="0"/>
              </a:cxn>
              <a:cxn ang="0">
                <a:pos x="2" y="26"/>
              </a:cxn>
              <a:cxn ang="0">
                <a:pos x="28" y="53"/>
              </a:cxn>
              <a:cxn ang="0">
                <a:pos x="44" y="48"/>
              </a:cxn>
              <a:cxn ang="0">
                <a:pos x="64" y="70"/>
              </a:cxn>
              <a:cxn ang="0">
                <a:pos x="48" y="110"/>
              </a:cxn>
              <a:cxn ang="0">
                <a:pos x="64" y="150"/>
              </a:cxn>
              <a:cxn ang="0">
                <a:pos x="42" y="173"/>
              </a:cxn>
              <a:cxn ang="0">
                <a:pos x="27" y="168"/>
              </a:cxn>
              <a:cxn ang="0">
                <a:pos x="0" y="195"/>
              </a:cxn>
              <a:cxn ang="0">
                <a:pos x="27" y="221"/>
              </a:cxn>
              <a:cxn ang="0">
                <a:pos x="53" y="195"/>
              </a:cxn>
              <a:cxn ang="0">
                <a:pos x="47" y="177"/>
              </a:cxn>
              <a:cxn ang="0">
                <a:pos x="68" y="154"/>
              </a:cxn>
              <a:cxn ang="0">
                <a:pos x="105" y="167"/>
              </a:cxn>
              <a:cxn ang="0">
                <a:pos x="162" y="110"/>
              </a:cxn>
              <a:cxn ang="0">
                <a:pos x="159" y="92"/>
              </a:cxn>
              <a:cxn ang="0">
                <a:pos x="196" y="78"/>
              </a:cxn>
              <a:cxn ang="0">
                <a:pos x="219" y="92"/>
              </a:cxn>
              <a:cxn ang="0">
                <a:pos x="246" y="65"/>
              </a:cxn>
              <a:cxn ang="0">
                <a:pos x="219" y="38"/>
              </a:cxn>
              <a:cxn ang="0">
                <a:pos x="8" y="26"/>
              </a:cxn>
              <a:cxn ang="0">
                <a:pos x="28" y="6"/>
              </a:cxn>
              <a:cxn ang="0">
                <a:pos x="49" y="26"/>
              </a:cxn>
              <a:cxn ang="0">
                <a:pos x="28" y="47"/>
              </a:cxn>
              <a:cxn ang="0">
                <a:pos x="8" y="26"/>
              </a:cxn>
              <a:cxn ang="0">
                <a:pos x="27" y="215"/>
              </a:cxn>
              <a:cxn ang="0">
                <a:pos x="6" y="195"/>
              </a:cxn>
              <a:cxn ang="0">
                <a:pos x="27" y="174"/>
              </a:cxn>
              <a:cxn ang="0">
                <a:pos x="47" y="195"/>
              </a:cxn>
              <a:cxn ang="0">
                <a:pos x="27" y="215"/>
              </a:cxn>
              <a:cxn ang="0">
                <a:pos x="105" y="161"/>
              </a:cxn>
              <a:cxn ang="0">
                <a:pos x="54" y="110"/>
              </a:cxn>
              <a:cxn ang="0">
                <a:pos x="105" y="59"/>
              </a:cxn>
              <a:cxn ang="0">
                <a:pos x="156" y="110"/>
              </a:cxn>
              <a:cxn ang="0">
                <a:pos x="105" y="161"/>
              </a:cxn>
              <a:cxn ang="0">
                <a:pos x="219" y="86"/>
              </a:cxn>
              <a:cxn ang="0">
                <a:pos x="199" y="65"/>
              </a:cxn>
              <a:cxn ang="0">
                <a:pos x="219" y="44"/>
              </a:cxn>
              <a:cxn ang="0">
                <a:pos x="240" y="65"/>
              </a:cxn>
              <a:cxn ang="0">
                <a:pos x="219" y="86"/>
              </a:cxn>
            </a:cxnLst>
            <a:rect l="0" t="0" r="r" b="b"/>
            <a:pathLst>
              <a:path w="246" h="221">
                <a:moveTo>
                  <a:pt x="219" y="38"/>
                </a:moveTo>
                <a:cubicBezTo>
                  <a:pt x="205" y="38"/>
                  <a:pt x="193" y="50"/>
                  <a:pt x="193" y="65"/>
                </a:cubicBezTo>
                <a:cubicBezTo>
                  <a:pt x="193" y="67"/>
                  <a:pt x="193" y="70"/>
                  <a:pt x="194" y="7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47" y="67"/>
                  <a:pt x="128" y="53"/>
                  <a:pt x="105" y="53"/>
                </a:cubicBezTo>
                <a:cubicBezTo>
                  <a:pt x="91" y="53"/>
                  <a:pt x="79" y="58"/>
                  <a:pt x="69" y="66"/>
                </a:cubicBezTo>
                <a:cubicBezTo>
                  <a:pt x="48" y="44"/>
                  <a:pt x="48" y="44"/>
                  <a:pt x="48" y="44"/>
                </a:cubicBezTo>
                <a:cubicBezTo>
                  <a:pt x="52" y="39"/>
                  <a:pt x="55" y="33"/>
                  <a:pt x="55" y="26"/>
                </a:cubicBezTo>
                <a:cubicBezTo>
                  <a:pt x="55" y="12"/>
                  <a:pt x="43" y="0"/>
                  <a:pt x="28" y="0"/>
                </a:cubicBezTo>
                <a:cubicBezTo>
                  <a:pt x="14" y="0"/>
                  <a:pt x="2" y="12"/>
                  <a:pt x="2" y="26"/>
                </a:cubicBezTo>
                <a:cubicBezTo>
                  <a:pt x="2" y="41"/>
                  <a:pt x="14" y="53"/>
                  <a:pt x="28" y="53"/>
                </a:cubicBezTo>
                <a:cubicBezTo>
                  <a:pt x="34" y="53"/>
                  <a:pt x="39" y="51"/>
                  <a:pt x="44" y="48"/>
                </a:cubicBezTo>
                <a:cubicBezTo>
                  <a:pt x="64" y="70"/>
                  <a:pt x="64" y="70"/>
                  <a:pt x="64" y="70"/>
                </a:cubicBezTo>
                <a:cubicBezTo>
                  <a:pt x="54" y="81"/>
                  <a:pt x="48" y="95"/>
                  <a:pt x="48" y="110"/>
                </a:cubicBezTo>
                <a:cubicBezTo>
                  <a:pt x="48" y="126"/>
                  <a:pt x="54" y="140"/>
                  <a:pt x="64" y="150"/>
                </a:cubicBezTo>
                <a:cubicBezTo>
                  <a:pt x="42" y="173"/>
                  <a:pt x="42" y="173"/>
                  <a:pt x="42" y="173"/>
                </a:cubicBezTo>
                <a:cubicBezTo>
                  <a:pt x="38" y="170"/>
                  <a:pt x="32" y="168"/>
                  <a:pt x="27" y="168"/>
                </a:cubicBezTo>
                <a:cubicBezTo>
                  <a:pt x="12" y="168"/>
                  <a:pt x="0" y="180"/>
                  <a:pt x="0" y="195"/>
                </a:cubicBezTo>
                <a:cubicBezTo>
                  <a:pt x="0" y="209"/>
                  <a:pt x="12" y="221"/>
                  <a:pt x="27" y="221"/>
                </a:cubicBezTo>
                <a:cubicBezTo>
                  <a:pt x="41" y="221"/>
                  <a:pt x="53" y="209"/>
                  <a:pt x="53" y="195"/>
                </a:cubicBezTo>
                <a:cubicBezTo>
                  <a:pt x="53" y="188"/>
                  <a:pt x="51" y="182"/>
                  <a:pt x="47" y="177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78" y="162"/>
                  <a:pt x="91" y="167"/>
                  <a:pt x="105" y="167"/>
                </a:cubicBezTo>
                <a:cubicBezTo>
                  <a:pt x="136" y="167"/>
                  <a:pt x="162" y="142"/>
                  <a:pt x="162" y="110"/>
                </a:cubicBezTo>
                <a:cubicBezTo>
                  <a:pt x="162" y="104"/>
                  <a:pt x="161" y="98"/>
                  <a:pt x="159" y="92"/>
                </a:cubicBezTo>
                <a:cubicBezTo>
                  <a:pt x="196" y="78"/>
                  <a:pt x="196" y="78"/>
                  <a:pt x="196" y="78"/>
                </a:cubicBezTo>
                <a:cubicBezTo>
                  <a:pt x="200" y="86"/>
                  <a:pt x="209" y="92"/>
                  <a:pt x="219" y="92"/>
                </a:cubicBezTo>
                <a:cubicBezTo>
                  <a:pt x="234" y="92"/>
                  <a:pt x="246" y="80"/>
                  <a:pt x="246" y="65"/>
                </a:cubicBezTo>
                <a:cubicBezTo>
                  <a:pt x="246" y="50"/>
                  <a:pt x="234" y="38"/>
                  <a:pt x="219" y="38"/>
                </a:cubicBezTo>
                <a:close/>
                <a:moveTo>
                  <a:pt x="8" y="26"/>
                </a:moveTo>
                <a:cubicBezTo>
                  <a:pt x="8" y="15"/>
                  <a:pt x="17" y="6"/>
                  <a:pt x="28" y="6"/>
                </a:cubicBezTo>
                <a:cubicBezTo>
                  <a:pt x="40" y="6"/>
                  <a:pt x="49" y="15"/>
                  <a:pt x="49" y="26"/>
                </a:cubicBezTo>
                <a:cubicBezTo>
                  <a:pt x="49" y="38"/>
                  <a:pt x="40" y="47"/>
                  <a:pt x="28" y="47"/>
                </a:cubicBezTo>
                <a:cubicBezTo>
                  <a:pt x="17" y="47"/>
                  <a:pt x="8" y="38"/>
                  <a:pt x="8" y="26"/>
                </a:cubicBezTo>
                <a:close/>
                <a:moveTo>
                  <a:pt x="27" y="215"/>
                </a:moveTo>
                <a:cubicBezTo>
                  <a:pt x="15" y="215"/>
                  <a:pt x="6" y="206"/>
                  <a:pt x="6" y="195"/>
                </a:cubicBezTo>
                <a:cubicBezTo>
                  <a:pt x="6" y="183"/>
                  <a:pt x="15" y="174"/>
                  <a:pt x="27" y="174"/>
                </a:cubicBezTo>
                <a:cubicBezTo>
                  <a:pt x="38" y="174"/>
                  <a:pt x="47" y="183"/>
                  <a:pt x="47" y="195"/>
                </a:cubicBezTo>
                <a:cubicBezTo>
                  <a:pt x="47" y="206"/>
                  <a:pt x="38" y="215"/>
                  <a:pt x="27" y="215"/>
                </a:cubicBezTo>
                <a:close/>
                <a:moveTo>
                  <a:pt x="105" y="161"/>
                </a:moveTo>
                <a:cubicBezTo>
                  <a:pt x="77" y="161"/>
                  <a:pt x="54" y="138"/>
                  <a:pt x="54" y="110"/>
                </a:cubicBezTo>
                <a:cubicBezTo>
                  <a:pt x="54" y="82"/>
                  <a:pt x="77" y="59"/>
                  <a:pt x="105" y="59"/>
                </a:cubicBezTo>
                <a:cubicBezTo>
                  <a:pt x="133" y="59"/>
                  <a:pt x="156" y="82"/>
                  <a:pt x="156" y="110"/>
                </a:cubicBezTo>
                <a:cubicBezTo>
                  <a:pt x="156" y="138"/>
                  <a:pt x="133" y="161"/>
                  <a:pt x="105" y="161"/>
                </a:cubicBezTo>
                <a:close/>
                <a:moveTo>
                  <a:pt x="219" y="86"/>
                </a:moveTo>
                <a:cubicBezTo>
                  <a:pt x="208" y="86"/>
                  <a:pt x="199" y="76"/>
                  <a:pt x="199" y="65"/>
                </a:cubicBezTo>
                <a:cubicBezTo>
                  <a:pt x="199" y="54"/>
                  <a:pt x="208" y="44"/>
                  <a:pt x="219" y="44"/>
                </a:cubicBezTo>
                <a:cubicBezTo>
                  <a:pt x="231" y="44"/>
                  <a:pt x="240" y="54"/>
                  <a:pt x="240" y="65"/>
                </a:cubicBezTo>
                <a:cubicBezTo>
                  <a:pt x="240" y="76"/>
                  <a:pt x="231" y="86"/>
                  <a:pt x="219" y="8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8" tIns="45698" rIns="91398" bIns="45698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grpSp>
        <p:nvGrpSpPr>
          <p:cNvPr id="30" name="组合 134">
            <a:extLst>
              <a:ext uri="{FF2B5EF4-FFF2-40B4-BE49-F238E27FC236}">
                <a16:creationId xmlns="" xmlns:a16="http://schemas.microsoft.com/office/drawing/2014/main" id="{5169865E-594F-414D-9953-C0F57461AACE}"/>
              </a:ext>
            </a:extLst>
          </p:cNvPr>
          <p:cNvGrpSpPr/>
          <p:nvPr/>
        </p:nvGrpSpPr>
        <p:grpSpPr>
          <a:xfrm>
            <a:off x="2504557" y="2139229"/>
            <a:ext cx="1148081" cy="684897"/>
            <a:chOff x="5393419" y="2541230"/>
            <a:chExt cx="1384753" cy="826084"/>
          </a:xfrm>
        </p:grpSpPr>
        <p:sp>
          <p:nvSpPr>
            <p:cNvPr id="31" name="Freeform 178">
              <a:extLst>
                <a:ext uri="{FF2B5EF4-FFF2-40B4-BE49-F238E27FC236}">
                  <a16:creationId xmlns="" xmlns:a16="http://schemas.microsoft.com/office/drawing/2014/main" id="{C405E411-F9A4-4158-92B7-1548EB6B4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419" y="3134405"/>
              <a:ext cx="1384753" cy="232909"/>
            </a:xfrm>
            <a:custGeom>
              <a:avLst/>
              <a:gdLst/>
              <a:ahLst/>
              <a:cxnLst>
                <a:cxn ang="0">
                  <a:pos x="14496" y="160"/>
                </a:cxn>
                <a:cxn ang="0">
                  <a:pos x="15232" y="416"/>
                </a:cxn>
                <a:cxn ang="0">
                  <a:pos x="15488" y="608"/>
                </a:cxn>
                <a:cxn ang="0">
                  <a:pos x="15488" y="832"/>
                </a:cxn>
                <a:cxn ang="0">
                  <a:pos x="15200" y="1088"/>
                </a:cxn>
                <a:cxn ang="0">
                  <a:pos x="14656" y="1312"/>
                </a:cxn>
                <a:cxn ang="0">
                  <a:pos x="13376" y="1600"/>
                </a:cxn>
                <a:cxn ang="0">
                  <a:pos x="11104" y="1920"/>
                </a:cxn>
                <a:cxn ang="0">
                  <a:pos x="8352" y="2016"/>
                </a:cxn>
                <a:cxn ang="0">
                  <a:pos x="5632" y="1920"/>
                </a:cxn>
                <a:cxn ang="0">
                  <a:pos x="3329" y="1600"/>
                </a:cxn>
                <a:cxn ang="0">
                  <a:pos x="2080" y="1312"/>
                </a:cxn>
                <a:cxn ang="0">
                  <a:pos x="1536" y="1088"/>
                </a:cxn>
                <a:cxn ang="0">
                  <a:pos x="1216" y="832"/>
                </a:cxn>
                <a:cxn ang="0">
                  <a:pos x="1216" y="640"/>
                </a:cxn>
                <a:cxn ang="0">
                  <a:pos x="1472" y="448"/>
                </a:cxn>
                <a:cxn ang="0">
                  <a:pos x="2144" y="192"/>
                </a:cxn>
                <a:cxn ang="0">
                  <a:pos x="2112" y="160"/>
                </a:cxn>
                <a:cxn ang="0">
                  <a:pos x="1120" y="416"/>
                </a:cxn>
                <a:cxn ang="0">
                  <a:pos x="416" y="704"/>
                </a:cxn>
                <a:cxn ang="0">
                  <a:pos x="32" y="1024"/>
                </a:cxn>
                <a:cxn ang="0">
                  <a:pos x="0" y="1184"/>
                </a:cxn>
                <a:cxn ang="0">
                  <a:pos x="32" y="1344"/>
                </a:cxn>
                <a:cxn ang="0">
                  <a:pos x="352" y="1664"/>
                </a:cxn>
                <a:cxn ang="0">
                  <a:pos x="992" y="1920"/>
                </a:cxn>
                <a:cxn ang="0">
                  <a:pos x="1920" y="2176"/>
                </a:cxn>
                <a:cxn ang="0">
                  <a:pos x="3680" y="2464"/>
                </a:cxn>
                <a:cxn ang="0">
                  <a:pos x="6689" y="2688"/>
                </a:cxn>
                <a:cxn ang="0">
                  <a:pos x="10080" y="2688"/>
                </a:cxn>
                <a:cxn ang="0">
                  <a:pos x="13088" y="2464"/>
                </a:cxn>
                <a:cxn ang="0">
                  <a:pos x="14880" y="2176"/>
                </a:cxn>
                <a:cxn ang="0">
                  <a:pos x="15776" y="1920"/>
                </a:cxn>
                <a:cxn ang="0">
                  <a:pos x="16416" y="1664"/>
                </a:cxn>
                <a:cxn ang="0">
                  <a:pos x="16769" y="1344"/>
                </a:cxn>
                <a:cxn ang="0">
                  <a:pos x="16800" y="1184"/>
                </a:cxn>
                <a:cxn ang="0">
                  <a:pos x="16736" y="1024"/>
                </a:cxn>
                <a:cxn ang="0">
                  <a:pos x="16608" y="832"/>
                </a:cxn>
                <a:cxn ang="0">
                  <a:pos x="16000" y="544"/>
                </a:cxn>
                <a:cxn ang="0">
                  <a:pos x="15072" y="256"/>
                </a:cxn>
                <a:cxn ang="0">
                  <a:pos x="13856" y="0"/>
                </a:cxn>
              </a:cxnLst>
              <a:rect l="0" t="0" r="r" b="b"/>
              <a:pathLst>
                <a:path w="16800" h="2720">
                  <a:moveTo>
                    <a:pt x="13856" y="0"/>
                  </a:moveTo>
                  <a:lnTo>
                    <a:pt x="14496" y="160"/>
                  </a:lnTo>
                  <a:lnTo>
                    <a:pt x="15040" y="352"/>
                  </a:lnTo>
                  <a:lnTo>
                    <a:pt x="15232" y="416"/>
                  </a:lnTo>
                  <a:lnTo>
                    <a:pt x="15392" y="512"/>
                  </a:lnTo>
                  <a:lnTo>
                    <a:pt x="15488" y="608"/>
                  </a:lnTo>
                  <a:lnTo>
                    <a:pt x="15520" y="704"/>
                  </a:lnTo>
                  <a:lnTo>
                    <a:pt x="15488" y="832"/>
                  </a:lnTo>
                  <a:lnTo>
                    <a:pt x="15392" y="960"/>
                  </a:lnTo>
                  <a:lnTo>
                    <a:pt x="15200" y="1088"/>
                  </a:lnTo>
                  <a:lnTo>
                    <a:pt x="14944" y="1184"/>
                  </a:lnTo>
                  <a:lnTo>
                    <a:pt x="14656" y="1312"/>
                  </a:lnTo>
                  <a:lnTo>
                    <a:pt x="14272" y="1409"/>
                  </a:lnTo>
                  <a:lnTo>
                    <a:pt x="13376" y="1600"/>
                  </a:lnTo>
                  <a:lnTo>
                    <a:pt x="12320" y="1792"/>
                  </a:lnTo>
                  <a:lnTo>
                    <a:pt x="11104" y="1920"/>
                  </a:lnTo>
                  <a:lnTo>
                    <a:pt x="9760" y="1984"/>
                  </a:lnTo>
                  <a:lnTo>
                    <a:pt x="8352" y="2016"/>
                  </a:lnTo>
                  <a:lnTo>
                    <a:pt x="6944" y="1984"/>
                  </a:lnTo>
                  <a:lnTo>
                    <a:pt x="5632" y="1920"/>
                  </a:lnTo>
                  <a:lnTo>
                    <a:pt x="4416" y="1792"/>
                  </a:lnTo>
                  <a:lnTo>
                    <a:pt x="3329" y="1600"/>
                  </a:lnTo>
                  <a:lnTo>
                    <a:pt x="2464" y="1409"/>
                  </a:lnTo>
                  <a:lnTo>
                    <a:pt x="2080" y="1312"/>
                  </a:lnTo>
                  <a:lnTo>
                    <a:pt x="1760" y="1184"/>
                  </a:lnTo>
                  <a:lnTo>
                    <a:pt x="1536" y="1088"/>
                  </a:lnTo>
                  <a:lnTo>
                    <a:pt x="1344" y="960"/>
                  </a:lnTo>
                  <a:lnTo>
                    <a:pt x="1216" y="832"/>
                  </a:lnTo>
                  <a:lnTo>
                    <a:pt x="1184" y="704"/>
                  </a:lnTo>
                  <a:lnTo>
                    <a:pt x="1216" y="640"/>
                  </a:lnTo>
                  <a:lnTo>
                    <a:pt x="1313" y="544"/>
                  </a:lnTo>
                  <a:lnTo>
                    <a:pt x="1472" y="448"/>
                  </a:lnTo>
                  <a:lnTo>
                    <a:pt x="1632" y="352"/>
                  </a:lnTo>
                  <a:lnTo>
                    <a:pt x="2144" y="192"/>
                  </a:lnTo>
                  <a:lnTo>
                    <a:pt x="2721" y="64"/>
                  </a:lnTo>
                  <a:lnTo>
                    <a:pt x="2112" y="160"/>
                  </a:lnTo>
                  <a:lnTo>
                    <a:pt x="1568" y="288"/>
                  </a:lnTo>
                  <a:lnTo>
                    <a:pt x="1120" y="416"/>
                  </a:lnTo>
                  <a:lnTo>
                    <a:pt x="704" y="544"/>
                  </a:lnTo>
                  <a:lnTo>
                    <a:pt x="416" y="704"/>
                  </a:lnTo>
                  <a:lnTo>
                    <a:pt x="160" y="864"/>
                  </a:lnTo>
                  <a:lnTo>
                    <a:pt x="32" y="1024"/>
                  </a:lnTo>
                  <a:lnTo>
                    <a:pt x="0" y="1088"/>
                  </a:lnTo>
                  <a:lnTo>
                    <a:pt x="0" y="1184"/>
                  </a:lnTo>
                  <a:lnTo>
                    <a:pt x="0" y="1280"/>
                  </a:lnTo>
                  <a:lnTo>
                    <a:pt x="32" y="1344"/>
                  </a:lnTo>
                  <a:lnTo>
                    <a:pt x="160" y="1504"/>
                  </a:lnTo>
                  <a:lnTo>
                    <a:pt x="352" y="1664"/>
                  </a:lnTo>
                  <a:lnTo>
                    <a:pt x="641" y="1792"/>
                  </a:lnTo>
                  <a:lnTo>
                    <a:pt x="992" y="1920"/>
                  </a:lnTo>
                  <a:lnTo>
                    <a:pt x="1408" y="2048"/>
                  </a:lnTo>
                  <a:lnTo>
                    <a:pt x="1920" y="2176"/>
                  </a:lnTo>
                  <a:lnTo>
                    <a:pt x="2432" y="2272"/>
                  </a:lnTo>
                  <a:lnTo>
                    <a:pt x="3680" y="2464"/>
                  </a:lnTo>
                  <a:lnTo>
                    <a:pt x="5120" y="2624"/>
                  </a:lnTo>
                  <a:lnTo>
                    <a:pt x="6689" y="2688"/>
                  </a:lnTo>
                  <a:lnTo>
                    <a:pt x="8384" y="2720"/>
                  </a:lnTo>
                  <a:lnTo>
                    <a:pt x="10080" y="2688"/>
                  </a:lnTo>
                  <a:lnTo>
                    <a:pt x="11648" y="2624"/>
                  </a:lnTo>
                  <a:lnTo>
                    <a:pt x="13088" y="2464"/>
                  </a:lnTo>
                  <a:lnTo>
                    <a:pt x="14336" y="2272"/>
                  </a:lnTo>
                  <a:lnTo>
                    <a:pt x="14880" y="2176"/>
                  </a:lnTo>
                  <a:lnTo>
                    <a:pt x="15360" y="2048"/>
                  </a:lnTo>
                  <a:lnTo>
                    <a:pt x="15776" y="1920"/>
                  </a:lnTo>
                  <a:lnTo>
                    <a:pt x="16128" y="1792"/>
                  </a:lnTo>
                  <a:lnTo>
                    <a:pt x="16416" y="1664"/>
                  </a:lnTo>
                  <a:lnTo>
                    <a:pt x="16640" y="1504"/>
                  </a:lnTo>
                  <a:lnTo>
                    <a:pt x="16769" y="1344"/>
                  </a:lnTo>
                  <a:lnTo>
                    <a:pt x="16800" y="1280"/>
                  </a:lnTo>
                  <a:lnTo>
                    <a:pt x="16800" y="1184"/>
                  </a:lnTo>
                  <a:lnTo>
                    <a:pt x="16800" y="1088"/>
                  </a:lnTo>
                  <a:lnTo>
                    <a:pt x="16736" y="1024"/>
                  </a:lnTo>
                  <a:lnTo>
                    <a:pt x="16672" y="928"/>
                  </a:lnTo>
                  <a:lnTo>
                    <a:pt x="16608" y="832"/>
                  </a:lnTo>
                  <a:lnTo>
                    <a:pt x="16352" y="672"/>
                  </a:lnTo>
                  <a:lnTo>
                    <a:pt x="16000" y="544"/>
                  </a:lnTo>
                  <a:lnTo>
                    <a:pt x="15584" y="384"/>
                  </a:lnTo>
                  <a:lnTo>
                    <a:pt x="15072" y="256"/>
                  </a:lnTo>
                  <a:lnTo>
                    <a:pt x="14496" y="129"/>
                  </a:lnTo>
                  <a:lnTo>
                    <a:pt x="13856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Freeform 914">
              <a:extLst>
                <a:ext uri="{FF2B5EF4-FFF2-40B4-BE49-F238E27FC236}">
                  <a16:creationId xmlns="" xmlns:a16="http://schemas.microsoft.com/office/drawing/2014/main" id="{9611EE22-51D0-4CA6-A3A3-8592D2257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1094" y="2541230"/>
              <a:ext cx="748286" cy="676362"/>
            </a:xfrm>
            <a:custGeom>
              <a:avLst/>
              <a:gdLst/>
              <a:ahLst/>
              <a:cxnLst>
                <a:cxn ang="0">
                  <a:pos x="394" y="489"/>
                </a:cxn>
                <a:cxn ang="0">
                  <a:pos x="332" y="480"/>
                </a:cxn>
                <a:cxn ang="0">
                  <a:pos x="307" y="489"/>
                </a:cxn>
                <a:cxn ang="0">
                  <a:pos x="243" y="480"/>
                </a:cxn>
                <a:cxn ang="0">
                  <a:pos x="218" y="489"/>
                </a:cxn>
                <a:cxn ang="0">
                  <a:pos x="156" y="480"/>
                </a:cxn>
                <a:cxn ang="0">
                  <a:pos x="394" y="401"/>
                </a:cxn>
                <a:cxn ang="0">
                  <a:pos x="332" y="392"/>
                </a:cxn>
                <a:cxn ang="0">
                  <a:pos x="307" y="401"/>
                </a:cxn>
                <a:cxn ang="0">
                  <a:pos x="156" y="391"/>
                </a:cxn>
                <a:cxn ang="0">
                  <a:pos x="414" y="358"/>
                </a:cxn>
                <a:cxn ang="0">
                  <a:pos x="472" y="338"/>
                </a:cxn>
                <a:cxn ang="0">
                  <a:pos x="513" y="302"/>
                </a:cxn>
                <a:cxn ang="0">
                  <a:pos x="532" y="253"/>
                </a:cxn>
                <a:cxn ang="0">
                  <a:pos x="526" y="205"/>
                </a:cxn>
                <a:cxn ang="0">
                  <a:pos x="501" y="167"/>
                </a:cxn>
                <a:cxn ang="0">
                  <a:pos x="462" y="139"/>
                </a:cxn>
                <a:cxn ang="0">
                  <a:pos x="434" y="103"/>
                </a:cxn>
                <a:cxn ang="0">
                  <a:pos x="407" y="61"/>
                </a:cxn>
                <a:cxn ang="0">
                  <a:pos x="355" y="23"/>
                </a:cxn>
                <a:cxn ang="0">
                  <a:pos x="284" y="8"/>
                </a:cxn>
                <a:cxn ang="0">
                  <a:pos x="217" y="21"/>
                </a:cxn>
                <a:cxn ang="0">
                  <a:pos x="164" y="59"/>
                </a:cxn>
                <a:cxn ang="0">
                  <a:pos x="135" y="112"/>
                </a:cxn>
                <a:cxn ang="0">
                  <a:pos x="97" y="133"/>
                </a:cxn>
                <a:cxn ang="0">
                  <a:pos x="48" y="161"/>
                </a:cxn>
                <a:cxn ang="0">
                  <a:pos x="16" y="205"/>
                </a:cxn>
                <a:cxn ang="0">
                  <a:pos x="10" y="248"/>
                </a:cxn>
                <a:cxn ang="0">
                  <a:pos x="28" y="300"/>
                </a:cxn>
                <a:cxn ang="0">
                  <a:pos x="69" y="338"/>
                </a:cxn>
                <a:cxn ang="0">
                  <a:pos x="128" y="358"/>
                </a:cxn>
                <a:cxn ang="0">
                  <a:pos x="130" y="366"/>
                </a:cxn>
                <a:cxn ang="0">
                  <a:pos x="82" y="355"/>
                </a:cxn>
                <a:cxn ang="0">
                  <a:pos x="31" y="319"/>
                </a:cxn>
                <a:cxn ang="0">
                  <a:pos x="5" y="273"/>
                </a:cxn>
                <a:cxn ang="0">
                  <a:pos x="2" y="223"/>
                </a:cxn>
                <a:cxn ang="0">
                  <a:pos x="21" y="176"/>
                </a:cxn>
                <a:cxn ang="0">
                  <a:pos x="66" y="136"/>
                </a:cxn>
                <a:cxn ang="0">
                  <a:pos x="123" y="118"/>
                </a:cxn>
                <a:cxn ang="0">
                  <a:pos x="143" y="74"/>
                </a:cxn>
                <a:cxn ang="0">
                  <a:pos x="189" y="26"/>
                </a:cxn>
                <a:cxn ang="0">
                  <a:pos x="255" y="1"/>
                </a:cxn>
                <a:cxn ang="0">
                  <a:pos x="330" y="5"/>
                </a:cxn>
                <a:cxn ang="0">
                  <a:pos x="394" y="36"/>
                </a:cxn>
                <a:cxn ang="0">
                  <a:pos x="437" y="89"/>
                </a:cxn>
                <a:cxn ang="0">
                  <a:pos x="455" y="126"/>
                </a:cxn>
                <a:cxn ang="0">
                  <a:pos x="499" y="154"/>
                </a:cxn>
                <a:cxn ang="0">
                  <a:pos x="531" y="194"/>
                </a:cxn>
                <a:cxn ang="0">
                  <a:pos x="541" y="241"/>
                </a:cxn>
                <a:cxn ang="0">
                  <a:pos x="526" y="297"/>
                </a:cxn>
                <a:cxn ang="0">
                  <a:pos x="486" y="340"/>
                </a:cxn>
                <a:cxn ang="0">
                  <a:pos x="430" y="363"/>
                </a:cxn>
                <a:cxn ang="0">
                  <a:pos x="322" y="241"/>
                </a:cxn>
                <a:cxn ang="0">
                  <a:pos x="386" y="250"/>
                </a:cxn>
              </a:cxnLst>
              <a:rect l="0" t="0" r="r" b="b"/>
              <a:pathLst>
                <a:path w="541" h="489">
                  <a:moveTo>
                    <a:pt x="394" y="489"/>
                  </a:moveTo>
                  <a:lnTo>
                    <a:pt x="322" y="489"/>
                  </a:lnTo>
                  <a:lnTo>
                    <a:pt x="322" y="417"/>
                  </a:lnTo>
                  <a:lnTo>
                    <a:pt x="394" y="417"/>
                  </a:lnTo>
                  <a:lnTo>
                    <a:pt x="394" y="489"/>
                  </a:lnTo>
                  <a:close/>
                  <a:moveTo>
                    <a:pt x="332" y="480"/>
                  </a:moveTo>
                  <a:lnTo>
                    <a:pt x="386" y="480"/>
                  </a:lnTo>
                  <a:lnTo>
                    <a:pt x="386" y="427"/>
                  </a:lnTo>
                  <a:lnTo>
                    <a:pt x="332" y="427"/>
                  </a:lnTo>
                  <a:lnTo>
                    <a:pt x="332" y="480"/>
                  </a:lnTo>
                  <a:close/>
                  <a:moveTo>
                    <a:pt x="307" y="489"/>
                  </a:moveTo>
                  <a:lnTo>
                    <a:pt x="235" y="489"/>
                  </a:lnTo>
                  <a:lnTo>
                    <a:pt x="235" y="417"/>
                  </a:lnTo>
                  <a:lnTo>
                    <a:pt x="307" y="417"/>
                  </a:lnTo>
                  <a:lnTo>
                    <a:pt x="307" y="489"/>
                  </a:lnTo>
                  <a:close/>
                  <a:moveTo>
                    <a:pt x="243" y="480"/>
                  </a:moveTo>
                  <a:lnTo>
                    <a:pt x="297" y="480"/>
                  </a:lnTo>
                  <a:lnTo>
                    <a:pt x="297" y="427"/>
                  </a:lnTo>
                  <a:lnTo>
                    <a:pt x="243" y="427"/>
                  </a:lnTo>
                  <a:lnTo>
                    <a:pt x="243" y="480"/>
                  </a:lnTo>
                  <a:close/>
                  <a:moveTo>
                    <a:pt x="218" y="489"/>
                  </a:moveTo>
                  <a:lnTo>
                    <a:pt x="148" y="489"/>
                  </a:lnTo>
                  <a:lnTo>
                    <a:pt x="148" y="417"/>
                  </a:lnTo>
                  <a:lnTo>
                    <a:pt x="218" y="417"/>
                  </a:lnTo>
                  <a:lnTo>
                    <a:pt x="218" y="489"/>
                  </a:lnTo>
                  <a:close/>
                  <a:moveTo>
                    <a:pt x="156" y="480"/>
                  </a:moveTo>
                  <a:lnTo>
                    <a:pt x="210" y="480"/>
                  </a:lnTo>
                  <a:lnTo>
                    <a:pt x="210" y="427"/>
                  </a:lnTo>
                  <a:lnTo>
                    <a:pt x="156" y="427"/>
                  </a:lnTo>
                  <a:lnTo>
                    <a:pt x="156" y="480"/>
                  </a:lnTo>
                  <a:close/>
                  <a:moveTo>
                    <a:pt x="394" y="401"/>
                  </a:moveTo>
                  <a:lnTo>
                    <a:pt x="322" y="401"/>
                  </a:lnTo>
                  <a:lnTo>
                    <a:pt x="322" y="330"/>
                  </a:lnTo>
                  <a:lnTo>
                    <a:pt x="394" y="330"/>
                  </a:lnTo>
                  <a:lnTo>
                    <a:pt x="394" y="401"/>
                  </a:lnTo>
                  <a:close/>
                  <a:moveTo>
                    <a:pt x="332" y="392"/>
                  </a:moveTo>
                  <a:lnTo>
                    <a:pt x="386" y="392"/>
                  </a:lnTo>
                  <a:lnTo>
                    <a:pt x="386" y="338"/>
                  </a:lnTo>
                  <a:lnTo>
                    <a:pt x="332" y="338"/>
                  </a:lnTo>
                  <a:lnTo>
                    <a:pt x="332" y="392"/>
                  </a:lnTo>
                  <a:close/>
                  <a:moveTo>
                    <a:pt x="307" y="401"/>
                  </a:moveTo>
                  <a:lnTo>
                    <a:pt x="148" y="401"/>
                  </a:lnTo>
                  <a:lnTo>
                    <a:pt x="148" y="241"/>
                  </a:lnTo>
                  <a:lnTo>
                    <a:pt x="307" y="241"/>
                  </a:lnTo>
                  <a:lnTo>
                    <a:pt x="307" y="401"/>
                  </a:lnTo>
                  <a:close/>
                  <a:moveTo>
                    <a:pt x="156" y="391"/>
                  </a:moveTo>
                  <a:lnTo>
                    <a:pt x="299" y="391"/>
                  </a:lnTo>
                  <a:lnTo>
                    <a:pt x="299" y="250"/>
                  </a:lnTo>
                  <a:lnTo>
                    <a:pt x="156" y="250"/>
                  </a:lnTo>
                  <a:lnTo>
                    <a:pt x="156" y="391"/>
                  </a:lnTo>
                  <a:close/>
                  <a:moveTo>
                    <a:pt x="416" y="366"/>
                  </a:moveTo>
                  <a:lnTo>
                    <a:pt x="407" y="366"/>
                  </a:lnTo>
                  <a:lnTo>
                    <a:pt x="407" y="358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29" y="355"/>
                  </a:lnTo>
                  <a:lnTo>
                    <a:pt x="440" y="353"/>
                  </a:lnTo>
                  <a:lnTo>
                    <a:pt x="452" y="348"/>
                  </a:lnTo>
                  <a:lnTo>
                    <a:pt x="462" y="345"/>
                  </a:lnTo>
                  <a:lnTo>
                    <a:pt x="472" y="338"/>
                  </a:lnTo>
                  <a:lnTo>
                    <a:pt x="481" y="333"/>
                  </a:lnTo>
                  <a:lnTo>
                    <a:pt x="491" y="327"/>
                  </a:lnTo>
                  <a:lnTo>
                    <a:pt x="499" y="319"/>
                  </a:lnTo>
                  <a:lnTo>
                    <a:pt x="506" y="310"/>
                  </a:lnTo>
                  <a:lnTo>
                    <a:pt x="513" y="302"/>
                  </a:lnTo>
                  <a:lnTo>
                    <a:pt x="519" y="292"/>
                  </a:lnTo>
                  <a:lnTo>
                    <a:pt x="524" y="284"/>
                  </a:lnTo>
                  <a:lnTo>
                    <a:pt x="527" y="274"/>
                  </a:lnTo>
                  <a:lnTo>
                    <a:pt x="531" y="263"/>
                  </a:lnTo>
                  <a:lnTo>
                    <a:pt x="532" y="253"/>
                  </a:lnTo>
                  <a:lnTo>
                    <a:pt x="532" y="241"/>
                  </a:lnTo>
                  <a:lnTo>
                    <a:pt x="532" y="231"/>
                  </a:lnTo>
                  <a:lnTo>
                    <a:pt x="531" y="223"/>
                  </a:lnTo>
                  <a:lnTo>
                    <a:pt x="529" y="213"/>
                  </a:lnTo>
                  <a:lnTo>
                    <a:pt x="526" y="205"/>
                  </a:lnTo>
                  <a:lnTo>
                    <a:pt x="522" y="197"/>
                  </a:lnTo>
                  <a:lnTo>
                    <a:pt x="518" y="189"/>
                  </a:lnTo>
                  <a:lnTo>
                    <a:pt x="513" y="181"/>
                  </a:lnTo>
                  <a:lnTo>
                    <a:pt x="508" y="174"/>
                  </a:lnTo>
                  <a:lnTo>
                    <a:pt x="501" y="167"/>
                  </a:lnTo>
                  <a:lnTo>
                    <a:pt x="495" y="161"/>
                  </a:lnTo>
                  <a:lnTo>
                    <a:pt x="486" y="154"/>
                  </a:lnTo>
                  <a:lnTo>
                    <a:pt x="480" y="149"/>
                  </a:lnTo>
                  <a:lnTo>
                    <a:pt x="470" y="143"/>
                  </a:lnTo>
                  <a:lnTo>
                    <a:pt x="462" y="139"/>
                  </a:lnTo>
                  <a:lnTo>
                    <a:pt x="452" y="135"/>
                  </a:lnTo>
                  <a:lnTo>
                    <a:pt x="440" y="131"/>
                  </a:lnTo>
                  <a:lnTo>
                    <a:pt x="439" y="121"/>
                  </a:lnTo>
                  <a:lnTo>
                    <a:pt x="435" y="110"/>
                  </a:lnTo>
                  <a:lnTo>
                    <a:pt x="434" y="103"/>
                  </a:lnTo>
                  <a:lnTo>
                    <a:pt x="432" y="98"/>
                  </a:lnTo>
                  <a:lnTo>
                    <a:pt x="426" y="87"/>
                  </a:lnTo>
                  <a:lnTo>
                    <a:pt x="419" y="75"/>
                  </a:lnTo>
                  <a:lnTo>
                    <a:pt x="416" y="70"/>
                  </a:lnTo>
                  <a:lnTo>
                    <a:pt x="407" y="61"/>
                  </a:lnTo>
                  <a:lnTo>
                    <a:pt x="399" y="52"/>
                  </a:lnTo>
                  <a:lnTo>
                    <a:pt x="389" y="43"/>
                  </a:lnTo>
                  <a:lnTo>
                    <a:pt x="378" y="36"/>
                  </a:lnTo>
                  <a:lnTo>
                    <a:pt x="366" y="29"/>
                  </a:lnTo>
                  <a:lnTo>
                    <a:pt x="355" y="23"/>
                  </a:lnTo>
                  <a:lnTo>
                    <a:pt x="342" y="18"/>
                  </a:lnTo>
                  <a:lnTo>
                    <a:pt x="329" y="13"/>
                  </a:lnTo>
                  <a:lnTo>
                    <a:pt x="314" y="11"/>
                  </a:lnTo>
                  <a:lnTo>
                    <a:pt x="299" y="10"/>
                  </a:lnTo>
                  <a:lnTo>
                    <a:pt x="284" y="8"/>
                  </a:lnTo>
                  <a:lnTo>
                    <a:pt x="271" y="10"/>
                  </a:lnTo>
                  <a:lnTo>
                    <a:pt x="256" y="11"/>
                  </a:lnTo>
                  <a:lnTo>
                    <a:pt x="243" y="13"/>
                  </a:lnTo>
                  <a:lnTo>
                    <a:pt x="230" y="18"/>
                  </a:lnTo>
                  <a:lnTo>
                    <a:pt x="217" y="21"/>
                  </a:lnTo>
                  <a:lnTo>
                    <a:pt x="205" y="28"/>
                  </a:lnTo>
                  <a:lnTo>
                    <a:pt x="194" y="34"/>
                  </a:lnTo>
                  <a:lnTo>
                    <a:pt x="184" y="41"/>
                  </a:lnTo>
                  <a:lnTo>
                    <a:pt x="174" y="49"/>
                  </a:lnTo>
                  <a:lnTo>
                    <a:pt x="164" y="59"/>
                  </a:lnTo>
                  <a:lnTo>
                    <a:pt x="156" y="67"/>
                  </a:lnTo>
                  <a:lnTo>
                    <a:pt x="149" y="77"/>
                  </a:lnTo>
                  <a:lnTo>
                    <a:pt x="143" y="89"/>
                  </a:lnTo>
                  <a:lnTo>
                    <a:pt x="138" y="100"/>
                  </a:lnTo>
                  <a:lnTo>
                    <a:pt x="135" y="112"/>
                  </a:lnTo>
                  <a:lnTo>
                    <a:pt x="133" y="116"/>
                  </a:lnTo>
                  <a:lnTo>
                    <a:pt x="130" y="126"/>
                  </a:lnTo>
                  <a:lnTo>
                    <a:pt x="122" y="126"/>
                  </a:lnTo>
                  <a:lnTo>
                    <a:pt x="108" y="130"/>
                  </a:lnTo>
                  <a:lnTo>
                    <a:pt x="97" y="133"/>
                  </a:lnTo>
                  <a:lnTo>
                    <a:pt x="85" y="136"/>
                  </a:lnTo>
                  <a:lnTo>
                    <a:pt x="76" y="141"/>
                  </a:lnTo>
                  <a:lnTo>
                    <a:pt x="66" y="146"/>
                  </a:lnTo>
                  <a:lnTo>
                    <a:pt x="56" y="153"/>
                  </a:lnTo>
                  <a:lnTo>
                    <a:pt x="48" y="161"/>
                  </a:lnTo>
                  <a:lnTo>
                    <a:pt x="39" y="167"/>
                  </a:lnTo>
                  <a:lnTo>
                    <a:pt x="33" y="176"/>
                  </a:lnTo>
                  <a:lnTo>
                    <a:pt x="26" y="185"/>
                  </a:lnTo>
                  <a:lnTo>
                    <a:pt x="20" y="195"/>
                  </a:lnTo>
                  <a:lnTo>
                    <a:pt x="16" y="205"/>
                  </a:lnTo>
                  <a:lnTo>
                    <a:pt x="15" y="210"/>
                  </a:lnTo>
                  <a:lnTo>
                    <a:pt x="11" y="220"/>
                  </a:lnTo>
                  <a:lnTo>
                    <a:pt x="10" y="231"/>
                  </a:lnTo>
                  <a:lnTo>
                    <a:pt x="10" y="241"/>
                  </a:lnTo>
                  <a:lnTo>
                    <a:pt x="10" y="248"/>
                  </a:lnTo>
                  <a:lnTo>
                    <a:pt x="10" y="259"/>
                  </a:lnTo>
                  <a:lnTo>
                    <a:pt x="13" y="269"/>
                  </a:lnTo>
                  <a:lnTo>
                    <a:pt x="16" y="281"/>
                  </a:lnTo>
                  <a:lnTo>
                    <a:pt x="21" y="291"/>
                  </a:lnTo>
                  <a:lnTo>
                    <a:pt x="28" y="300"/>
                  </a:lnTo>
                  <a:lnTo>
                    <a:pt x="34" y="309"/>
                  </a:lnTo>
                  <a:lnTo>
                    <a:pt x="41" y="317"/>
                  </a:lnTo>
                  <a:lnTo>
                    <a:pt x="49" y="325"/>
                  </a:lnTo>
                  <a:lnTo>
                    <a:pt x="59" y="333"/>
                  </a:lnTo>
                  <a:lnTo>
                    <a:pt x="69" y="338"/>
                  </a:lnTo>
                  <a:lnTo>
                    <a:pt x="80" y="345"/>
                  </a:lnTo>
                  <a:lnTo>
                    <a:pt x="92" y="350"/>
                  </a:lnTo>
                  <a:lnTo>
                    <a:pt x="103" y="353"/>
                  </a:lnTo>
                  <a:lnTo>
                    <a:pt x="115" y="356"/>
                  </a:lnTo>
                  <a:lnTo>
                    <a:pt x="128" y="358"/>
                  </a:lnTo>
                  <a:lnTo>
                    <a:pt x="140" y="358"/>
                  </a:lnTo>
                  <a:lnTo>
                    <a:pt x="140" y="361"/>
                  </a:lnTo>
                  <a:lnTo>
                    <a:pt x="135" y="363"/>
                  </a:lnTo>
                  <a:lnTo>
                    <a:pt x="135" y="366"/>
                  </a:lnTo>
                  <a:lnTo>
                    <a:pt x="130" y="366"/>
                  </a:lnTo>
                  <a:lnTo>
                    <a:pt x="130" y="366"/>
                  </a:lnTo>
                  <a:lnTo>
                    <a:pt x="122" y="365"/>
                  </a:lnTo>
                  <a:lnTo>
                    <a:pt x="107" y="363"/>
                  </a:lnTo>
                  <a:lnTo>
                    <a:pt x="95" y="360"/>
                  </a:lnTo>
                  <a:lnTo>
                    <a:pt x="82" y="355"/>
                  </a:lnTo>
                  <a:lnTo>
                    <a:pt x="71" y="350"/>
                  </a:lnTo>
                  <a:lnTo>
                    <a:pt x="59" y="343"/>
                  </a:lnTo>
                  <a:lnTo>
                    <a:pt x="49" y="337"/>
                  </a:lnTo>
                  <a:lnTo>
                    <a:pt x="39" y="328"/>
                  </a:lnTo>
                  <a:lnTo>
                    <a:pt x="31" y="319"/>
                  </a:lnTo>
                  <a:lnTo>
                    <a:pt x="23" y="310"/>
                  </a:lnTo>
                  <a:lnTo>
                    <a:pt x="16" y="300"/>
                  </a:lnTo>
                  <a:lnTo>
                    <a:pt x="13" y="294"/>
                  </a:lnTo>
                  <a:lnTo>
                    <a:pt x="8" y="284"/>
                  </a:lnTo>
                  <a:lnTo>
                    <a:pt x="5" y="273"/>
                  </a:lnTo>
                  <a:lnTo>
                    <a:pt x="2" y="261"/>
                  </a:lnTo>
                  <a:lnTo>
                    <a:pt x="0" y="248"/>
                  </a:lnTo>
                  <a:lnTo>
                    <a:pt x="0" y="241"/>
                  </a:lnTo>
                  <a:lnTo>
                    <a:pt x="0" y="236"/>
                  </a:lnTo>
                  <a:lnTo>
                    <a:pt x="2" y="223"/>
                  </a:lnTo>
                  <a:lnTo>
                    <a:pt x="3" y="218"/>
                  </a:lnTo>
                  <a:lnTo>
                    <a:pt x="7" y="207"/>
                  </a:lnTo>
                  <a:lnTo>
                    <a:pt x="10" y="195"/>
                  </a:lnTo>
                  <a:lnTo>
                    <a:pt x="16" y="185"/>
                  </a:lnTo>
                  <a:lnTo>
                    <a:pt x="21" y="176"/>
                  </a:lnTo>
                  <a:lnTo>
                    <a:pt x="30" y="167"/>
                  </a:lnTo>
                  <a:lnTo>
                    <a:pt x="38" y="158"/>
                  </a:lnTo>
                  <a:lnTo>
                    <a:pt x="46" y="149"/>
                  </a:lnTo>
                  <a:lnTo>
                    <a:pt x="56" y="143"/>
                  </a:lnTo>
                  <a:lnTo>
                    <a:pt x="66" y="136"/>
                  </a:lnTo>
                  <a:lnTo>
                    <a:pt x="77" y="131"/>
                  </a:lnTo>
                  <a:lnTo>
                    <a:pt x="89" y="126"/>
                  </a:lnTo>
                  <a:lnTo>
                    <a:pt x="100" y="123"/>
                  </a:lnTo>
                  <a:lnTo>
                    <a:pt x="113" y="120"/>
                  </a:lnTo>
                  <a:lnTo>
                    <a:pt x="123" y="118"/>
                  </a:lnTo>
                  <a:lnTo>
                    <a:pt x="125" y="115"/>
                  </a:lnTo>
                  <a:lnTo>
                    <a:pt x="126" y="108"/>
                  </a:lnTo>
                  <a:lnTo>
                    <a:pt x="130" y="97"/>
                  </a:lnTo>
                  <a:lnTo>
                    <a:pt x="136" y="84"/>
                  </a:lnTo>
                  <a:lnTo>
                    <a:pt x="143" y="74"/>
                  </a:lnTo>
                  <a:lnTo>
                    <a:pt x="149" y="62"/>
                  </a:lnTo>
                  <a:lnTo>
                    <a:pt x="159" y="52"/>
                  </a:lnTo>
                  <a:lnTo>
                    <a:pt x="168" y="43"/>
                  </a:lnTo>
                  <a:lnTo>
                    <a:pt x="179" y="34"/>
                  </a:lnTo>
                  <a:lnTo>
                    <a:pt x="189" y="26"/>
                  </a:lnTo>
                  <a:lnTo>
                    <a:pt x="202" y="20"/>
                  </a:lnTo>
                  <a:lnTo>
                    <a:pt x="214" y="15"/>
                  </a:lnTo>
                  <a:lnTo>
                    <a:pt x="227" y="10"/>
                  </a:lnTo>
                  <a:lnTo>
                    <a:pt x="241" y="5"/>
                  </a:lnTo>
                  <a:lnTo>
                    <a:pt x="255" y="1"/>
                  </a:lnTo>
                  <a:lnTo>
                    <a:pt x="269" y="0"/>
                  </a:lnTo>
                  <a:lnTo>
                    <a:pt x="284" y="0"/>
                  </a:lnTo>
                  <a:lnTo>
                    <a:pt x="301" y="0"/>
                  </a:lnTo>
                  <a:lnTo>
                    <a:pt x="315" y="3"/>
                  </a:lnTo>
                  <a:lnTo>
                    <a:pt x="330" y="5"/>
                  </a:lnTo>
                  <a:lnTo>
                    <a:pt x="345" y="10"/>
                  </a:lnTo>
                  <a:lnTo>
                    <a:pt x="358" y="15"/>
                  </a:lnTo>
                  <a:lnTo>
                    <a:pt x="371" y="21"/>
                  </a:lnTo>
                  <a:lnTo>
                    <a:pt x="383" y="28"/>
                  </a:lnTo>
                  <a:lnTo>
                    <a:pt x="394" y="36"/>
                  </a:lnTo>
                  <a:lnTo>
                    <a:pt x="404" y="46"/>
                  </a:lnTo>
                  <a:lnTo>
                    <a:pt x="414" y="56"/>
                  </a:lnTo>
                  <a:lnTo>
                    <a:pt x="422" y="66"/>
                  </a:lnTo>
                  <a:lnTo>
                    <a:pt x="430" y="77"/>
                  </a:lnTo>
                  <a:lnTo>
                    <a:pt x="437" y="89"/>
                  </a:lnTo>
                  <a:lnTo>
                    <a:pt x="439" y="95"/>
                  </a:lnTo>
                  <a:lnTo>
                    <a:pt x="442" y="102"/>
                  </a:lnTo>
                  <a:lnTo>
                    <a:pt x="445" y="113"/>
                  </a:lnTo>
                  <a:lnTo>
                    <a:pt x="449" y="125"/>
                  </a:lnTo>
                  <a:lnTo>
                    <a:pt x="455" y="126"/>
                  </a:lnTo>
                  <a:lnTo>
                    <a:pt x="465" y="131"/>
                  </a:lnTo>
                  <a:lnTo>
                    <a:pt x="475" y="136"/>
                  </a:lnTo>
                  <a:lnTo>
                    <a:pt x="483" y="141"/>
                  </a:lnTo>
                  <a:lnTo>
                    <a:pt x="493" y="148"/>
                  </a:lnTo>
                  <a:lnTo>
                    <a:pt x="499" y="154"/>
                  </a:lnTo>
                  <a:lnTo>
                    <a:pt x="508" y="161"/>
                  </a:lnTo>
                  <a:lnTo>
                    <a:pt x="514" y="169"/>
                  </a:lnTo>
                  <a:lnTo>
                    <a:pt x="519" y="176"/>
                  </a:lnTo>
                  <a:lnTo>
                    <a:pt x="526" y="184"/>
                  </a:lnTo>
                  <a:lnTo>
                    <a:pt x="531" y="194"/>
                  </a:lnTo>
                  <a:lnTo>
                    <a:pt x="534" y="202"/>
                  </a:lnTo>
                  <a:lnTo>
                    <a:pt x="537" y="212"/>
                  </a:lnTo>
                  <a:lnTo>
                    <a:pt x="539" y="222"/>
                  </a:lnTo>
                  <a:lnTo>
                    <a:pt x="541" y="231"/>
                  </a:lnTo>
                  <a:lnTo>
                    <a:pt x="541" y="241"/>
                  </a:lnTo>
                  <a:lnTo>
                    <a:pt x="541" y="253"/>
                  </a:lnTo>
                  <a:lnTo>
                    <a:pt x="539" y="264"/>
                  </a:lnTo>
                  <a:lnTo>
                    <a:pt x="536" y="276"/>
                  </a:lnTo>
                  <a:lnTo>
                    <a:pt x="531" y="287"/>
                  </a:lnTo>
                  <a:lnTo>
                    <a:pt x="526" y="297"/>
                  </a:lnTo>
                  <a:lnTo>
                    <a:pt x="521" y="307"/>
                  </a:lnTo>
                  <a:lnTo>
                    <a:pt x="513" y="317"/>
                  </a:lnTo>
                  <a:lnTo>
                    <a:pt x="504" y="325"/>
                  </a:lnTo>
                  <a:lnTo>
                    <a:pt x="496" y="333"/>
                  </a:lnTo>
                  <a:lnTo>
                    <a:pt x="486" y="340"/>
                  </a:lnTo>
                  <a:lnTo>
                    <a:pt x="476" y="346"/>
                  </a:lnTo>
                  <a:lnTo>
                    <a:pt x="465" y="351"/>
                  </a:lnTo>
                  <a:lnTo>
                    <a:pt x="453" y="356"/>
                  </a:lnTo>
                  <a:lnTo>
                    <a:pt x="442" y="361"/>
                  </a:lnTo>
                  <a:lnTo>
                    <a:pt x="430" y="363"/>
                  </a:lnTo>
                  <a:lnTo>
                    <a:pt x="417" y="366"/>
                  </a:lnTo>
                  <a:lnTo>
                    <a:pt x="416" y="366"/>
                  </a:lnTo>
                  <a:close/>
                  <a:moveTo>
                    <a:pt x="394" y="312"/>
                  </a:moveTo>
                  <a:lnTo>
                    <a:pt x="322" y="312"/>
                  </a:lnTo>
                  <a:lnTo>
                    <a:pt x="322" y="241"/>
                  </a:lnTo>
                  <a:lnTo>
                    <a:pt x="394" y="241"/>
                  </a:lnTo>
                  <a:lnTo>
                    <a:pt x="394" y="312"/>
                  </a:lnTo>
                  <a:close/>
                  <a:moveTo>
                    <a:pt x="332" y="304"/>
                  </a:moveTo>
                  <a:lnTo>
                    <a:pt x="386" y="304"/>
                  </a:lnTo>
                  <a:lnTo>
                    <a:pt x="386" y="250"/>
                  </a:lnTo>
                  <a:lnTo>
                    <a:pt x="332" y="250"/>
                  </a:lnTo>
                  <a:lnTo>
                    <a:pt x="332" y="304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cxnSp>
        <p:nvCxnSpPr>
          <p:cNvPr id="35" name="直接连接符 34">
            <a:extLst>
              <a:ext uri="{FF2B5EF4-FFF2-40B4-BE49-F238E27FC236}">
                <a16:creationId xmlns="" xmlns:a16="http://schemas.microsoft.com/office/drawing/2014/main" id="{6678DD86-00B2-4D4B-B8F6-AB7A99380019}"/>
              </a:ext>
            </a:extLst>
          </p:cNvPr>
          <p:cNvCxnSpPr>
            <a:cxnSpLocks/>
          </p:cNvCxnSpPr>
          <p:nvPr/>
        </p:nvCxnSpPr>
        <p:spPr>
          <a:xfrm flipV="1">
            <a:off x="4013637" y="2139229"/>
            <a:ext cx="1148713" cy="560764"/>
          </a:xfrm>
          <a:prstGeom prst="line">
            <a:avLst/>
          </a:prstGeom>
          <a:ln w="41275">
            <a:solidFill>
              <a:srgbClr val="2DC2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椭圆 35">
            <a:extLst>
              <a:ext uri="{FF2B5EF4-FFF2-40B4-BE49-F238E27FC236}">
                <a16:creationId xmlns="" xmlns:a16="http://schemas.microsoft.com/office/drawing/2014/main" id="{8EED1274-532B-45BC-A974-D99FF0417919}"/>
              </a:ext>
            </a:extLst>
          </p:cNvPr>
          <p:cNvSpPr/>
          <p:nvPr/>
        </p:nvSpPr>
        <p:spPr>
          <a:xfrm>
            <a:off x="3047811" y="414827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="" xmlns:a16="http://schemas.microsoft.com/office/drawing/2014/main" id="{03FE68CA-DB8C-44C7-A4AF-DE3F09F6ABE4}"/>
              </a:ext>
            </a:extLst>
          </p:cNvPr>
          <p:cNvSpPr/>
          <p:nvPr/>
        </p:nvSpPr>
        <p:spPr>
          <a:xfrm>
            <a:off x="3047811" y="5009376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Box 74">
            <a:extLst>
              <a:ext uri="{FF2B5EF4-FFF2-40B4-BE49-F238E27FC236}">
                <a16:creationId xmlns="" xmlns:a16="http://schemas.microsoft.com/office/drawing/2014/main" id="{D14A69B6-71E5-406A-B581-CEA872DAD6EF}"/>
              </a:ext>
            </a:extLst>
          </p:cNvPr>
          <p:cNvSpPr txBox="1"/>
          <p:nvPr/>
        </p:nvSpPr>
        <p:spPr>
          <a:xfrm>
            <a:off x="1807843" y="4378809"/>
            <a:ext cx="11474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Flexible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9" name="TextBox 75">
            <a:extLst>
              <a:ext uri="{FF2B5EF4-FFF2-40B4-BE49-F238E27FC236}">
                <a16:creationId xmlns="" xmlns:a16="http://schemas.microsoft.com/office/drawing/2014/main" id="{59E2879E-27F6-43FB-B562-59ECA27B0B39}"/>
              </a:ext>
            </a:extLst>
          </p:cNvPr>
          <p:cNvSpPr txBox="1"/>
          <p:nvPr/>
        </p:nvSpPr>
        <p:spPr>
          <a:xfrm>
            <a:off x="3242376" y="3982963"/>
            <a:ext cx="764933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Open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0" name="TextBox 76">
            <a:extLst>
              <a:ext uri="{FF2B5EF4-FFF2-40B4-BE49-F238E27FC236}">
                <a16:creationId xmlns="" xmlns:a16="http://schemas.microsoft.com/office/drawing/2014/main" id="{FEE21C93-3810-4D80-909D-A29854D2E621}"/>
              </a:ext>
            </a:extLst>
          </p:cNvPr>
          <p:cNvSpPr txBox="1"/>
          <p:nvPr/>
        </p:nvSpPr>
        <p:spPr>
          <a:xfrm>
            <a:off x="3242379" y="4803892"/>
            <a:ext cx="764933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Elastic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  <a:sym typeface="Huawei Script Regular" charset="0"/>
            </a:endParaRPr>
          </a:p>
        </p:txBody>
      </p:sp>
      <p:sp>
        <p:nvSpPr>
          <p:cNvPr id="41" name="TextBox 42">
            <a:extLst>
              <a:ext uri="{FF2B5EF4-FFF2-40B4-BE49-F238E27FC236}">
                <a16:creationId xmlns="" xmlns:a16="http://schemas.microsoft.com/office/drawing/2014/main" id="{12869958-0FFC-4520-822E-61650BFA17BE}"/>
              </a:ext>
            </a:extLst>
          </p:cNvPr>
          <p:cNvSpPr txBox="1"/>
          <p:nvPr/>
        </p:nvSpPr>
        <p:spPr>
          <a:xfrm>
            <a:off x="1807843" y="5165749"/>
            <a:ext cx="1147400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Secure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  <a:sym typeface="Huawei Script Regular" charset="0"/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="" xmlns:a16="http://schemas.microsoft.com/office/drawing/2014/main" id="{47C5061F-AA5C-45D3-AE9A-8E3DBE167C8B}"/>
              </a:ext>
            </a:extLst>
          </p:cNvPr>
          <p:cNvSpPr/>
          <p:nvPr/>
        </p:nvSpPr>
        <p:spPr>
          <a:xfrm>
            <a:off x="3057334" y="537123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="" xmlns:a16="http://schemas.microsoft.com/office/drawing/2014/main" id="{900CAE23-6231-452B-95DB-093E6694C155}"/>
              </a:ext>
            </a:extLst>
          </p:cNvPr>
          <p:cNvSpPr/>
          <p:nvPr/>
        </p:nvSpPr>
        <p:spPr>
          <a:xfrm>
            <a:off x="3047811" y="4590384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="" xmlns:a16="http://schemas.microsoft.com/office/drawing/2014/main" id="{D94DD66F-9B37-4A3A-83BF-0DDE539D2EA8}"/>
              </a:ext>
            </a:extLst>
          </p:cNvPr>
          <p:cNvSpPr/>
          <p:nvPr/>
        </p:nvSpPr>
        <p:spPr>
          <a:xfrm>
            <a:off x="6022335" y="5302502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="" xmlns:a16="http://schemas.microsoft.com/office/drawing/2014/main" id="{3C36E9D1-D6A9-4D94-BF6D-71F264B766D9}"/>
              </a:ext>
            </a:extLst>
          </p:cNvPr>
          <p:cNvSpPr/>
          <p:nvPr/>
        </p:nvSpPr>
        <p:spPr>
          <a:xfrm>
            <a:off x="6022335" y="4870566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6" name="TextBox 49">
            <a:extLst>
              <a:ext uri="{FF2B5EF4-FFF2-40B4-BE49-F238E27FC236}">
                <a16:creationId xmlns="" xmlns:a16="http://schemas.microsoft.com/office/drawing/2014/main" id="{569BD5A6-717A-480D-BD1E-A152C03B1D94}"/>
              </a:ext>
            </a:extLst>
          </p:cNvPr>
          <p:cNvSpPr txBox="1"/>
          <p:nvPr/>
        </p:nvSpPr>
        <p:spPr>
          <a:xfrm>
            <a:off x="5605922" y="4524539"/>
            <a:ext cx="594617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SV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" name="TextBox 50">
            <a:extLst>
              <a:ext uri="{FF2B5EF4-FFF2-40B4-BE49-F238E27FC236}">
                <a16:creationId xmlns="" xmlns:a16="http://schemas.microsoft.com/office/drawing/2014/main" id="{0A63FB8A-4D6E-4A2B-8FEA-04B328E6AA78}"/>
              </a:ext>
            </a:extLst>
          </p:cNvPr>
          <p:cNvSpPr txBox="1"/>
          <p:nvPr/>
        </p:nvSpPr>
        <p:spPr>
          <a:xfrm>
            <a:off x="6279477" y="4782702"/>
            <a:ext cx="1861536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Investment &amp; operations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Freeform 6">
            <a:extLst>
              <a:ext uri="{FF2B5EF4-FFF2-40B4-BE49-F238E27FC236}">
                <a16:creationId xmlns="" xmlns:a16="http://schemas.microsoft.com/office/drawing/2014/main" id="{253E509F-4A2B-4B7D-85AD-46E60202F591}"/>
              </a:ext>
            </a:extLst>
          </p:cNvPr>
          <p:cNvSpPr>
            <a:spLocks/>
          </p:cNvSpPr>
          <p:nvPr/>
        </p:nvSpPr>
        <p:spPr bwMode="auto">
          <a:xfrm>
            <a:off x="8044659" y="1255901"/>
            <a:ext cx="1814242" cy="2026711"/>
          </a:xfrm>
          <a:custGeom>
            <a:avLst/>
            <a:gdLst/>
            <a:ahLst/>
            <a:cxnLst>
              <a:cxn ang="0">
                <a:pos x="397" y="15"/>
              </a:cxn>
              <a:cxn ang="0">
                <a:pos x="523" y="88"/>
              </a:cxn>
              <a:cxn ang="0">
                <a:pos x="652" y="162"/>
              </a:cxn>
              <a:cxn ang="0">
                <a:pos x="652" y="162"/>
              </a:cxn>
              <a:cxn ang="0">
                <a:pos x="685" y="195"/>
              </a:cxn>
              <a:cxn ang="0">
                <a:pos x="698" y="235"/>
              </a:cxn>
              <a:cxn ang="0">
                <a:pos x="698" y="390"/>
              </a:cxn>
              <a:cxn ang="0">
                <a:pos x="698" y="538"/>
              </a:cxn>
              <a:cxn ang="0">
                <a:pos x="686" y="584"/>
              </a:cxn>
              <a:cxn ang="0">
                <a:pos x="657" y="615"/>
              </a:cxn>
              <a:cxn ang="0">
                <a:pos x="523" y="692"/>
              </a:cxn>
              <a:cxn ang="0">
                <a:pos x="392" y="768"/>
              </a:cxn>
              <a:cxn ang="0">
                <a:pos x="348" y="779"/>
              </a:cxn>
              <a:cxn ang="0">
                <a:pos x="306" y="768"/>
              </a:cxn>
              <a:cxn ang="0">
                <a:pos x="174" y="692"/>
              </a:cxn>
              <a:cxn ang="0">
                <a:pos x="38" y="614"/>
              </a:cxn>
              <a:cxn ang="0">
                <a:pos x="9" y="579"/>
              </a:cxn>
              <a:cxn ang="0">
                <a:pos x="0" y="547"/>
              </a:cxn>
              <a:cxn ang="0">
                <a:pos x="0" y="390"/>
              </a:cxn>
              <a:cxn ang="0">
                <a:pos x="0" y="232"/>
              </a:cxn>
              <a:cxn ang="0">
                <a:pos x="11" y="197"/>
              </a:cxn>
              <a:cxn ang="0">
                <a:pos x="42" y="164"/>
              </a:cxn>
              <a:cxn ang="0">
                <a:pos x="174" y="88"/>
              </a:cxn>
              <a:cxn ang="0">
                <a:pos x="303" y="14"/>
              </a:cxn>
              <a:cxn ang="0">
                <a:pos x="303" y="14"/>
              </a:cxn>
              <a:cxn ang="0">
                <a:pos x="352" y="1"/>
              </a:cxn>
              <a:cxn ang="0">
                <a:pos x="397" y="15"/>
              </a:cxn>
            </a:cxnLst>
            <a:rect l="0" t="0" r="r" b="b"/>
            <a:pathLst>
              <a:path w="698" h="779">
                <a:moveTo>
                  <a:pt x="397" y="15"/>
                </a:moveTo>
                <a:cubicBezTo>
                  <a:pt x="523" y="88"/>
                  <a:pt x="523" y="88"/>
                  <a:pt x="523" y="88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2" y="162"/>
                  <a:pt x="674" y="176"/>
                  <a:pt x="685" y="195"/>
                </a:cubicBezTo>
                <a:cubicBezTo>
                  <a:pt x="694" y="210"/>
                  <a:pt x="697" y="225"/>
                  <a:pt x="698" y="235"/>
                </a:cubicBezTo>
                <a:cubicBezTo>
                  <a:pt x="698" y="390"/>
                  <a:pt x="698" y="390"/>
                  <a:pt x="698" y="390"/>
                </a:cubicBezTo>
                <a:cubicBezTo>
                  <a:pt x="698" y="538"/>
                  <a:pt x="698" y="538"/>
                  <a:pt x="698" y="538"/>
                </a:cubicBezTo>
                <a:cubicBezTo>
                  <a:pt x="698" y="545"/>
                  <a:pt x="696" y="569"/>
                  <a:pt x="686" y="584"/>
                </a:cubicBezTo>
                <a:cubicBezTo>
                  <a:pt x="676" y="599"/>
                  <a:pt x="662" y="611"/>
                  <a:pt x="657" y="615"/>
                </a:cubicBezTo>
                <a:cubicBezTo>
                  <a:pt x="523" y="692"/>
                  <a:pt x="523" y="692"/>
                  <a:pt x="523" y="692"/>
                </a:cubicBezTo>
                <a:cubicBezTo>
                  <a:pt x="392" y="768"/>
                  <a:pt x="392" y="768"/>
                  <a:pt x="392" y="768"/>
                </a:cubicBezTo>
                <a:cubicBezTo>
                  <a:pt x="385" y="772"/>
                  <a:pt x="368" y="779"/>
                  <a:pt x="348" y="779"/>
                </a:cubicBezTo>
                <a:cubicBezTo>
                  <a:pt x="331" y="779"/>
                  <a:pt x="315" y="772"/>
                  <a:pt x="306" y="768"/>
                </a:cubicBezTo>
                <a:cubicBezTo>
                  <a:pt x="174" y="692"/>
                  <a:pt x="174" y="692"/>
                  <a:pt x="174" y="692"/>
                </a:cubicBezTo>
                <a:cubicBezTo>
                  <a:pt x="38" y="614"/>
                  <a:pt x="38" y="614"/>
                  <a:pt x="38" y="614"/>
                </a:cubicBezTo>
                <a:cubicBezTo>
                  <a:pt x="31" y="608"/>
                  <a:pt x="15" y="594"/>
                  <a:pt x="9" y="579"/>
                </a:cubicBezTo>
                <a:cubicBezTo>
                  <a:pt x="3" y="566"/>
                  <a:pt x="1" y="554"/>
                  <a:pt x="0" y="547"/>
                </a:cubicBezTo>
                <a:cubicBezTo>
                  <a:pt x="0" y="390"/>
                  <a:pt x="0" y="390"/>
                  <a:pt x="0" y="390"/>
                </a:cubicBezTo>
                <a:cubicBezTo>
                  <a:pt x="0" y="232"/>
                  <a:pt x="0" y="232"/>
                  <a:pt x="0" y="232"/>
                </a:cubicBezTo>
                <a:cubicBezTo>
                  <a:pt x="1" y="223"/>
                  <a:pt x="3" y="210"/>
                  <a:pt x="11" y="197"/>
                </a:cubicBezTo>
                <a:cubicBezTo>
                  <a:pt x="23" y="177"/>
                  <a:pt x="38" y="167"/>
                  <a:pt x="42" y="164"/>
                </a:cubicBezTo>
                <a:cubicBezTo>
                  <a:pt x="174" y="88"/>
                  <a:pt x="174" y="88"/>
                  <a:pt x="174" y="88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03" y="14"/>
                  <a:pt x="303" y="14"/>
                </a:cubicBezTo>
                <a:cubicBezTo>
                  <a:pt x="303" y="14"/>
                  <a:pt x="327" y="0"/>
                  <a:pt x="352" y="1"/>
                </a:cubicBezTo>
                <a:cubicBezTo>
                  <a:pt x="378" y="3"/>
                  <a:pt x="397" y="15"/>
                  <a:pt x="397" y="15"/>
                </a:cubicBezTo>
                <a:close/>
              </a:path>
            </a:pathLst>
          </a:cu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68">
            <a:extLst>
              <a:ext uri="{FF2B5EF4-FFF2-40B4-BE49-F238E27FC236}">
                <a16:creationId xmlns="" xmlns:a16="http://schemas.microsoft.com/office/drawing/2014/main" id="{C2A25165-6F14-4747-81AD-3BDA98A46A06}"/>
              </a:ext>
            </a:extLst>
          </p:cNvPr>
          <p:cNvSpPr txBox="1"/>
          <p:nvPr/>
        </p:nvSpPr>
        <p:spPr>
          <a:xfrm>
            <a:off x="7888167" y="2276536"/>
            <a:ext cx="2147926" cy="687967"/>
          </a:xfrm>
          <a:prstGeom prst="rect">
            <a:avLst/>
          </a:prstGeom>
          <a:noFill/>
          <a:effectLst/>
        </p:spPr>
        <p:txBody>
          <a:bodyPr wrap="square" lIns="35984" tIns="35984" rIns="35984" bIns="35984" rtlCol="0">
            <a:noAutofit/>
          </a:bodyPr>
          <a:lstStyle/>
          <a:p>
            <a:pPr algn="ctr" defTabSz="1219078" fontAlgn="ctr">
              <a:lnSpc>
                <a:spcPct val="80000"/>
              </a:lnSpc>
            </a:pPr>
            <a:r>
              <a:rPr lang="en-US" sz="2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Field-proven practices</a:t>
            </a:r>
            <a:endParaRPr lang="en-US" altLang="zh-CN" sz="2400" b="1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cxnSp>
        <p:nvCxnSpPr>
          <p:cNvPr id="52" name="直接连接符 51">
            <a:extLst>
              <a:ext uri="{FF2B5EF4-FFF2-40B4-BE49-F238E27FC236}">
                <a16:creationId xmlns="" xmlns:a16="http://schemas.microsoft.com/office/drawing/2014/main" id="{B61FB6CF-6308-46E0-A6EC-B29F4CB9AEBA}"/>
              </a:ext>
            </a:extLst>
          </p:cNvPr>
          <p:cNvCxnSpPr/>
          <p:nvPr/>
        </p:nvCxnSpPr>
        <p:spPr>
          <a:xfrm flipV="1">
            <a:off x="8946907" y="3304345"/>
            <a:ext cx="0" cy="2663306"/>
          </a:xfrm>
          <a:prstGeom prst="line">
            <a:avLst/>
          </a:prstGeom>
          <a:ln w="127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椭圆 52">
            <a:extLst>
              <a:ext uri="{FF2B5EF4-FFF2-40B4-BE49-F238E27FC236}">
                <a16:creationId xmlns="" xmlns:a16="http://schemas.microsoft.com/office/drawing/2014/main" id="{447C9DE1-8115-482F-AB34-0CDDC2F6D153}"/>
              </a:ext>
            </a:extLst>
          </p:cNvPr>
          <p:cNvSpPr/>
          <p:nvPr/>
        </p:nvSpPr>
        <p:spPr>
          <a:xfrm>
            <a:off x="8901932" y="365513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="" xmlns:a16="http://schemas.microsoft.com/office/drawing/2014/main" id="{FDD56114-6358-4AF1-90A7-C950BD89707E}"/>
              </a:ext>
            </a:extLst>
          </p:cNvPr>
          <p:cNvSpPr/>
          <p:nvPr/>
        </p:nvSpPr>
        <p:spPr>
          <a:xfrm>
            <a:off x="8886710" y="4159056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="" xmlns:a16="http://schemas.microsoft.com/office/drawing/2014/main" id="{DEB57AD9-7DA8-42A3-8B4C-D01B802AA652}"/>
              </a:ext>
            </a:extLst>
          </p:cNvPr>
          <p:cNvSpPr/>
          <p:nvPr/>
        </p:nvSpPr>
        <p:spPr>
          <a:xfrm>
            <a:off x="8886710" y="4590991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6" name="TextBox 128">
            <a:extLst>
              <a:ext uri="{FF2B5EF4-FFF2-40B4-BE49-F238E27FC236}">
                <a16:creationId xmlns="" xmlns:a16="http://schemas.microsoft.com/office/drawing/2014/main" id="{D794090B-97DD-40FB-80C1-D889D0F8226D}"/>
              </a:ext>
            </a:extLst>
          </p:cNvPr>
          <p:cNvSpPr txBox="1"/>
          <p:nvPr/>
        </p:nvSpPr>
        <p:spPr>
          <a:xfrm>
            <a:off x="9178124" y="3348407"/>
            <a:ext cx="1577931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High-level design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TextBox 129">
            <a:extLst>
              <a:ext uri="{FF2B5EF4-FFF2-40B4-BE49-F238E27FC236}">
                <a16:creationId xmlns="" xmlns:a16="http://schemas.microsoft.com/office/drawing/2014/main" id="{99300232-250A-4773-9ACF-3BFB5E9A1F66}"/>
              </a:ext>
            </a:extLst>
          </p:cNvPr>
          <p:cNvSpPr txBox="1"/>
          <p:nvPr/>
        </p:nvSpPr>
        <p:spPr>
          <a:xfrm>
            <a:off x="7551642" y="3886487"/>
            <a:ext cx="1261355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Low-level design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TextBox 130">
            <a:extLst>
              <a:ext uri="{FF2B5EF4-FFF2-40B4-BE49-F238E27FC236}">
                <a16:creationId xmlns="" xmlns:a16="http://schemas.microsoft.com/office/drawing/2014/main" id="{7F9B721F-C0B3-4006-A194-433CCC624FF7}"/>
              </a:ext>
            </a:extLst>
          </p:cNvPr>
          <p:cNvSpPr txBox="1"/>
          <p:nvPr/>
        </p:nvSpPr>
        <p:spPr>
          <a:xfrm>
            <a:off x="9178122" y="4234068"/>
            <a:ext cx="2875339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Project integration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9" name="Freeform 212">
            <a:extLst>
              <a:ext uri="{FF2B5EF4-FFF2-40B4-BE49-F238E27FC236}">
                <a16:creationId xmlns="" xmlns:a16="http://schemas.microsoft.com/office/drawing/2014/main" id="{516FF51B-A4DE-47FA-ACA9-AEA5AABDC1C8}"/>
              </a:ext>
            </a:extLst>
          </p:cNvPr>
          <p:cNvSpPr>
            <a:spLocks noEditPoints="1"/>
          </p:cNvSpPr>
          <p:nvPr/>
        </p:nvSpPr>
        <p:spPr bwMode="auto">
          <a:xfrm rot="975699">
            <a:off x="8596860" y="1712725"/>
            <a:ext cx="805426" cy="723742"/>
          </a:xfrm>
          <a:custGeom>
            <a:avLst/>
            <a:gdLst/>
            <a:ahLst/>
            <a:cxnLst>
              <a:cxn ang="0">
                <a:pos x="219" y="38"/>
              </a:cxn>
              <a:cxn ang="0">
                <a:pos x="193" y="65"/>
              </a:cxn>
              <a:cxn ang="0">
                <a:pos x="194" y="72"/>
              </a:cxn>
              <a:cxn ang="0">
                <a:pos x="156" y="87"/>
              </a:cxn>
              <a:cxn ang="0">
                <a:pos x="105" y="53"/>
              </a:cxn>
              <a:cxn ang="0">
                <a:pos x="69" y="66"/>
              </a:cxn>
              <a:cxn ang="0">
                <a:pos x="48" y="44"/>
              </a:cxn>
              <a:cxn ang="0">
                <a:pos x="55" y="26"/>
              </a:cxn>
              <a:cxn ang="0">
                <a:pos x="28" y="0"/>
              </a:cxn>
              <a:cxn ang="0">
                <a:pos x="2" y="26"/>
              </a:cxn>
              <a:cxn ang="0">
                <a:pos x="28" y="53"/>
              </a:cxn>
              <a:cxn ang="0">
                <a:pos x="44" y="48"/>
              </a:cxn>
              <a:cxn ang="0">
                <a:pos x="64" y="70"/>
              </a:cxn>
              <a:cxn ang="0">
                <a:pos x="48" y="110"/>
              </a:cxn>
              <a:cxn ang="0">
                <a:pos x="64" y="150"/>
              </a:cxn>
              <a:cxn ang="0">
                <a:pos x="42" y="173"/>
              </a:cxn>
              <a:cxn ang="0">
                <a:pos x="27" y="168"/>
              </a:cxn>
              <a:cxn ang="0">
                <a:pos x="0" y="195"/>
              </a:cxn>
              <a:cxn ang="0">
                <a:pos x="27" y="221"/>
              </a:cxn>
              <a:cxn ang="0">
                <a:pos x="53" y="195"/>
              </a:cxn>
              <a:cxn ang="0">
                <a:pos x="47" y="177"/>
              </a:cxn>
              <a:cxn ang="0">
                <a:pos x="68" y="154"/>
              </a:cxn>
              <a:cxn ang="0">
                <a:pos x="105" y="167"/>
              </a:cxn>
              <a:cxn ang="0">
                <a:pos x="162" y="110"/>
              </a:cxn>
              <a:cxn ang="0">
                <a:pos x="159" y="92"/>
              </a:cxn>
              <a:cxn ang="0">
                <a:pos x="196" y="78"/>
              </a:cxn>
              <a:cxn ang="0">
                <a:pos x="219" y="92"/>
              </a:cxn>
              <a:cxn ang="0">
                <a:pos x="246" y="65"/>
              </a:cxn>
              <a:cxn ang="0">
                <a:pos x="219" y="38"/>
              </a:cxn>
              <a:cxn ang="0">
                <a:pos x="8" y="26"/>
              </a:cxn>
              <a:cxn ang="0">
                <a:pos x="28" y="6"/>
              </a:cxn>
              <a:cxn ang="0">
                <a:pos x="49" y="26"/>
              </a:cxn>
              <a:cxn ang="0">
                <a:pos x="28" y="47"/>
              </a:cxn>
              <a:cxn ang="0">
                <a:pos x="8" y="26"/>
              </a:cxn>
              <a:cxn ang="0">
                <a:pos x="27" y="215"/>
              </a:cxn>
              <a:cxn ang="0">
                <a:pos x="6" y="195"/>
              </a:cxn>
              <a:cxn ang="0">
                <a:pos x="27" y="174"/>
              </a:cxn>
              <a:cxn ang="0">
                <a:pos x="47" y="195"/>
              </a:cxn>
              <a:cxn ang="0">
                <a:pos x="27" y="215"/>
              </a:cxn>
              <a:cxn ang="0">
                <a:pos x="105" y="161"/>
              </a:cxn>
              <a:cxn ang="0">
                <a:pos x="54" y="110"/>
              </a:cxn>
              <a:cxn ang="0">
                <a:pos x="105" y="59"/>
              </a:cxn>
              <a:cxn ang="0">
                <a:pos x="156" y="110"/>
              </a:cxn>
              <a:cxn ang="0">
                <a:pos x="105" y="161"/>
              </a:cxn>
              <a:cxn ang="0">
                <a:pos x="219" y="86"/>
              </a:cxn>
              <a:cxn ang="0">
                <a:pos x="199" y="65"/>
              </a:cxn>
              <a:cxn ang="0">
                <a:pos x="219" y="44"/>
              </a:cxn>
              <a:cxn ang="0">
                <a:pos x="240" y="65"/>
              </a:cxn>
              <a:cxn ang="0">
                <a:pos x="219" y="86"/>
              </a:cxn>
            </a:cxnLst>
            <a:rect l="0" t="0" r="r" b="b"/>
            <a:pathLst>
              <a:path w="246" h="221">
                <a:moveTo>
                  <a:pt x="219" y="38"/>
                </a:moveTo>
                <a:cubicBezTo>
                  <a:pt x="205" y="38"/>
                  <a:pt x="193" y="50"/>
                  <a:pt x="193" y="65"/>
                </a:cubicBezTo>
                <a:cubicBezTo>
                  <a:pt x="193" y="67"/>
                  <a:pt x="193" y="70"/>
                  <a:pt x="194" y="7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47" y="67"/>
                  <a:pt x="128" y="53"/>
                  <a:pt x="105" y="53"/>
                </a:cubicBezTo>
                <a:cubicBezTo>
                  <a:pt x="91" y="53"/>
                  <a:pt x="79" y="58"/>
                  <a:pt x="69" y="66"/>
                </a:cubicBezTo>
                <a:cubicBezTo>
                  <a:pt x="48" y="44"/>
                  <a:pt x="48" y="44"/>
                  <a:pt x="48" y="44"/>
                </a:cubicBezTo>
                <a:cubicBezTo>
                  <a:pt x="52" y="39"/>
                  <a:pt x="55" y="33"/>
                  <a:pt x="55" y="26"/>
                </a:cubicBezTo>
                <a:cubicBezTo>
                  <a:pt x="55" y="12"/>
                  <a:pt x="43" y="0"/>
                  <a:pt x="28" y="0"/>
                </a:cubicBezTo>
                <a:cubicBezTo>
                  <a:pt x="14" y="0"/>
                  <a:pt x="2" y="12"/>
                  <a:pt x="2" y="26"/>
                </a:cubicBezTo>
                <a:cubicBezTo>
                  <a:pt x="2" y="41"/>
                  <a:pt x="14" y="53"/>
                  <a:pt x="28" y="53"/>
                </a:cubicBezTo>
                <a:cubicBezTo>
                  <a:pt x="34" y="53"/>
                  <a:pt x="39" y="51"/>
                  <a:pt x="44" y="48"/>
                </a:cubicBezTo>
                <a:cubicBezTo>
                  <a:pt x="64" y="70"/>
                  <a:pt x="64" y="70"/>
                  <a:pt x="64" y="70"/>
                </a:cubicBezTo>
                <a:cubicBezTo>
                  <a:pt x="54" y="81"/>
                  <a:pt x="48" y="95"/>
                  <a:pt x="48" y="110"/>
                </a:cubicBezTo>
                <a:cubicBezTo>
                  <a:pt x="48" y="126"/>
                  <a:pt x="54" y="140"/>
                  <a:pt x="64" y="150"/>
                </a:cubicBezTo>
                <a:cubicBezTo>
                  <a:pt x="42" y="173"/>
                  <a:pt x="42" y="173"/>
                  <a:pt x="42" y="173"/>
                </a:cubicBezTo>
                <a:cubicBezTo>
                  <a:pt x="38" y="170"/>
                  <a:pt x="32" y="168"/>
                  <a:pt x="27" y="168"/>
                </a:cubicBezTo>
                <a:cubicBezTo>
                  <a:pt x="12" y="168"/>
                  <a:pt x="0" y="180"/>
                  <a:pt x="0" y="195"/>
                </a:cubicBezTo>
                <a:cubicBezTo>
                  <a:pt x="0" y="209"/>
                  <a:pt x="12" y="221"/>
                  <a:pt x="27" y="221"/>
                </a:cubicBezTo>
                <a:cubicBezTo>
                  <a:pt x="41" y="221"/>
                  <a:pt x="53" y="209"/>
                  <a:pt x="53" y="195"/>
                </a:cubicBezTo>
                <a:cubicBezTo>
                  <a:pt x="53" y="188"/>
                  <a:pt x="51" y="182"/>
                  <a:pt x="47" y="177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78" y="162"/>
                  <a:pt x="91" y="167"/>
                  <a:pt x="105" y="167"/>
                </a:cubicBezTo>
                <a:cubicBezTo>
                  <a:pt x="136" y="167"/>
                  <a:pt x="162" y="142"/>
                  <a:pt x="162" y="110"/>
                </a:cubicBezTo>
                <a:cubicBezTo>
                  <a:pt x="162" y="104"/>
                  <a:pt x="161" y="98"/>
                  <a:pt x="159" y="92"/>
                </a:cubicBezTo>
                <a:cubicBezTo>
                  <a:pt x="196" y="78"/>
                  <a:pt x="196" y="78"/>
                  <a:pt x="196" y="78"/>
                </a:cubicBezTo>
                <a:cubicBezTo>
                  <a:pt x="200" y="86"/>
                  <a:pt x="209" y="92"/>
                  <a:pt x="219" y="92"/>
                </a:cubicBezTo>
                <a:cubicBezTo>
                  <a:pt x="234" y="92"/>
                  <a:pt x="246" y="80"/>
                  <a:pt x="246" y="65"/>
                </a:cubicBezTo>
                <a:cubicBezTo>
                  <a:pt x="246" y="50"/>
                  <a:pt x="234" y="38"/>
                  <a:pt x="219" y="38"/>
                </a:cubicBezTo>
                <a:close/>
                <a:moveTo>
                  <a:pt x="8" y="26"/>
                </a:moveTo>
                <a:cubicBezTo>
                  <a:pt x="8" y="15"/>
                  <a:pt x="17" y="6"/>
                  <a:pt x="28" y="6"/>
                </a:cubicBezTo>
                <a:cubicBezTo>
                  <a:pt x="40" y="6"/>
                  <a:pt x="49" y="15"/>
                  <a:pt x="49" y="26"/>
                </a:cubicBezTo>
                <a:cubicBezTo>
                  <a:pt x="49" y="38"/>
                  <a:pt x="40" y="47"/>
                  <a:pt x="28" y="47"/>
                </a:cubicBezTo>
                <a:cubicBezTo>
                  <a:pt x="17" y="47"/>
                  <a:pt x="8" y="38"/>
                  <a:pt x="8" y="26"/>
                </a:cubicBezTo>
                <a:close/>
                <a:moveTo>
                  <a:pt x="27" y="215"/>
                </a:moveTo>
                <a:cubicBezTo>
                  <a:pt x="15" y="215"/>
                  <a:pt x="6" y="206"/>
                  <a:pt x="6" y="195"/>
                </a:cubicBezTo>
                <a:cubicBezTo>
                  <a:pt x="6" y="183"/>
                  <a:pt x="15" y="174"/>
                  <a:pt x="27" y="174"/>
                </a:cubicBezTo>
                <a:cubicBezTo>
                  <a:pt x="38" y="174"/>
                  <a:pt x="47" y="183"/>
                  <a:pt x="47" y="195"/>
                </a:cubicBezTo>
                <a:cubicBezTo>
                  <a:pt x="47" y="206"/>
                  <a:pt x="38" y="215"/>
                  <a:pt x="27" y="215"/>
                </a:cubicBezTo>
                <a:close/>
                <a:moveTo>
                  <a:pt x="105" y="161"/>
                </a:moveTo>
                <a:cubicBezTo>
                  <a:pt x="77" y="161"/>
                  <a:pt x="54" y="138"/>
                  <a:pt x="54" y="110"/>
                </a:cubicBezTo>
                <a:cubicBezTo>
                  <a:pt x="54" y="82"/>
                  <a:pt x="77" y="59"/>
                  <a:pt x="105" y="59"/>
                </a:cubicBezTo>
                <a:cubicBezTo>
                  <a:pt x="133" y="59"/>
                  <a:pt x="156" y="82"/>
                  <a:pt x="156" y="110"/>
                </a:cubicBezTo>
                <a:cubicBezTo>
                  <a:pt x="156" y="138"/>
                  <a:pt x="133" y="161"/>
                  <a:pt x="105" y="161"/>
                </a:cubicBezTo>
                <a:close/>
                <a:moveTo>
                  <a:pt x="219" y="86"/>
                </a:moveTo>
                <a:cubicBezTo>
                  <a:pt x="208" y="86"/>
                  <a:pt x="199" y="76"/>
                  <a:pt x="199" y="65"/>
                </a:cubicBezTo>
                <a:cubicBezTo>
                  <a:pt x="199" y="54"/>
                  <a:pt x="208" y="44"/>
                  <a:pt x="219" y="44"/>
                </a:cubicBezTo>
                <a:cubicBezTo>
                  <a:pt x="231" y="44"/>
                  <a:pt x="240" y="54"/>
                  <a:pt x="240" y="65"/>
                </a:cubicBezTo>
                <a:cubicBezTo>
                  <a:pt x="240" y="76"/>
                  <a:pt x="231" y="86"/>
                  <a:pt x="219" y="8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98" tIns="45698" rIns="91398" bIns="45698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cxnSp>
        <p:nvCxnSpPr>
          <p:cNvPr id="60" name="直接连接符 59">
            <a:extLst>
              <a:ext uri="{FF2B5EF4-FFF2-40B4-BE49-F238E27FC236}">
                <a16:creationId xmlns="" xmlns:a16="http://schemas.microsoft.com/office/drawing/2014/main" id="{6678DD86-00B2-4D4B-B8F6-AB7A99380019}"/>
              </a:ext>
            </a:extLst>
          </p:cNvPr>
          <p:cNvCxnSpPr>
            <a:cxnSpLocks/>
          </p:cNvCxnSpPr>
          <p:nvPr/>
        </p:nvCxnSpPr>
        <p:spPr>
          <a:xfrm flipV="1">
            <a:off x="6930441" y="2139229"/>
            <a:ext cx="1114219" cy="504331"/>
          </a:xfrm>
          <a:prstGeom prst="line">
            <a:avLst/>
          </a:prstGeom>
          <a:ln w="41275">
            <a:solidFill>
              <a:srgbClr val="2DC2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椭圆 60">
            <a:extLst>
              <a:ext uri="{FF2B5EF4-FFF2-40B4-BE49-F238E27FC236}">
                <a16:creationId xmlns="" xmlns:a16="http://schemas.microsoft.com/office/drawing/2014/main" id="{D94DD66F-9B37-4A3A-83BF-0DDE539D2EA8}"/>
              </a:ext>
            </a:extLst>
          </p:cNvPr>
          <p:cNvSpPr/>
          <p:nvPr/>
        </p:nvSpPr>
        <p:spPr>
          <a:xfrm>
            <a:off x="8901932" y="5454862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2" name="椭圆 61">
            <a:extLst>
              <a:ext uri="{FF2B5EF4-FFF2-40B4-BE49-F238E27FC236}">
                <a16:creationId xmlns="" xmlns:a16="http://schemas.microsoft.com/office/drawing/2014/main" id="{3C36E9D1-D6A9-4D94-BF6D-71F264B766D9}"/>
              </a:ext>
            </a:extLst>
          </p:cNvPr>
          <p:cNvSpPr/>
          <p:nvPr/>
        </p:nvSpPr>
        <p:spPr>
          <a:xfrm>
            <a:off x="8901932" y="5022927"/>
            <a:ext cx="120396" cy="1203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234" tIns="45114" rIns="90234" bIns="45114" rtlCol="0" anchor="ctr">
            <a:noAutofit/>
          </a:bodyPr>
          <a:lstStyle/>
          <a:p>
            <a:pPr algn="ctr" defTabSz="1219078" fontAlgn="ctr"/>
            <a:endParaRPr lang="en-US" altLang="zh-CN" sz="18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3" name="TextBox 49">
            <a:extLst>
              <a:ext uri="{FF2B5EF4-FFF2-40B4-BE49-F238E27FC236}">
                <a16:creationId xmlns="" xmlns:a16="http://schemas.microsoft.com/office/drawing/2014/main" id="{569BD5A6-717A-480D-BD1E-A152C03B1D94}"/>
              </a:ext>
            </a:extLst>
          </p:cNvPr>
          <p:cNvSpPr txBox="1"/>
          <p:nvPr/>
        </p:nvSpPr>
        <p:spPr>
          <a:xfrm>
            <a:off x="7235999" y="4676899"/>
            <a:ext cx="1576998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Project management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4" name="TextBox 50">
            <a:extLst>
              <a:ext uri="{FF2B5EF4-FFF2-40B4-BE49-F238E27FC236}">
                <a16:creationId xmlns="" xmlns:a16="http://schemas.microsoft.com/office/drawing/2014/main" id="{0A63FB8A-4D6E-4A2B-8FEA-04B328E6AA78}"/>
              </a:ext>
            </a:extLst>
          </p:cNvPr>
          <p:cNvSpPr txBox="1"/>
          <p:nvPr/>
        </p:nvSpPr>
        <p:spPr>
          <a:xfrm>
            <a:off x="9178124" y="5119729"/>
            <a:ext cx="1861536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Project consulting</a:t>
            </a:r>
            <a:endParaRPr lang="en-US" altLang="zh-CN" sz="16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6" name="标题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4040" y="447673"/>
            <a:ext cx="11096589" cy="745741"/>
          </a:xfrm>
          <a:prstGeom prst="rect">
            <a:avLst/>
          </a:prstGeom>
        </p:spPr>
        <p:txBody>
          <a:bodyPr vert="horz" wrap="square" lIns="91413" tIns="45707" rIns="91413" bIns="45707" rtlCol="0" anchor="ctr">
            <a:noAutofit/>
          </a:bodyPr>
          <a:lstStyle/>
          <a:p>
            <a:pPr defTabSz="1170322" eaLnBrk="0" fontAlgn="ctr" hangingPunct="0">
              <a:spcBef>
                <a:spcPct val="0"/>
              </a:spcBef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Why Huawei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208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09C8EDC-EDEA-4DAB-8421-EC9E714E9CC3}"/>
              </a:ext>
            </a:extLst>
          </p:cNvPr>
          <p:cNvSpPr txBox="1"/>
          <p:nvPr/>
        </p:nvSpPr>
        <p:spPr>
          <a:xfrm>
            <a:off x="541281" y="365692"/>
            <a:ext cx="10827144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igital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Technologies: One-Stop, World-Lead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loud-Pipe-Device Synergy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="" xmlns:a16="http://schemas.microsoft.com/office/drawing/2014/main" id="{71912AD9-546F-4C05-9EA9-216B5F6873A9}"/>
              </a:ext>
            </a:extLst>
          </p:cNvPr>
          <p:cNvSpPr/>
          <p:nvPr/>
        </p:nvSpPr>
        <p:spPr>
          <a:xfrm>
            <a:off x="552307" y="5216978"/>
            <a:ext cx="738367" cy="1084068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2D75A8F1-B626-494C-B429-AA35029EC187}"/>
              </a:ext>
            </a:extLst>
          </p:cNvPr>
          <p:cNvSpPr/>
          <p:nvPr/>
        </p:nvSpPr>
        <p:spPr>
          <a:xfrm>
            <a:off x="552307" y="2677320"/>
            <a:ext cx="738367" cy="2252451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81B2DF57-8731-4D3F-9DE2-189B75697C49}"/>
              </a:ext>
            </a:extLst>
          </p:cNvPr>
          <p:cNvSpPr/>
          <p:nvPr/>
        </p:nvSpPr>
        <p:spPr>
          <a:xfrm>
            <a:off x="552307" y="1413301"/>
            <a:ext cx="738367" cy="99648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="" xmlns:a16="http://schemas.microsoft.com/office/drawing/2014/main" id="{55A02D7A-1270-4D35-9E97-87FE358816DD}"/>
              </a:ext>
            </a:extLst>
          </p:cNvPr>
          <p:cNvSpPr/>
          <p:nvPr/>
        </p:nvSpPr>
        <p:spPr>
          <a:xfrm>
            <a:off x="1375511" y="1413301"/>
            <a:ext cx="10265772" cy="99648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8" name="副标题 1">
            <a:extLst>
              <a:ext uri="{FF2B5EF4-FFF2-40B4-BE49-F238E27FC236}">
                <a16:creationId xmlns="" xmlns:a16="http://schemas.microsoft.com/office/drawing/2014/main" id="{9B66D9FC-1CC3-4C39-B02D-F48266671153}"/>
              </a:ext>
            </a:extLst>
          </p:cNvPr>
          <p:cNvSpPr txBox="1">
            <a:spLocks/>
          </p:cNvSpPr>
          <p:nvPr/>
        </p:nvSpPr>
        <p:spPr>
          <a:xfrm>
            <a:off x="663838" y="1219528"/>
            <a:ext cx="515304" cy="1384033"/>
          </a:xfrm>
          <a:prstGeom prst="rect">
            <a:avLst/>
          </a:prstGeom>
        </p:spPr>
        <p:txBody>
          <a:bodyPr vert="vert270" wrap="square" lIns="0" tIns="0" rIns="0" bIns="0" anchor="ctr">
            <a:noAutofit/>
          </a:bodyPr>
          <a:lstStyle/>
          <a:p>
            <a:pPr algn="ctr" defTabSz="1218288" fontAlgn="ctr">
              <a:spcBef>
                <a:spcPct val="20000"/>
              </a:spcBef>
            </a:pPr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</a:rPr>
              <a:t>Cloud</a:t>
            </a:r>
            <a:endParaRPr lang="en-US" sz="20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="" xmlns:a16="http://schemas.microsoft.com/office/drawing/2014/main" id="{28DEB029-54D2-484A-960D-C7DFD75A1F0D}"/>
              </a:ext>
            </a:extLst>
          </p:cNvPr>
          <p:cNvSpPr/>
          <p:nvPr/>
        </p:nvSpPr>
        <p:spPr>
          <a:xfrm>
            <a:off x="2449783" y="1491543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pic>
        <p:nvPicPr>
          <p:cNvPr id="10" name="Picture 4" descr="C:\Users\z00124665\Desktop\未标题-3.jpg">
            <a:extLst>
              <a:ext uri="{FF2B5EF4-FFF2-40B4-BE49-F238E27FC236}">
                <a16:creationId xmlns="" xmlns:a16="http://schemas.microsoft.com/office/drawing/2014/main" id="{FA0683A0-0380-4297-9E6F-482FCFD4A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-18000" contrast="30000"/>
          </a:blip>
          <a:srcRect/>
          <a:stretch>
            <a:fillRect/>
          </a:stretch>
        </p:blipFill>
        <p:spPr bwMode="auto">
          <a:xfrm>
            <a:off x="1518060" y="1491543"/>
            <a:ext cx="846886" cy="840001"/>
          </a:xfrm>
          <a:prstGeom prst="rect">
            <a:avLst/>
          </a:prstGeom>
          <a:noFill/>
        </p:spPr>
      </p:pic>
      <p:grpSp>
        <p:nvGrpSpPr>
          <p:cNvPr id="11" name="组合 228">
            <a:extLst>
              <a:ext uri="{FF2B5EF4-FFF2-40B4-BE49-F238E27FC236}">
                <a16:creationId xmlns="" xmlns:a16="http://schemas.microsoft.com/office/drawing/2014/main" id="{B5037E1C-9076-4DCF-BA7A-61E13CEEB898}"/>
              </a:ext>
            </a:extLst>
          </p:cNvPr>
          <p:cNvGrpSpPr/>
          <p:nvPr/>
        </p:nvGrpSpPr>
        <p:grpSpPr>
          <a:xfrm>
            <a:off x="1663258" y="1643166"/>
            <a:ext cx="556490" cy="536757"/>
            <a:chOff x="2070149" y="1715350"/>
            <a:chExt cx="771035" cy="771036"/>
          </a:xfrm>
        </p:grpSpPr>
        <p:sp>
          <p:nvSpPr>
            <p:cNvPr id="12" name="椭圆 11">
              <a:extLst>
                <a:ext uri="{FF2B5EF4-FFF2-40B4-BE49-F238E27FC236}">
                  <a16:creationId xmlns="" xmlns:a16="http://schemas.microsoft.com/office/drawing/2014/main" id="{1B590740-A12B-4C58-A12B-0CBEFF250181}"/>
                </a:ext>
              </a:extLst>
            </p:cNvPr>
            <p:cNvSpPr/>
            <p:nvPr/>
          </p:nvSpPr>
          <p:spPr>
            <a:xfrm>
              <a:off x="2070149" y="1715350"/>
              <a:ext cx="771035" cy="771036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8288" fontAlgn="ctr"/>
              <a:endParaRPr lang="en-US" altLang="zh-CN" sz="2397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="" xmlns:a16="http://schemas.microsoft.com/office/drawing/2014/main" id="{BCCD3B5A-9F8F-41C7-A50B-A9F7B0D0F6C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85666" y="1932710"/>
              <a:ext cx="540000" cy="336316"/>
            </a:xfrm>
            <a:custGeom>
              <a:avLst/>
              <a:gdLst/>
              <a:ahLst/>
              <a:cxnLst>
                <a:cxn ang="0">
                  <a:pos x="149" y="32"/>
                </a:cxn>
                <a:cxn ang="0">
                  <a:pos x="146" y="32"/>
                </a:cxn>
                <a:cxn ang="0">
                  <a:pos x="92" y="0"/>
                </a:cxn>
                <a:cxn ang="0">
                  <a:pos x="34" y="48"/>
                </a:cxn>
                <a:cxn ang="0">
                  <a:pos x="0" y="84"/>
                </a:cxn>
                <a:cxn ang="0">
                  <a:pos x="36" y="120"/>
                </a:cxn>
                <a:cxn ang="0">
                  <a:pos x="60" y="110"/>
                </a:cxn>
                <a:cxn ang="0">
                  <a:pos x="92" y="120"/>
                </a:cxn>
                <a:cxn ang="0">
                  <a:pos x="123" y="111"/>
                </a:cxn>
                <a:cxn ang="0">
                  <a:pos x="149" y="120"/>
                </a:cxn>
                <a:cxn ang="0">
                  <a:pos x="193" y="76"/>
                </a:cxn>
                <a:cxn ang="0">
                  <a:pos x="149" y="32"/>
                </a:cxn>
                <a:cxn ang="0">
                  <a:pos x="149" y="112"/>
                </a:cxn>
                <a:cxn ang="0">
                  <a:pos x="127" y="105"/>
                </a:cxn>
                <a:cxn ang="0">
                  <a:pos x="127" y="104"/>
                </a:cxn>
                <a:cxn ang="0">
                  <a:pos x="122" y="103"/>
                </a:cxn>
                <a:cxn ang="0">
                  <a:pos x="62" y="102"/>
                </a:cxn>
                <a:cxn ang="0">
                  <a:pos x="56" y="103"/>
                </a:cxn>
                <a:cxn ang="0">
                  <a:pos x="56" y="104"/>
                </a:cxn>
                <a:cxn ang="0">
                  <a:pos x="36" y="112"/>
                </a:cxn>
                <a:cxn ang="0">
                  <a:pos x="8" y="84"/>
                </a:cxn>
                <a:cxn ang="0">
                  <a:pos x="36" y="56"/>
                </a:cxn>
                <a:cxn ang="0">
                  <a:pos x="56" y="64"/>
                </a:cxn>
                <a:cxn ang="0">
                  <a:pos x="62" y="64"/>
                </a:cxn>
                <a:cxn ang="0">
                  <a:pos x="62" y="58"/>
                </a:cxn>
                <a:cxn ang="0">
                  <a:pos x="42" y="48"/>
                </a:cxn>
                <a:cxn ang="0">
                  <a:pos x="92" y="8"/>
                </a:cxn>
                <a:cxn ang="0">
                  <a:pos x="137" y="33"/>
                </a:cxn>
                <a:cxn ang="0">
                  <a:pos x="122" y="41"/>
                </a:cxn>
                <a:cxn ang="0">
                  <a:pos x="121" y="46"/>
                </a:cxn>
                <a:cxn ang="0">
                  <a:pos x="127" y="47"/>
                </a:cxn>
                <a:cxn ang="0">
                  <a:pos x="144" y="40"/>
                </a:cxn>
                <a:cxn ang="0">
                  <a:pos x="149" y="40"/>
                </a:cxn>
                <a:cxn ang="0">
                  <a:pos x="185" y="76"/>
                </a:cxn>
                <a:cxn ang="0">
                  <a:pos x="149" y="112"/>
                </a:cxn>
              </a:cxnLst>
              <a:rect l="0" t="0" r="r" b="b"/>
              <a:pathLst>
                <a:path w="193" h="120">
                  <a:moveTo>
                    <a:pt x="149" y="32"/>
                  </a:moveTo>
                  <a:cubicBezTo>
                    <a:pt x="147" y="32"/>
                    <a:pt x="147" y="32"/>
                    <a:pt x="146" y="32"/>
                  </a:cubicBezTo>
                  <a:cubicBezTo>
                    <a:pt x="135" y="12"/>
                    <a:pt x="115" y="0"/>
                    <a:pt x="92" y="0"/>
                  </a:cubicBezTo>
                  <a:cubicBezTo>
                    <a:pt x="64" y="0"/>
                    <a:pt x="39" y="20"/>
                    <a:pt x="34" y="48"/>
                  </a:cubicBezTo>
                  <a:cubicBezTo>
                    <a:pt x="15" y="50"/>
                    <a:pt x="0" y="65"/>
                    <a:pt x="0" y="84"/>
                  </a:cubicBezTo>
                  <a:cubicBezTo>
                    <a:pt x="0" y="104"/>
                    <a:pt x="17" y="120"/>
                    <a:pt x="36" y="120"/>
                  </a:cubicBezTo>
                  <a:cubicBezTo>
                    <a:pt x="45" y="120"/>
                    <a:pt x="54" y="116"/>
                    <a:pt x="60" y="110"/>
                  </a:cubicBezTo>
                  <a:cubicBezTo>
                    <a:pt x="70" y="117"/>
                    <a:pt x="81" y="120"/>
                    <a:pt x="92" y="120"/>
                  </a:cubicBezTo>
                  <a:cubicBezTo>
                    <a:pt x="103" y="120"/>
                    <a:pt x="114" y="117"/>
                    <a:pt x="123" y="111"/>
                  </a:cubicBezTo>
                  <a:cubicBezTo>
                    <a:pt x="130" y="117"/>
                    <a:pt x="139" y="120"/>
                    <a:pt x="149" y="120"/>
                  </a:cubicBezTo>
                  <a:cubicBezTo>
                    <a:pt x="173" y="120"/>
                    <a:pt x="193" y="100"/>
                    <a:pt x="193" y="76"/>
                  </a:cubicBezTo>
                  <a:cubicBezTo>
                    <a:pt x="193" y="52"/>
                    <a:pt x="173" y="32"/>
                    <a:pt x="149" y="32"/>
                  </a:cubicBezTo>
                  <a:close/>
                  <a:moveTo>
                    <a:pt x="149" y="112"/>
                  </a:moveTo>
                  <a:cubicBezTo>
                    <a:pt x="141" y="112"/>
                    <a:pt x="134" y="109"/>
                    <a:pt x="127" y="105"/>
                  </a:cubicBezTo>
                  <a:cubicBezTo>
                    <a:pt x="127" y="105"/>
                    <a:pt x="127" y="104"/>
                    <a:pt x="127" y="104"/>
                  </a:cubicBezTo>
                  <a:cubicBezTo>
                    <a:pt x="126" y="102"/>
                    <a:pt x="123" y="102"/>
                    <a:pt x="122" y="103"/>
                  </a:cubicBezTo>
                  <a:cubicBezTo>
                    <a:pt x="104" y="115"/>
                    <a:pt x="79" y="115"/>
                    <a:pt x="62" y="102"/>
                  </a:cubicBezTo>
                  <a:cubicBezTo>
                    <a:pt x="60" y="101"/>
                    <a:pt x="58" y="101"/>
                    <a:pt x="56" y="103"/>
                  </a:cubicBezTo>
                  <a:cubicBezTo>
                    <a:pt x="56" y="103"/>
                    <a:pt x="56" y="103"/>
                    <a:pt x="56" y="104"/>
                  </a:cubicBezTo>
                  <a:cubicBezTo>
                    <a:pt x="51" y="109"/>
                    <a:pt x="44" y="112"/>
                    <a:pt x="36" y="112"/>
                  </a:cubicBezTo>
                  <a:cubicBezTo>
                    <a:pt x="21" y="112"/>
                    <a:pt x="8" y="99"/>
                    <a:pt x="8" y="84"/>
                  </a:cubicBezTo>
                  <a:cubicBezTo>
                    <a:pt x="8" y="68"/>
                    <a:pt x="21" y="56"/>
                    <a:pt x="36" y="56"/>
                  </a:cubicBezTo>
                  <a:cubicBezTo>
                    <a:pt x="44" y="56"/>
                    <a:pt x="51" y="59"/>
                    <a:pt x="56" y="64"/>
                  </a:cubicBezTo>
                  <a:cubicBezTo>
                    <a:pt x="58" y="66"/>
                    <a:pt x="60" y="66"/>
                    <a:pt x="62" y="64"/>
                  </a:cubicBezTo>
                  <a:cubicBezTo>
                    <a:pt x="63" y="62"/>
                    <a:pt x="63" y="60"/>
                    <a:pt x="62" y="58"/>
                  </a:cubicBezTo>
                  <a:cubicBezTo>
                    <a:pt x="56" y="53"/>
                    <a:pt x="49" y="49"/>
                    <a:pt x="42" y="48"/>
                  </a:cubicBezTo>
                  <a:cubicBezTo>
                    <a:pt x="47" y="25"/>
                    <a:pt x="68" y="8"/>
                    <a:pt x="92" y="8"/>
                  </a:cubicBezTo>
                  <a:cubicBezTo>
                    <a:pt x="111" y="8"/>
                    <a:pt x="128" y="18"/>
                    <a:pt x="137" y="33"/>
                  </a:cubicBezTo>
                  <a:cubicBezTo>
                    <a:pt x="132" y="35"/>
                    <a:pt x="127" y="37"/>
                    <a:pt x="122" y="41"/>
                  </a:cubicBezTo>
                  <a:cubicBezTo>
                    <a:pt x="120" y="42"/>
                    <a:pt x="120" y="44"/>
                    <a:pt x="121" y="46"/>
                  </a:cubicBezTo>
                  <a:cubicBezTo>
                    <a:pt x="123" y="48"/>
                    <a:pt x="125" y="48"/>
                    <a:pt x="127" y="47"/>
                  </a:cubicBezTo>
                  <a:cubicBezTo>
                    <a:pt x="132" y="43"/>
                    <a:pt x="138" y="41"/>
                    <a:pt x="144" y="40"/>
                  </a:cubicBezTo>
                  <a:cubicBezTo>
                    <a:pt x="145" y="40"/>
                    <a:pt x="147" y="40"/>
                    <a:pt x="149" y="40"/>
                  </a:cubicBezTo>
                  <a:cubicBezTo>
                    <a:pt x="168" y="40"/>
                    <a:pt x="185" y="56"/>
                    <a:pt x="185" y="76"/>
                  </a:cubicBezTo>
                  <a:cubicBezTo>
                    <a:pt x="185" y="96"/>
                    <a:pt x="168" y="112"/>
                    <a:pt x="149" y="112"/>
                  </a:cubicBezTo>
                  <a:close/>
                </a:path>
              </a:pathLst>
            </a:custGeom>
            <a:solidFill>
              <a:srgbClr val="D2D2D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378" tIns="45689" rIns="91378" bIns="4568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88" fontAlgn="ctr"/>
              <a:endParaRPr lang="en-US" altLang="zh-CN" sz="2397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14" name="1498536199">
            <a:extLst>
              <a:ext uri="{FF2B5EF4-FFF2-40B4-BE49-F238E27FC236}">
                <a16:creationId xmlns="" xmlns:a16="http://schemas.microsoft.com/office/drawing/2014/main" id="{00D7939C-30BA-4B0F-B349-AA21D0768EDB}"/>
              </a:ext>
            </a:extLst>
          </p:cNvPr>
          <p:cNvSpPr txBox="1">
            <a:spLocks/>
          </p:cNvSpPr>
          <p:nvPr/>
        </p:nvSpPr>
        <p:spPr>
          <a:xfrm>
            <a:off x="2584633" y="1577494"/>
            <a:ext cx="1840635" cy="69249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Cloud operating system</a:t>
            </a:r>
            <a:endParaRPr lang="en-US" altLang="zh-CN" sz="1200" b="1" i="0" kern="0" dirty="0" smtClean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"A strong performer in the global private cloud software market"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Forrester</a:t>
            </a:r>
            <a:endParaRPr lang="en-US" sz="1000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="" xmlns:a16="http://schemas.microsoft.com/office/drawing/2014/main" id="{07BF2597-96B0-4F81-A02C-AE77015FD4C1}"/>
              </a:ext>
            </a:extLst>
          </p:cNvPr>
          <p:cNvCxnSpPr/>
          <p:nvPr/>
        </p:nvCxnSpPr>
        <p:spPr>
          <a:xfrm>
            <a:off x="4795440" y="1677604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cxnSp>
        <p:nvCxnSpPr>
          <p:cNvPr id="16" name="直接连接符 15">
            <a:extLst>
              <a:ext uri="{FF2B5EF4-FFF2-40B4-BE49-F238E27FC236}">
                <a16:creationId xmlns="" xmlns:a16="http://schemas.microsoft.com/office/drawing/2014/main" id="{32D846AF-622B-4B4D-BDAF-E53EF7F5728D}"/>
              </a:ext>
            </a:extLst>
          </p:cNvPr>
          <p:cNvCxnSpPr/>
          <p:nvPr/>
        </p:nvCxnSpPr>
        <p:spPr>
          <a:xfrm>
            <a:off x="8217567" y="1677604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grpSp>
        <p:nvGrpSpPr>
          <p:cNvPr id="17" name="组合 16">
            <a:extLst>
              <a:ext uri="{FF2B5EF4-FFF2-40B4-BE49-F238E27FC236}">
                <a16:creationId xmlns="" xmlns:a16="http://schemas.microsoft.com/office/drawing/2014/main" id="{68347873-889E-4668-801E-109633BFCAC9}"/>
              </a:ext>
            </a:extLst>
          </p:cNvPr>
          <p:cNvGrpSpPr/>
          <p:nvPr/>
        </p:nvGrpSpPr>
        <p:grpSpPr>
          <a:xfrm>
            <a:off x="4940185" y="1514431"/>
            <a:ext cx="834204" cy="831258"/>
            <a:chOff x="5409982" y="2939589"/>
            <a:chExt cx="834421" cy="831474"/>
          </a:xfrm>
        </p:grpSpPr>
        <p:pic>
          <p:nvPicPr>
            <p:cNvPr id="18" name="Picture 11" descr="E:\01 日常工作\04 展厅相关设计\2015年\PPT\主打胶片\源文件\images\10_11.png">
              <a:extLst>
                <a:ext uri="{FF2B5EF4-FFF2-40B4-BE49-F238E27FC236}">
                  <a16:creationId xmlns="" xmlns:a16="http://schemas.microsoft.com/office/drawing/2014/main" id="{7134E733-09B7-4411-95BF-07A4FF4DF0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409982" y="2939589"/>
              <a:ext cx="834421" cy="831474"/>
            </a:xfrm>
            <a:prstGeom prst="rect">
              <a:avLst/>
            </a:prstGeom>
            <a:noFill/>
          </p:spPr>
        </p:pic>
        <p:sp>
          <p:nvSpPr>
            <p:cNvPr id="19" name="椭圆 18">
              <a:extLst>
                <a:ext uri="{FF2B5EF4-FFF2-40B4-BE49-F238E27FC236}">
                  <a16:creationId xmlns="" xmlns:a16="http://schemas.microsoft.com/office/drawing/2014/main" id="{4F10D87A-3723-4A41-8BBA-AA092E227D9B}"/>
                </a:ext>
              </a:extLst>
            </p:cNvPr>
            <p:cNvSpPr/>
            <p:nvPr/>
          </p:nvSpPr>
          <p:spPr>
            <a:xfrm>
              <a:off x="5548875" y="3086878"/>
              <a:ext cx="556635" cy="536897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8288" fontAlgn="ctr"/>
              <a:endParaRPr lang="en-US" altLang="zh-CN" sz="2397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0" name="Freeform 838">
              <a:extLst>
                <a:ext uri="{FF2B5EF4-FFF2-40B4-BE49-F238E27FC236}">
                  <a16:creationId xmlns="" xmlns:a16="http://schemas.microsoft.com/office/drawing/2014/main" id="{68C946CA-F71A-4839-A3FD-80F65D9DE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991" y="3162405"/>
              <a:ext cx="228402" cy="385843"/>
            </a:xfrm>
            <a:custGeom>
              <a:avLst/>
              <a:gdLst/>
              <a:ahLst/>
              <a:cxnLst>
                <a:cxn ang="0">
                  <a:pos x="350" y="29"/>
                </a:cxn>
                <a:cxn ang="0">
                  <a:pos x="329" y="603"/>
                </a:cxn>
                <a:cxn ang="0">
                  <a:pos x="53" y="465"/>
                </a:cxn>
                <a:cxn ang="0">
                  <a:pos x="298" y="470"/>
                </a:cxn>
                <a:cxn ang="0">
                  <a:pos x="288" y="514"/>
                </a:cxn>
                <a:cxn ang="0">
                  <a:pos x="66" y="458"/>
                </a:cxn>
                <a:cxn ang="0">
                  <a:pos x="61" y="514"/>
                </a:cxn>
                <a:cxn ang="0">
                  <a:pos x="240" y="501"/>
                </a:cxn>
                <a:cxn ang="0">
                  <a:pos x="268" y="489"/>
                </a:cxn>
                <a:cxn ang="0">
                  <a:pos x="250" y="498"/>
                </a:cxn>
                <a:cxn ang="0">
                  <a:pos x="260" y="489"/>
                </a:cxn>
                <a:cxn ang="0">
                  <a:pos x="245" y="481"/>
                </a:cxn>
                <a:cxn ang="0">
                  <a:pos x="240" y="493"/>
                </a:cxn>
                <a:cxn ang="0">
                  <a:pos x="63" y="433"/>
                </a:cxn>
                <a:cxn ang="0">
                  <a:pos x="298" y="379"/>
                </a:cxn>
                <a:cxn ang="0">
                  <a:pos x="290" y="427"/>
                </a:cxn>
                <a:cxn ang="0">
                  <a:pos x="291" y="371"/>
                </a:cxn>
                <a:cxn ang="0">
                  <a:pos x="63" y="368"/>
                </a:cxn>
                <a:cxn ang="0">
                  <a:pos x="61" y="422"/>
                </a:cxn>
                <a:cxn ang="0">
                  <a:pos x="237" y="402"/>
                </a:cxn>
                <a:cxn ang="0">
                  <a:pos x="263" y="394"/>
                </a:cxn>
                <a:cxn ang="0">
                  <a:pos x="253" y="406"/>
                </a:cxn>
                <a:cxn ang="0">
                  <a:pos x="258" y="394"/>
                </a:cxn>
                <a:cxn ang="0">
                  <a:pos x="245" y="391"/>
                </a:cxn>
                <a:cxn ang="0">
                  <a:pos x="245" y="402"/>
                </a:cxn>
                <a:cxn ang="0">
                  <a:pos x="63" y="337"/>
                </a:cxn>
                <a:cxn ang="0">
                  <a:pos x="288" y="271"/>
                </a:cxn>
                <a:cxn ang="0">
                  <a:pos x="283" y="333"/>
                </a:cxn>
                <a:cxn ang="0">
                  <a:pos x="288" y="282"/>
                </a:cxn>
                <a:cxn ang="0">
                  <a:pos x="66" y="279"/>
                </a:cxn>
                <a:cxn ang="0">
                  <a:pos x="56" y="330"/>
                </a:cxn>
                <a:cxn ang="0">
                  <a:pos x="240" y="317"/>
                </a:cxn>
                <a:cxn ang="0">
                  <a:pos x="265" y="297"/>
                </a:cxn>
                <a:cxn ang="0">
                  <a:pos x="253" y="314"/>
                </a:cxn>
                <a:cxn ang="0">
                  <a:pos x="263" y="304"/>
                </a:cxn>
                <a:cxn ang="0">
                  <a:pos x="250" y="299"/>
                </a:cxn>
                <a:cxn ang="0">
                  <a:pos x="244" y="305"/>
                </a:cxn>
                <a:cxn ang="0">
                  <a:pos x="250" y="317"/>
                </a:cxn>
                <a:cxn ang="0">
                  <a:pos x="69" y="177"/>
                </a:cxn>
                <a:cxn ang="0">
                  <a:pos x="285" y="246"/>
                </a:cxn>
                <a:cxn ang="0">
                  <a:pos x="288" y="194"/>
                </a:cxn>
                <a:cxn ang="0">
                  <a:pos x="280" y="185"/>
                </a:cxn>
                <a:cxn ang="0">
                  <a:pos x="61" y="192"/>
                </a:cxn>
                <a:cxn ang="0">
                  <a:pos x="66" y="246"/>
                </a:cxn>
                <a:cxn ang="0">
                  <a:pos x="245" y="200"/>
                </a:cxn>
                <a:cxn ang="0">
                  <a:pos x="267" y="222"/>
                </a:cxn>
                <a:cxn ang="0">
                  <a:pos x="260" y="215"/>
                </a:cxn>
                <a:cxn ang="0">
                  <a:pos x="252" y="202"/>
                </a:cxn>
                <a:cxn ang="0">
                  <a:pos x="245" y="215"/>
                </a:cxn>
                <a:cxn ang="0">
                  <a:pos x="63" y="153"/>
                </a:cxn>
                <a:cxn ang="0">
                  <a:pos x="298" y="102"/>
                </a:cxn>
                <a:cxn ang="0">
                  <a:pos x="281" y="149"/>
                </a:cxn>
                <a:cxn ang="0">
                  <a:pos x="288" y="98"/>
                </a:cxn>
                <a:cxn ang="0">
                  <a:pos x="66" y="90"/>
                </a:cxn>
                <a:cxn ang="0">
                  <a:pos x="56" y="144"/>
                </a:cxn>
                <a:cxn ang="0">
                  <a:pos x="244" y="131"/>
                </a:cxn>
                <a:cxn ang="0">
                  <a:pos x="267" y="116"/>
                </a:cxn>
                <a:cxn ang="0">
                  <a:pos x="253" y="134"/>
                </a:cxn>
                <a:cxn ang="0">
                  <a:pos x="258" y="120"/>
                </a:cxn>
                <a:cxn ang="0">
                  <a:pos x="245" y="113"/>
                </a:cxn>
                <a:cxn ang="0">
                  <a:pos x="247" y="126"/>
                </a:cxn>
              </a:cxnLst>
              <a:rect l="0" t="0" r="r" b="b"/>
              <a:pathLst>
                <a:path w="350" h="613">
                  <a:moveTo>
                    <a:pt x="319" y="613"/>
                  </a:moveTo>
                  <a:lnTo>
                    <a:pt x="25" y="613"/>
                  </a:lnTo>
                  <a:lnTo>
                    <a:pt x="17" y="611"/>
                  </a:lnTo>
                  <a:lnTo>
                    <a:pt x="10" y="606"/>
                  </a:lnTo>
                  <a:lnTo>
                    <a:pt x="5" y="599"/>
                  </a:lnTo>
                  <a:lnTo>
                    <a:pt x="2" y="593"/>
                  </a:lnTo>
                  <a:lnTo>
                    <a:pt x="0" y="588"/>
                  </a:lnTo>
                  <a:lnTo>
                    <a:pt x="0" y="583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4" y="15"/>
                  </a:lnTo>
                  <a:lnTo>
                    <a:pt x="9" y="8"/>
                  </a:lnTo>
                  <a:lnTo>
                    <a:pt x="15" y="3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19" y="0"/>
                  </a:lnTo>
                  <a:lnTo>
                    <a:pt x="324" y="0"/>
                  </a:lnTo>
                  <a:lnTo>
                    <a:pt x="332" y="1"/>
                  </a:lnTo>
                  <a:lnTo>
                    <a:pt x="339" y="6"/>
                  </a:lnTo>
                  <a:lnTo>
                    <a:pt x="344" y="13"/>
                  </a:lnTo>
                  <a:lnTo>
                    <a:pt x="347" y="19"/>
                  </a:lnTo>
                  <a:lnTo>
                    <a:pt x="349" y="24"/>
                  </a:lnTo>
                  <a:lnTo>
                    <a:pt x="350" y="29"/>
                  </a:lnTo>
                  <a:lnTo>
                    <a:pt x="350" y="585"/>
                  </a:lnTo>
                  <a:lnTo>
                    <a:pt x="349" y="591"/>
                  </a:lnTo>
                  <a:lnTo>
                    <a:pt x="345" y="598"/>
                  </a:lnTo>
                  <a:lnTo>
                    <a:pt x="341" y="604"/>
                  </a:lnTo>
                  <a:lnTo>
                    <a:pt x="334" y="609"/>
                  </a:lnTo>
                  <a:lnTo>
                    <a:pt x="327" y="613"/>
                  </a:lnTo>
                  <a:lnTo>
                    <a:pt x="321" y="613"/>
                  </a:lnTo>
                  <a:lnTo>
                    <a:pt x="319" y="613"/>
                  </a:lnTo>
                  <a:moveTo>
                    <a:pt x="319" y="8"/>
                  </a:moveTo>
                  <a:lnTo>
                    <a:pt x="27" y="8"/>
                  </a:lnTo>
                  <a:lnTo>
                    <a:pt x="20" y="11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9" y="26"/>
                  </a:lnTo>
                  <a:lnTo>
                    <a:pt x="9" y="29"/>
                  </a:lnTo>
                  <a:lnTo>
                    <a:pt x="9" y="585"/>
                  </a:lnTo>
                  <a:lnTo>
                    <a:pt x="10" y="591"/>
                  </a:lnTo>
                  <a:lnTo>
                    <a:pt x="14" y="596"/>
                  </a:lnTo>
                  <a:lnTo>
                    <a:pt x="18" y="601"/>
                  </a:lnTo>
                  <a:lnTo>
                    <a:pt x="25" y="604"/>
                  </a:lnTo>
                  <a:lnTo>
                    <a:pt x="32" y="604"/>
                  </a:lnTo>
                  <a:lnTo>
                    <a:pt x="322" y="604"/>
                  </a:lnTo>
                  <a:lnTo>
                    <a:pt x="329" y="603"/>
                  </a:lnTo>
                  <a:lnTo>
                    <a:pt x="336" y="598"/>
                  </a:lnTo>
                  <a:lnTo>
                    <a:pt x="339" y="591"/>
                  </a:lnTo>
                  <a:lnTo>
                    <a:pt x="341" y="585"/>
                  </a:lnTo>
                  <a:lnTo>
                    <a:pt x="341" y="583"/>
                  </a:lnTo>
                  <a:lnTo>
                    <a:pt x="341" y="29"/>
                  </a:lnTo>
                  <a:lnTo>
                    <a:pt x="339" y="21"/>
                  </a:lnTo>
                  <a:lnTo>
                    <a:pt x="336" y="16"/>
                  </a:lnTo>
                  <a:lnTo>
                    <a:pt x="331" y="11"/>
                  </a:lnTo>
                  <a:lnTo>
                    <a:pt x="324" y="8"/>
                  </a:lnTo>
                  <a:lnTo>
                    <a:pt x="319" y="8"/>
                  </a:lnTo>
                  <a:moveTo>
                    <a:pt x="69" y="527"/>
                  </a:moveTo>
                  <a:lnTo>
                    <a:pt x="61" y="525"/>
                  </a:lnTo>
                  <a:lnTo>
                    <a:pt x="63" y="522"/>
                  </a:lnTo>
                  <a:lnTo>
                    <a:pt x="61" y="525"/>
                  </a:lnTo>
                  <a:lnTo>
                    <a:pt x="56" y="522"/>
                  </a:lnTo>
                  <a:lnTo>
                    <a:pt x="60" y="519"/>
                  </a:lnTo>
                  <a:lnTo>
                    <a:pt x="56" y="522"/>
                  </a:lnTo>
                  <a:lnTo>
                    <a:pt x="53" y="516"/>
                  </a:lnTo>
                  <a:lnTo>
                    <a:pt x="53" y="511"/>
                  </a:lnTo>
                  <a:lnTo>
                    <a:pt x="53" y="471"/>
                  </a:lnTo>
                  <a:lnTo>
                    <a:pt x="53" y="466"/>
                  </a:lnTo>
                  <a:lnTo>
                    <a:pt x="58" y="466"/>
                  </a:lnTo>
                  <a:lnTo>
                    <a:pt x="53" y="465"/>
                  </a:lnTo>
                  <a:lnTo>
                    <a:pt x="55" y="463"/>
                  </a:lnTo>
                  <a:lnTo>
                    <a:pt x="58" y="465"/>
                  </a:lnTo>
                  <a:lnTo>
                    <a:pt x="55" y="461"/>
                  </a:lnTo>
                  <a:lnTo>
                    <a:pt x="60" y="456"/>
                  </a:lnTo>
                  <a:lnTo>
                    <a:pt x="63" y="455"/>
                  </a:lnTo>
                  <a:lnTo>
                    <a:pt x="64" y="460"/>
                  </a:lnTo>
                  <a:lnTo>
                    <a:pt x="64" y="455"/>
                  </a:lnTo>
                  <a:lnTo>
                    <a:pt x="64" y="455"/>
                  </a:lnTo>
                  <a:lnTo>
                    <a:pt x="66" y="458"/>
                  </a:lnTo>
                  <a:lnTo>
                    <a:pt x="66" y="455"/>
                  </a:lnTo>
                  <a:lnTo>
                    <a:pt x="69" y="455"/>
                  </a:lnTo>
                  <a:lnTo>
                    <a:pt x="285" y="455"/>
                  </a:lnTo>
                  <a:lnTo>
                    <a:pt x="288" y="456"/>
                  </a:lnTo>
                  <a:lnTo>
                    <a:pt x="286" y="460"/>
                  </a:lnTo>
                  <a:lnTo>
                    <a:pt x="290" y="456"/>
                  </a:lnTo>
                  <a:lnTo>
                    <a:pt x="288" y="460"/>
                  </a:lnTo>
                  <a:lnTo>
                    <a:pt x="290" y="456"/>
                  </a:lnTo>
                  <a:lnTo>
                    <a:pt x="295" y="461"/>
                  </a:lnTo>
                  <a:lnTo>
                    <a:pt x="291" y="465"/>
                  </a:lnTo>
                  <a:lnTo>
                    <a:pt x="295" y="463"/>
                  </a:lnTo>
                  <a:lnTo>
                    <a:pt x="291" y="465"/>
                  </a:lnTo>
                  <a:lnTo>
                    <a:pt x="296" y="463"/>
                  </a:lnTo>
                  <a:lnTo>
                    <a:pt x="298" y="470"/>
                  </a:lnTo>
                  <a:lnTo>
                    <a:pt x="298" y="471"/>
                  </a:lnTo>
                  <a:lnTo>
                    <a:pt x="296" y="517"/>
                  </a:lnTo>
                  <a:lnTo>
                    <a:pt x="293" y="522"/>
                  </a:lnTo>
                  <a:lnTo>
                    <a:pt x="290" y="519"/>
                  </a:lnTo>
                  <a:lnTo>
                    <a:pt x="293" y="522"/>
                  </a:lnTo>
                  <a:lnTo>
                    <a:pt x="288" y="525"/>
                  </a:lnTo>
                  <a:lnTo>
                    <a:pt x="280" y="527"/>
                  </a:lnTo>
                  <a:lnTo>
                    <a:pt x="69" y="527"/>
                  </a:lnTo>
                  <a:moveTo>
                    <a:pt x="281" y="519"/>
                  </a:moveTo>
                  <a:lnTo>
                    <a:pt x="283" y="524"/>
                  </a:lnTo>
                  <a:lnTo>
                    <a:pt x="283" y="519"/>
                  </a:lnTo>
                  <a:lnTo>
                    <a:pt x="285" y="522"/>
                  </a:lnTo>
                  <a:lnTo>
                    <a:pt x="283" y="519"/>
                  </a:lnTo>
                  <a:lnTo>
                    <a:pt x="286" y="522"/>
                  </a:lnTo>
                  <a:lnTo>
                    <a:pt x="285" y="519"/>
                  </a:lnTo>
                  <a:lnTo>
                    <a:pt x="285" y="517"/>
                  </a:lnTo>
                  <a:lnTo>
                    <a:pt x="290" y="521"/>
                  </a:lnTo>
                  <a:lnTo>
                    <a:pt x="286" y="517"/>
                  </a:lnTo>
                  <a:lnTo>
                    <a:pt x="286" y="516"/>
                  </a:lnTo>
                  <a:lnTo>
                    <a:pt x="291" y="519"/>
                  </a:lnTo>
                  <a:lnTo>
                    <a:pt x="288" y="516"/>
                  </a:lnTo>
                  <a:lnTo>
                    <a:pt x="291" y="517"/>
                  </a:lnTo>
                  <a:lnTo>
                    <a:pt x="288" y="514"/>
                  </a:lnTo>
                  <a:lnTo>
                    <a:pt x="291" y="516"/>
                  </a:lnTo>
                  <a:lnTo>
                    <a:pt x="288" y="514"/>
                  </a:lnTo>
                  <a:lnTo>
                    <a:pt x="290" y="511"/>
                  </a:lnTo>
                  <a:lnTo>
                    <a:pt x="288" y="470"/>
                  </a:lnTo>
                  <a:lnTo>
                    <a:pt x="293" y="468"/>
                  </a:lnTo>
                  <a:lnTo>
                    <a:pt x="288" y="468"/>
                  </a:lnTo>
                  <a:lnTo>
                    <a:pt x="293" y="466"/>
                  </a:lnTo>
                  <a:lnTo>
                    <a:pt x="288" y="468"/>
                  </a:lnTo>
                  <a:lnTo>
                    <a:pt x="288" y="466"/>
                  </a:lnTo>
                  <a:lnTo>
                    <a:pt x="291" y="463"/>
                  </a:lnTo>
                  <a:lnTo>
                    <a:pt x="286" y="466"/>
                  </a:lnTo>
                  <a:lnTo>
                    <a:pt x="290" y="461"/>
                  </a:lnTo>
                  <a:lnTo>
                    <a:pt x="286" y="465"/>
                  </a:lnTo>
                  <a:lnTo>
                    <a:pt x="285" y="463"/>
                  </a:lnTo>
                  <a:lnTo>
                    <a:pt x="285" y="460"/>
                  </a:lnTo>
                  <a:lnTo>
                    <a:pt x="283" y="463"/>
                  </a:lnTo>
                  <a:lnTo>
                    <a:pt x="285" y="458"/>
                  </a:lnTo>
                  <a:lnTo>
                    <a:pt x="283" y="463"/>
                  </a:lnTo>
                  <a:lnTo>
                    <a:pt x="283" y="458"/>
                  </a:lnTo>
                  <a:lnTo>
                    <a:pt x="281" y="463"/>
                  </a:lnTo>
                  <a:lnTo>
                    <a:pt x="280" y="463"/>
                  </a:lnTo>
                  <a:lnTo>
                    <a:pt x="68" y="463"/>
                  </a:lnTo>
                  <a:lnTo>
                    <a:pt x="66" y="458"/>
                  </a:lnTo>
                  <a:lnTo>
                    <a:pt x="68" y="463"/>
                  </a:lnTo>
                  <a:lnTo>
                    <a:pt x="66" y="463"/>
                  </a:lnTo>
                  <a:lnTo>
                    <a:pt x="64" y="460"/>
                  </a:lnTo>
                  <a:lnTo>
                    <a:pt x="64" y="463"/>
                  </a:lnTo>
                  <a:lnTo>
                    <a:pt x="64" y="465"/>
                  </a:lnTo>
                  <a:lnTo>
                    <a:pt x="60" y="461"/>
                  </a:lnTo>
                  <a:lnTo>
                    <a:pt x="63" y="465"/>
                  </a:lnTo>
                  <a:lnTo>
                    <a:pt x="60" y="463"/>
                  </a:lnTo>
                  <a:lnTo>
                    <a:pt x="63" y="466"/>
                  </a:lnTo>
                  <a:lnTo>
                    <a:pt x="58" y="465"/>
                  </a:lnTo>
                  <a:lnTo>
                    <a:pt x="63" y="466"/>
                  </a:lnTo>
                  <a:lnTo>
                    <a:pt x="61" y="466"/>
                  </a:lnTo>
                  <a:lnTo>
                    <a:pt x="58" y="466"/>
                  </a:lnTo>
                  <a:lnTo>
                    <a:pt x="61" y="468"/>
                  </a:lnTo>
                  <a:lnTo>
                    <a:pt x="56" y="468"/>
                  </a:lnTo>
                  <a:lnTo>
                    <a:pt x="61" y="468"/>
                  </a:lnTo>
                  <a:lnTo>
                    <a:pt x="56" y="468"/>
                  </a:lnTo>
                  <a:lnTo>
                    <a:pt x="61" y="470"/>
                  </a:lnTo>
                  <a:lnTo>
                    <a:pt x="61" y="471"/>
                  </a:lnTo>
                  <a:lnTo>
                    <a:pt x="61" y="511"/>
                  </a:lnTo>
                  <a:lnTo>
                    <a:pt x="61" y="514"/>
                  </a:lnTo>
                  <a:lnTo>
                    <a:pt x="58" y="516"/>
                  </a:lnTo>
                  <a:lnTo>
                    <a:pt x="61" y="514"/>
                  </a:lnTo>
                  <a:lnTo>
                    <a:pt x="58" y="517"/>
                  </a:lnTo>
                  <a:lnTo>
                    <a:pt x="61" y="516"/>
                  </a:lnTo>
                  <a:lnTo>
                    <a:pt x="60" y="519"/>
                  </a:lnTo>
                  <a:lnTo>
                    <a:pt x="63" y="516"/>
                  </a:lnTo>
                  <a:lnTo>
                    <a:pt x="63" y="517"/>
                  </a:lnTo>
                  <a:lnTo>
                    <a:pt x="61" y="521"/>
                  </a:lnTo>
                  <a:lnTo>
                    <a:pt x="64" y="517"/>
                  </a:lnTo>
                  <a:lnTo>
                    <a:pt x="66" y="519"/>
                  </a:lnTo>
                  <a:lnTo>
                    <a:pt x="66" y="522"/>
                  </a:lnTo>
                  <a:lnTo>
                    <a:pt x="66" y="519"/>
                  </a:lnTo>
                  <a:lnTo>
                    <a:pt x="68" y="519"/>
                  </a:lnTo>
                  <a:lnTo>
                    <a:pt x="66" y="524"/>
                  </a:lnTo>
                  <a:lnTo>
                    <a:pt x="68" y="519"/>
                  </a:lnTo>
                  <a:lnTo>
                    <a:pt x="69" y="519"/>
                  </a:lnTo>
                  <a:lnTo>
                    <a:pt x="281" y="519"/>
                  </a:lnTo>
                  <a:moveTo>
                    <a:pt x="253" y="507"/>
                  </a:moveTo>
                  <a:lnTo>
                    <a:pt x="247" y="506"/>
                  </a:lnTo>
                  <a:lnTo>
                    <a:pt x="249" y="501"/>
                  </a:lnTo>
                  <a:lnTo>
                    <a:pt x="245" y="506"/>
                  </a:lnTo>
                  <a:lnTo>
                    <a:pt x="245" y="504"/>
                  </a:lnTo>
                  <a:lnTo>
                    <a:pt x="247" y="501"/>
                  </a:lnTo>
                  <a:lnTo>
                    <a:pt x="244" y="504"/>
                  </a:lnTo>
                  <a:lnTo>
                    <a:pt x="240" y="501"/>
                  </a:lnTo>
                  <a:lnTo>
                    <a:pt x="244" y="498"/>
                  </a:lnTo>
                  <a:lnTo>
                    <a:pt x="239" y="499"/>
                  </a:lnTo>
                  <a:lnTo>
                    <a:pt x="237" y="498"/>
                  </a:lnTo>
                  <a:lnTo>
                    <a:pt x="237" y="491"/>
                  </a:lnTo>
                  <a:lnTo>
                    <a:pt x="237" y="488"/>
                  </a:lnTo>
                  <a:lnTo>
                    <a:pt x="242" y="488"/>
                  </a:lnTo>
                  <a:lnTo>
                    <a:pt x="237" y="486"/>
                  </a:lnTo>
                  <a:lnTo>
                    <a:pt x="240" y="481"/>
                  </a:lnTo>
                  <a:lnTo>
                    <a:pt x="247" y="476"/>
                  </a:lnTo>
                  <a:lnTo>
                    <a:pt x="250" y="475"/>
                  </a:lnTo>
                  <a:lnTo>
                    <a:pt x="252" y="479"/>
                  </a:lnTo>
                  <a:lnTo>
                    <a:pt x="252" y="475"/>
                  </a:lnTo>
                  <a:lnTo>
                    <a:pt x="253" y="475"/>
                  </a:lnTo>
                  <a:lnTo>
                    <a:pt x="253" y="479"/>
                  </a:lnTo>
                  <a:lnTo>
                    <a:pt x="255" y="475"/>
                  </a:lnTo>
                  <a:lnTo>
                    <a:pt x="260" y="476"/>
                  </a:lnTo>
                  <a:lnTo>
                    <a:pt x="265" y="481"/>
                  </a:lnTo>
                  <a:lnTo>
                    <a:pt x="262" y="484"/>
                  </a:lnTo>
                  <a:lnTo>
                    <a:pt x="265" y="481"/>
                  </a:lnTo>
                  <a:lnTo>
                    <a:pt x="267" y="484"/>
                  </a:lnTo>
                  <a:lnTo>
                    <a:pt x="263" y="488"/>
                  </a:lnTo>
                  <a:lnTo>
                    <a:pt x="268" y="486"/>
                  </a:lnTo>
                  <a:lnTo>
                    <a:pt x="268" y="489"/>
                  </a:lnTo>
                  <a:lnTo>
                    <a:pt x="263" y="491"/>
                  </a:lnTo>
                  <a:lnTo>
                    <a:pt x="268" y="491"/>
                  </a:lnTo>
                  <a:lnTo>
                    <a:pt x="268" y="493"/>
                  </a:lnTo>
                  <a:lnTo>
                    <a:pt x="263" y="493"/>
                  </a:lnTo>
                  <a:lnTo>
                    <a:pt x="268" y="494"/>
                  </a:lnTo>
                  <a:lnTo>
                    <a:pt x="267" y="498"/>
                  </a:lnTo>
                  <a:lnTo>
                    <a:pt x="263" y="496"/>
                  </a:lnTo>
                  <a:lnTo>
                    <a:pt x="267" y="498"/>
                  </a:lnTo>
                  <a:lnTo>
                    <a:pt x="265" y="501"/>
                  </a:lnTo>
                  <a:lnTo>
                    <a:pt x="262" y="498"/>
                  </a:lnTo>
                  <a:lnTo>
                    <a:pt x="265" y="501"/>
                  </a:lnTo>
                  <a:lnTo>
                    <a:pt x="263" y="502"/>
                  </a:lnTo>
                  <a:lnTo>
                    <a:pt x="260" y="499"/>
                  </a:lnTo>
                  <a:lnTo>
                    <a:pt x="263" y="502"/>
                  </a:lnTo>
                  <a:lnTo>
                    <a:pt x="262" y="502"/>
                  </a:lnTo>
                  <a:lnTo>
                    <a:pt x="260" y="501"/>
                  </a:lnTo>
                  <a:lnTo>
                    <a:pt x="262" y="504"/>
                  </a:lnTo>
                  <a:lnTo>
                    <a:pt x="258" y="506"/>
                  </a:lnTo>
                  <a:lnTo>
                    <a:pt x="257" y="501"/>
                  </a:lnTo>
                  <a:lnTo>
                    <a:pt x="258" y="506"/>
                  </a:lnTo>
                  <a:lnTo>
                    <a:pt x="253" y="507"/>
                  </a:lnTo>
                  <a:moveTo>
                    <a:pt x="250" y="498"/>
                  </a:moveTo>
                  <a:lnTo>
                    <a:pt x="250" y="498"/>
                  </a:lnTo>
                  <a:lnTo>
                    <a:pt x="250" y="502"/>
                  </a:lnTo>
                  <a:lnTo>
                    <a:pt x="252" y="498"/>
                  </a:lnTo>
                  <a:lnTo>
                    <a:pt x="253" y="498"/>
                  </a:lnTo>
                  <a:lnTo>
                    <a:pt x="255" y="502"/>
                  </a:lnTo>
                  <a:lnTo>
                    <a:pt x="255" y="498"/>
                  </a:lnTo>
                  <a:lnTo>
                    <a:pt x="257" y="501"/>
                  </a:lnTo>
                  <a:lnTo>
                    <a:pt x="255" y="498"/>
                  </a:lnTo>
                  <a:lnTo>
                    <a:pt x="257" y="496"/>
                  </a:lnTo>
                  <a:lnTo>
                    <a:pt x="260" y="501"/>
                  </a:lnTo>
                  <a:lnTo>
                    <a:pt x="258" y="499"/>
                  </a:lnTo>
                  <a:lnTo>
                    <a:pt x="257" y="496"/>
                  </a:lnTo>
                  <a:lnTo>
                    <a:pt x="258" y="496"/>
                  </a:lnTo>
                  <a:lnTo>
                    <a:pt x="260" y="499"/>
                  </a:lnTo>
                  <a:lnTo>
                    <a:pt x="258" y="496"/>
                  </a:lnTo>
                  <a:lnTo>
                    <a:pt x="260" y="493"/>
                  </a:lnTo>
                  <a:lnTo>
                    <a:pt x="262" y="494"/>
                  </a:lnTo>
                  <a:lnTo>
                    <a:pt x="263" y="494"/>
                  </a:lnTo>
                  <a:lnTo>
                    <a:pt x="260" y="493"/>
                  </a:lnTo>
                  <a:lnTo>
                    <a:pt x="260" y="491"/>
                  </a:lnTo>
                  <a:lnTo>
                    <a:pt x="263" y="489"/>
                  </a:lnTo>
                  <a:lnTo>
                    <a:pt x="260" y="489"/>
                  </a:lnTo>
                  <a:lnTo>
                    <a:pt x="263" y="489"/>
                  </a:lnTo>
                  <a:lnTo>
                    <a:pt x="260" y="489"/>
                  </a:lnTo>
                  <a:lnTo>
                    <a:pt x="258" y="486"/>
                  </a:lnTo>
                  <a:lnTo>
                    <a:pt x="262" y="483"/>
                  </a:lnTo>
                  <a:lnTo>
                    <a:pt x="258" y="486"/>
                  </a:lnTo>
                  <a:lnTo>
                    <a:pt x="257" y="484"/>
                  </a:lnTo>
                  <a:lnTo>
                    <a:pt x="258" y="481"/>
                  </a:lnTo>
                  <a:lnTo>
                    <a:pt x="257" y="484"/>
                  </a:lnTo>
                  <a:lnTo>
                    <a:pt x="258" y="481"/>
                  </a:lnTo>
                  <a:lnTo>
                    <a:pt x="255" y="484"/>
                  </a:lnTo>
                  <a:lnTo>
                    <a:pt x="257" y="481"/>
                  </a:lnTo>
                  <a:lnTo>
                    <a:pt x="255" y="484"/>
                  </a:lnTo>
                  <a:lnTo>
                    <a:pt x="255" y="479"/>
                  </a:lnTo>
                  <a:lnTo>
                    <a:pt x="253" y="484"/>
                  </a:lnTo>
                  <a:lnTo>
                    <a:pt x="252" y="484"/>
                  </a:lnTo>
                  <a:lnTo>
                    <a:pt x="252" y="479"/>
                  </a:lnTo>
                  <a:lnTo>
                    <a:pt x="252" y="484"/>
                  </a:lnTo>
                  <a:lnTo>
                    <a:pt x="250" y="484"/>
                  </a:lnTo>
                  <a:lnTo>
                    <a:pt x="250" y="479"/>
                  </a:lnTo>
                  <a:lnTo>
                    <a:pt x="250" y="484"/>
                  </a:lnTo>
                  <a:lnTo>
                    <a:pt x="249" y="481"/>
                  </a:lnTo>
                  <a:lnTo>
                    <a:pt x="250" y="484"/>
                  </a:lnTo>
                  <a:lnTo>
                    <a:pt x="247" y="481"/>
                  </a:lnTo>
                  <a:lnTo>
                    <a:pt x="249" y="484"/>
                  </a:lnTo>
                  <a:lnTo>
                    <a:pt x="245" y="481"/>
                  </a:lnTo>
                  <a:lnTo>
                    <a:pt x="247" y="483"/>
                  </a:lnTo>
                  <a:lnTo>
                    <a:pt x="249" y="484"/>
                  </a:lnTo>
                  <a:lnTo>
                    <a:pt x="249" y="486"/>
                  </a:lnTo>
                  <a:lnTo>
                    <a:pt x="245" y="483"/>
                  </a:lnTo>
                  <a:lnTo>
                    <a:pt x="247" y="486"/>
                  </a:lnTo>
                  <a:lnTo>
                    <a:pt x="244" y="483"/>
                  </a:lnTo>
                  <a:lnTo>
                    <a:pt x="247" y="486"/>
                  </a:lnTo>
                  <a:lnTo>
                    <a:pt x="244" y="484"/>
                  </a:lnTo>
                  <a:lnTo>
                    <a:pt x="247" y="488"/>
                  </a:lnTo>
                  <a:lnTo>
                    <a:pt x="242" y="486"/>
                  </a:lnTo>
                  <a:lnTo>
                    <a:pt x="245" y="488"/>
                  </a:lnTo>
                  <a:lnTo>
                    <a:pt x="245" y="489"/>
                  </a:lnTo>
                  <a:lnTo>
                    <a:pt x="242" y="488"/>
                  </a:lnTo>
                  <a:lnTo>
                    <a:pt x="244" y="489"/>
                  </a:lnTo>
                  <a:lnTo>
                    <a:pt x="245" y="489"/>
                  </a:lnTo>
                  <a:lnTo>
                    <a:pt x="244" y="489"/>
                  </a:lnTo>
                  <a:lnTo>
                    <a:pt x="245" y="489"/>
                  </a:lnTo>
                  <a:lnTo>
                    <a:pt x="244" y="489"/>
                  </a:lnTo>
                  <a:lnTo>
                    <a:pt x="240" y="489"/>
                  </a:lnTo>
                  <a:lnTo>
                    <a:pt x="245" y="491"/>
                  </a:lnTo>
                  <a:lnTo>
                    <a:pt x="240" y="491"/>
                  </a:lnTo>
                  <a:lnTo>
                    <a:pt x="245" y="491"/>
                  </a:lnTo>
                  <a:lnTo>
                    <a:pt x="240" y="493"/>
                  </a:lnTo>
                  <a:lnTo>
                    <a:pt x="245" y="493"/>
                  </a:lnTo>
                  <a:lnTo>
                    <a:pt x="245" y="493"/>
                  </a:lnTo>
                  <a:lnTo>
                    <a:pt x="242" y="494"/>
                  </a:lnTo>
                  <a:lnTo>
                    <a:pt x="245" y="494"/>
                  </a:lnTo>
                  <a:lnTo>
                    <a:pt x="242" y="496"/>
                  </a:lnTo>
                  <a:lnTo>
                    <a:pt x="247" y="494"/>
                  </a:lnTo>
                  <a:lnTo>
                    <a:pt x="244" y="498"/>
                  </a:lnTo>
                  <a:lnTo>
                    <a:pt x="247" y="496"/>
                  </a:lnTo>
                  <a:lnTo>
                    <a:pt x="244" y="498"/>
                  </a:lnTo>
                  <a:lnTo>
                    <a:pt x="247" y="496"/>
                  </a:lnTo>
                  <a:lnTo>
                    <a:pt x="249" y="496"/>
                  </a:lnTo>
                  <a:lnTo>
                    <a:pt x="245" y="501"/>
                  </a:lnTo>
                  <a:lnTo>
                    <a:pt x="249" y="498"/>
                  </a:lnTo>
                  <a:lnTo>
                    <a:pt x="249" y="498"/>
                  </a:lnTo>
                  <a:lnTo>
                    <a:pt x="249" y="498"/>
                  </a:lnTo>
                  <a:lnTo>
                    <a:pt x="250" y="498"/>
                  </a:lnTo>
                  <a:lnTo>
                    <a:pt x="249" y="499"/>
                  </a:lnTo>
                  <a:lnTo>
                    <a:pt x="247" y="501"/>
                  </a:lnTo>
                  <a:lnTo>
                    <a:pt x="250" y="498"/>
                  </a:lnTo>
                  <a:moveTo>
                    <a:pt x="69" y="435"/>
                  </a:moveTo>
                  <a:lnTo>
                    <a:pt x="63" y="435"/>
                  </a:lnTo>
                  <a:lnTo>
                    <a:pt x="64" y="430"/>
                  </a:lnTo>
                  <a:lnTo>
                    <a:pt x="63" y="433"/>
                  </a:lnTo>
                  <a:lnTo>
                    <a:pt x="61" y="433"/>
                  </a:lnTo>
                  <a:lnTo>
                    <a:pt x="63" y="430"/>
                  </a:lnTo>
                  <a:lnTo>
                    <a:pt x="61" y="433"/>
                  </a:lnTo>
                  <a:lnTo>
                    <a:pt x="60" y="432"/>
                  </a:lnTo>
                  <a:lnTo>
                    <a:pt x="61" y="429"/>
                  </a:lnTo>
                  <a:lnTo>
                    <a:pt x="58" y="432"/>
                  </a:lnTo>
                  <a:lnTo>
                    <a:pt x="53" y="424"/>
                  </a:lnTo>
                  <a:lnTo>
                    <a:pt x="53" y="419"/>
                  </a:lnTo>
                  <a:lnTo>
                    <a:pt x="53" y="373"/>
                  </a:lnTo>
                  <a:lnTo>
                    <a:pt x="56" y="368"/>
                  </a:lnTo>
                  <a:lnTo>
                    <a:pt x="60" y="369"/>
                  </a:lnTo>
                  <a:lnTo>
                    <a:pt x="58" y="366"/>
                  </a:lnTo>
                  <a:lnTo>
                    <a:pt x="66" y="363"/>
                  </a:lnTo>
                  <a:lnTo>
                    <a:pt x="69" y="361"/>
                  </a:lnTo>
                  <a:lnTo>
                    <a:pt x="285" y="363"/>
                  </a:lnTo>
                  <a:lnTo>
                    <a:pt x="290" y="364"/>
                  </a:lnTo>
                  <a:lnTo>
                    <a:pt x="288" y="368"/>
                  </a:lnTo>
                  <a:lnTo>
                    <a:pt x="290" y="364"/>
                  </a:lnTo>
                  <a:lnTo>
                    <a:pt x="291" y="366"/>
                  </a:lnTo>
                  <a:lnTo>
                    <a:pt x="290" y="369"/>
                  </a:lnTo>
                  <a:lnTo>
                    <a:pt x="293" y="368"/>
                  </a:lnTo>
                  <a:lnTo>
                    <a:pt x="296" y="371"/>
                  </a:lnTo>
                  <a:lnTo>
                    <a:pt x="298" y="379"/>
                  </a:lnTo>
                  <a:lnTo>
                    <a:pt x="296" y="425"/>
                  </a:lnTo>
                  <a:lnTo>
                    <a:pt x="291" y="432"/>
                  </a:lnTo>
                  <a:lnTo>
                    <a:pt x="288" y="429"/>
                  </a:lnTo>
                  <a:lnTo>
                    <a:pt x="291" y="432"/>
                  </a:lnTo>
                  <a:lnTo>
                    <a:pt x="290" y="433"/>
                  </a:lnTo>
                  <a:lnTo>
                    <a:pt x="286" y="430"/>
                  </a:lnTo>
                  <a:lnTo>
                    <a:pt x="288" y="433"/>
                  </a:lnTo>
                  <a:lnTo>
                    <a:pt x="285" y="430"/>
                  </a:lnTo>
                  <a:lnTo>
                    <a:pt x="286" y="433"/>
                  </a:lnTo>
                  <a:lnTo>
                    <a:pt x="283" y="435"/>
                  </a:lnTo>
                  <a:lnTo>
                    <a:pt x="280" y="435"/>
                  </a:lnTo>
                  <a:lnTo>
                    <a:pt x="69" y="435"/>
                  </a:lnTo>
                  <a:moveTo>
                    <a:pt x="68" y="427"/>
                  </a:moveTo>
                  <a:lnTo>
                    <a:pt x="68" y="432"/>
                  </a:lnTo>
                  <a:lnTo>
                    <a:pt x="68" y="427"/>
                  </a:lnTo>
                  <a:lnTo>
                    <a:pt x="69" y="427"/>
                  </a:lnTo>
                  <a:lnTo>
                    <a:pt x="281" y="427"/>
                  </a:lnTo>
                  <a:lnTo>
                    <a:pt x="283" y="430"/>
                  </a:lnTo>
                  <a:lnTo>
                    <a:pt x="283" y="427"/>
                  </a:lnTo>
                  <a:lnTo>
                    <a:pt x="285" y="430"/>
                  </a:lnTo>
                  <a:lnTo>
                    <a:pt x="283" y="427"/>
                  </a:lnTo>
                  <a:lnTo>
                    <a:pt x="286" y="425"/>
                  </a:lnTo>
                  <a:lnTo>
                    <a:pt x="290" y="427"/>
                  </a:lnTo>
                  <a:lnTo>
                    <a:pt x="286" y="424"/>
                  </a:lnTo>
                  <a:lnTo>
                    <a:pt x="290" y="427"/>
                  </a:lnTo>
                  <a:lnTo>
                    <a:pt x="288" y="424"/>
                  </a:lnTo>
                  <a:lnTo>
                    <a:pt x="291" y="425"/>
                  </a:lnTo>
                  <a:lnTo>
                    <a:pt x="288" y="422"/>
                  </a:lnTo>
                  <a:lnTo>
                    <a:pt x="291" y="425"/>
                  </a:lnTo>
                  <a:lnTo>
                    <a:pt x="288" y="422"/>
                  </a:lnTo>
                  <a:lnTo>
                    <a:pt x="291" y="424"/>
                  </a:lnTo>
                  <a:lnTo>
                    <a:pt x="288" y="422"/>
                  </a:lnTo>
                  <a:lnTo>
                    <a:pt x="293" y="422"/>
                  </a:lnTo>
                  <a:lnTo>
                    <a:pt x="288" y="420"/>
                  </a:lnTo>
                  <a:lnTo>
                    <a:pt x="293" y="420"/>
                  </a:lnTo>
                  <a:lnTo>
                    <a:pt x="288" y="420"/>
                  </a:lnTo>
                  <a:lnTo>
                    <a:pt x="290" y="419"/>
                  </a:lnTo>
                  <a:lnTo>
                    <a:pt x="288" y="378"/>
                  </a:lnTo>
                  <a:lnTo>
                    <a:pt x="293" y="376"/>
                  </a:lnTo>
                  <a:lnTo>
                    <a:pt x="288" y="376"/>
                  </a:lnTo>
                  <a:lnTo>
                    <a:pt x="293" y="374"/>
                  </a:lnTo>
                  <a:lnTo>
                    <a:pt x="288" y="376"/>
                  </a:lnTo>
                  <a:lnTo>
                    <a:pt x="291" y="374"/>
                  </a:lnTo>
                  <a:lnTo>
                    <a:pt x="288" y="374"/>
                  </a:lnTo>
                  <a:lnTo>
                    <a:pt x="288" y="374"/>
                  </a:lnTo>
                  <a:lnTo>
                    <a:pt x="291" y="371"/>
                  </a:lnTo>
                  <a:lnTo>
                    <a:pt x="286" y="373"/>
                  </a:lnTo>
                  <a:lnTo>
                    <a:pt x="286" y="373"/>
                  </a:lnTo>
                  <a:lnTo>
                    <a:pt x="288" y="369"/>
                  </a:lnTo>
                  <a:lnTo>
                    <a:pt x="286" y="373"/>
                  </a:lnTo>
                  <a:lnTo>
                    <a:pt x="285" y="371"/>
                  </a:lnTo>
                  <a:lnTo>
                    <a:pt x="286" y="368"/>
                  </a:lnTo>
                  <a:lnTo>
                    <a:pt x="285" y="371"/>
                  </a:lnTo>
                  <a:lnTo>
                    <a:pt x="285" y="368"/>
                  </a:lnTo>
                  <a:lnTo>
                    <a:pt x="283" y="371"/>
                  </a:lnTo>
                  <a:lnTo>
                    <a:pt x="285" y="366"/>
                  </a:lnTo>
                  <a:lnTo>
                    <a:pt x="283" y="371"/>
                  </a:lnTo>
                  <a:lnTo>
                    <a:pt x="283" y="366"/>
                  </a:lnTo>
                  <a:lnTo>
                    <a:pt x="281" y="371"/>
                  </a:lnTo>
                  <a:lnTo>
                    <a:pt x="280" y="371"/>
                  </a:lnTo>
                  <a:lnTo>
                    <a:pt x="68" y="371"/>
                  </a:lnTo>
                  <a:lnTo>
                    <a:pt x="66" y="366"/>
                  </a:lnTo>
                  <a:lnTo>
                    <a:pt x="68" y="371"/>
                  </a:lnTo>
                  <a:lnTo>
                    <a:pt x="66" y="371"/>
                  </a:lnTo>
                  <a:lnTo>
                    <a:pt x="64" y="368"/>
                  </a:lnTo>
                  <a:lnTo>
                    <a:pt x="66" y="371"/>
                  </a:lnTo>
                  <a:lnTo>
                    <a:pt x="63" y="368"/>
                  </a:lnTo>
                  <a:lnTo>
                    <a:pt x="64" y="371"/>
                  </a:lnTo>
                  <a:lnTo>
                    <a:pt x="63" y="368"/>
                  </a:lnTo>
                  <a:lnTo>
                    <a:pt x="64" y="373"/>
                  </a:lnTo>
                  <a:lnTo>
                    <a:pt x="61" y="369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0" y="371"/>
                  </a:lnTo>
                  <a:lnTo>
                    <a:pt x="63" y="374"/>
                  </a:lnTo>
                  <a:lnTo>
                    <a:pt x="58" y="371"/>
                  </a:lnTo>
                  <a:lnTo>
                    <a:pt x="61" y="374"/>
                  </a:lnTo>
                  <a:lnTo>
                    <a:pt x="58" y="373"/>
                  </a:lnTo>
                  <a:lnTo>
                    <a:pt x="61" y="374"/>
                  </a:lnTo>
                  <a:lnTo>
                    <a:pt x="58" y="374"/>
                  </a:lnTo>
                  <a:lnTo>
                    <a:pt x="61" y="376"/>
                  </a:lnTo>
                  <a:lnTo>
                    <a:pt x="56" y="374"/>
                  </a:lnTo>
                  <a:lnTo>
                    <a:pt x="61" y="376"/>
                  </a:lnTo>
                  <a:lnTo>
                    <a:pt x="56" y="376"/>
                  </a:lnTo>
                  <a:lnTo>
                    <a:pt x="61" y="378"/>
                  </a:lnTo>
                  <a:lnTo>
                    <a:pt x="61" y="378"/>
                  </a:lnTo>
                  <a:lnTo>
                    <a:pt x="61" y="419"/>
                  </a:lnTo>
                  <a:lnTo>
                    <a:pt x="61" y="420"/>
                  </a:lnTo>
                  <a:lnTo>
                    <a:pt x="56" y="420"/>
                  </a:lnTo>
                  <a:lnTo>
                    <a:pt x="61" y="420"/>
                  </a:lnTo>
                  <a:lnTo>
                    <a:pt x="56" y="422"/>
                  </a:lnTo>
                  <a:lnTo>
                    <a:pt x="61" y="422"/>
                  </a:lnTo>
                  <a:lnTo>
                    <a:pt x="58" y="424"/>
                  </a:lnTo>
                  <a:lnTo>
                    <a:pt x="61" y="422"/>
                  </a:lnTo>
                  <a:lnTo>
                    <a:pt x="58" y="425"/>
                  </a:lnTo>
                  <a:lnTo>
                    <a:pt x="61" y="424"/>
                  </a:lnTo>
                  <a:lnTo>
                    <a:pt x="58" y="425"/>
                  </a:lnTo>
                  <a:lnTo>
                    <a:pt x="63" y="424"/>
                  </a:lnTo>
                  <a:lnTo>
                    <a:pt x="63" y="424"/>
                  </a:lnTo>
                  <a:lnTo>
                    <a:pt x="60" y="427"/>
                  </a:lnTo>
                  <a:lnTo>
                    <a:pt x="63" y="425"/>
                  </a:lnTo>
                  <a:lnTo>
                    <a:pt x="66" y="427"/>
                  </a:lnTo>
                  <a:lnTo>
                    <a:pt x="66" y="430"/>
                  </a:lnTo>
                  <a:lnTo>
                    <a:pt x="68" y="427"/>
                  </a:lnTo>
                  <a:moveTo>
                    <a:pt x="253" y="414"/>
                  </a:moveTo>
                  <a:lnTo>
                    <a:pt x="247" y="414"/>
                  </a:lnTo>
                  <a:lnTo>
                    <a:pt x="247" y="409"/>
                  </a:lnTo>
                  <a:lnTo>
                    <a:pt x="245" y="412"/>
                  </a:lnTo>
                  <a:lnTo>
                    <a:pt x="240" y="409"/>
                  </a:lnTo>
                  <a:lnTo>
                    <a:pt x="240" y="409"/>
                  </a:lnTo>
                  <a:lnTo>
                    <a:pt x="244" y="406"/>
                  </a:lnTo>
                  <a:lnTo>
                    <a:pt x="239" y="407"/>
                  </a:lnTo>
                  <a:lnTo>
                    <a:pt x="237" y="404"/>
                  </a:lnTo>
                  <a:lnTo>
                    <a:pt x="242" y="401"/>
                  </a:lnTo>
                  <a:lnTo>
                    <a:pt x="237" y="402"/>
                  </a:lnTo>
                  <a:lnTo>
                    <a:pt x="237" y="399"/>
                  </a:lnTo>
                  <a:lnTo>
                    <a:pt x="240" y="397"/>
                  </a:lnTo>
                  <a:lnTo>
                    <a:pt x="237" y="397"/>
                  </a:lnTo>
                  <a:lnTo>
                    <a:pt x="237" y="396"/>
                  </a:lnTo>
                  <a:lnTo>
                    <a:pt x="242" y="396"/>
                  </a:lnTo>
                  <a:lnTo>
                    <a:pt x="237" y="394"/>
                  </a:lnTo>
                  <a:lnTo>
                    <a:pt x="239" y="391"/>
                  </a:lnTo>
                  <a:lnTo>
                    <a:pt x="242" y="387"/>
                  </a:lnTo>
                  <a:lnTo>
                    <a:pt x="245" y="389"/>
                  </a:lnTo>
                  <a:lnTo>
                    <a:pt x="244" y="386"/>
                  </a:lnTo>
                  <a:lnTo>
                    <a:pt x="247" y="384"/>
                  </a:lnTo>
                  <a:lnTo>
                    <a:pt x="253" y="383"/>
                  </a:lnTo>
                  <a:lnTo>
                    <a:pt x="258" y="384"/>
                  </a:lnTo>
                  <a:lnTo>
                    <a:pt x="257" y="387"/>
                  </a:lnTo>
                  <a:lnTo>
                    <a:pt x="258" y="384"/>
                  </a:lnTo>
                  <a:lnTo>
                    <a:pt x="262" y="386"/>
                  </a:lnTo>
                  <a:lnTo>
                    <a:pt x="260" y="389"/>
                  </a:lnTo>
                  <a:lnTo>
                    <a:pt x="262" y="386"/>
                  </a:lnTo>
                  <a:lnTo>
                    <a:pt x="265" y="389"/>
                  </a:lnTo>
                  <a:lnTo>
                    <a:pt x="262" y="392"/>
                  </a:lnTo>
                  <a:lnTo>
                    <a:pt x="265" y="389"/>
                  </a:lnTo>
                  <a:lnTo>
                    <a:pt x="267" y="392"/>
                  </a:lnTo>
                  <a:lnTo>
                    <a:pt x="263" y="394"/>
                  </a:lnTo>
                  <a:lnTo>
                    <a:pt x="268" y="394"/>
                  </a:lnTo>
                  <a:lnTo>
                    <a:pt x="268" y="397"/>
                  </a:lnTo>
                  <a:lnTo>
                    <a:pt x="263" y="397"/>
                  </a:lnTo>
                  <a:lnTo>
                    <a:pt x="268" y="399"/>
                  </a:lnTo>
                  <a:lnTo>
                    <a:pt x="268" y="401"/>
                  </a:lnTo>
                  <a:lnTo>
                    <a:pt x="263" y="401"/>
                  </a:lnTo>
                  <a:lnTo>
                    <a:pt x="268" y="402"/>
                  </a:lnTo>
                  <a:lnTo>
                    <a:pt x="267" y="406"/>
                  </a:lnTo>
                  <a:lnTo>
                    <a:pt x="263" y="404"/>
                  </a:lnTo>
                  <a:lnTo>
                    <a:pt x="267" y="406"/>
                  </a:lnTo>
                  <a:lnTo>
                    <a:pt x="265" y="407"/>
                  </a:lnTo>
                  <a:lnTo>
                    <a:pt x="262" y="406"/>
                  </a:lnTo>
                  <a:lnTo>
                    <a:pt x="265" y="409"/>
                  </a:lnTo>
                  <a:lnTo>
                    <a:pt x="262" y="410"/>
                  </a:lnTo>
                  <a:lnTo>
                    <a:pt x="260" y="407"/>
                  </a:lnTo>
                  <a:lnTo>
                    <a:pt x="262" y="412"/>
                  </a:lnTo>
                  <a:lnTo>
                    <a:pt x="258" y="414"/>
                  </a:lnTo>
                  <a:lnTo>
                    <a:pt x="257" y="409"/>
                  </a:lnTo>
                  <a:lnTo>
                    <a:pt x="258" y="414"/>
                  </a:lnTo>
                  <a:lnTo>
                    <a:pt x="253" y="414"/>
                  </a:lnTo>
                  <a:moveTo>
                    <a:pt x="252" y="406"/>
                  </a:moveTo>
                  <a:lnTo>
                    <a:pt x="253" y="410"/>
                  </a:lnTo>
                  <a:lnTo>
                    <a:pt x="253" y="406"/>
                  </a:lnTo>
                  <a:lnTo>
                    <a:pt x="253" y="406"/>
                  </a:lnTo>
                  <a:lnTo>
                    <a:pt x="253" y="410"/>
                  </a:lnTo>
                  <a:lnTo>
                    <a:pt x="253" y="406"/>
                  </a:lnTo>
                  <a:lnTo>
                    <a:pt x="255" y="410"/>
                  </a:lnTo>
                  <a:lnTo>
                    <a:pt x="255" y="406"/>
                  </a:lnTo>
                  <a:lnTo>
                    <a:pt x="257" y="406"/>
                  </a:lnTo>
                  <a:lnTo>
                    <a:pt x="258" y="409"/>
                  </a:lnTo>
                  <a:lnTo>
                    <a:pt x="257" y="404"/>
                  </a:lnTo>
                  <a:lnTo>
                    <a:pt x="257" y="404"/>
                  </a:lnTo>
                  <a:lnTo>
                    <a:pt x="260" y="407"/>
                  </a:lnTo>
                  <a:lnTo>
                    <a:pt x="258" y="404"/>
                  </a:lnTo>
                  <a:lnTo>
                    <a:pt x="258" y="402"/>
                  </a:lnTo>
                  <a:lnTo>
                    <a:pt x="263" y="404"/>
                  </a:lnTo>
                  <a:lnTo>
                    <a:pt x="262" y="402"/>
                  </a:lnTo>
                  <a:lnTo>
                    <a:pt x="260" y="402"/>
                  </a:lnTo>
                  <a:lnTo>
                    <a:pt x="260" y="399"/>
                  </a:lnTo>
                  <a:lnTo>
                    <a:pt x="263" y="397"/>
                  </a:lnTo>
                  <a:lnTo>
                    <a:pt x="260" y="397"/>
                  </a:lnTo>
                  <a:lnTo>
                    <a:pt x="263" y="396"/>
                  </a:lnTo>
                  <a:lnTo>
                    <a:pt x="260" y="397"/>
                  </a:lnTo>
                  <a:lnTo>
                    <a:pt x="258" y="396"/>
                  </a:lnTo>
                  <a:lnTo>
                    <a:pt x="263" y="392"/>
                  </a:lnTo>
                  <a:lnTo>
                    <a:pt x="258" y="394"/>
                  </a:lnTo>
                  <a:lnTo>
                    <a:pt x="257" y="392"/>
                  </a:lnTo>
                  <a:lnTo>
                    <a:pt x="258" y="389"/>
                  </a:lnTo>
                  <a:lnTo>
                    <a:pt x="257" y="392"/>
                  </a:lnTo>
                  <a:lnTo>
                    <a:pt x="258" y="387"/>
                  </a:lnTo>
                  <a:lnTo>
                    <a:pt x="255" y="392"/>
                  </a:lnTo>
                  <a:lnTo>
                    <a:pt x="255" y="392"/>
                  </a:lnTo>
                  <a:lnTo>
                    <a:pt x="255" y="389"/>
                  </a:lnTo>
                  <a:lnTo>
                    <a:pt x="257" y="387"/>
                  </a:lnTo>
                  <a:lnTo>
                    <a:pt x="255" y="392"/>
                  </a:lnTo>
                  <a:lnTo>
                    <a:pt x="255" y="387"/>
                  </a:lnTo>
                  <a:lnTo>
                    <a:pt x="253" y="391"/>
                  </a:lnTo>
                  <a:lnTo>
                    <a:pt x="253" y="387"/>
                  </a:lnTo>
                  <a:lnTo>
                    <a:pt x="253" y="391"/>
                  </a:lnTo>
                  <a:lnTo>
                    <a:pt x="252" y="387"/>
                  </a:lnTo>
                  <a:lnTo>
                    <a:pt x="252" y="391"/>
                  </a:lnTo>
                  <a:lnTo>
                    <a:pt x="252" y="387"/>
                  </a:lnTo>
                  <a:lnTo>
                    <a:pt x="252" y="391"/>
                  </a:lnTo>
                  <a:lnTo>
                    <a:pt x="249" y="392"/>
                  </a:lnTo>
                  <a:lnTo>
                    <a:pt x="247" y="389"/>
                  </a:lnTo>
                  <a:lnTo>
                    <a:pt x="249" y="392"/>
                  </a:lnTo>
                  <a:lnTo>
                    <a:pt x="245" y="389"/>
                  </a:lnTo>
                  <a:lnTo>
                    <a:pt x="249" y="392"/>
                  </a:lnTo>
                  <a:lnTo>
                    <a:pt x="245" y="391"/>
                  </a:lnTo>
                  <a:lnTo>
                    <a:pt x="247" y="394"/>
                  </a:lnTo>
                  <a:lnTo>
                    <a:pt x="244" y="391"/>
                  </a:lnTo>
                  <a:lnTo>
                    <a:pt x="247" y="394"/>
                  </a:lnTo>
                  <a:lnTo>
                    <a:pt x="244" y="392"/>
                  </a:lnTo>
                  <a:lnTo>
                    <a:pt x="247" y="396"/>
                  </a:lnTo>
                  <a:lnTo>
                    <a:pt x="242" y="392"/>
                  </a:lnTo>
                  <a:lnTo>
                    <a:pt x="245" y="396"/>
                  </a:lnTo>
                  <a:lnTo>
                    <a:pt x="245" y="397"/>
                  </a:lnTo>
                  <a:lnTo>
                    <a:pt x="242" y="396"/>
                  </a:lnTo>
                  <a:lnTo>
                    <a:pt x="244" y="396"/>
                  </a:lnTo>
                  <a:lnTo>
                    <a:pt x="245" y="397"/>
                  </a:lnTo>
                  <a:lnTo>
                    <a:pt x="244" y="397"/>
                  </a:lnTo>
                  <a:lnTo>
                    <a:pt x="245" y="397"/>
                  </a:lnTo>
                  <a:lnTo>
                    <a:pt x="244" y="397"/>
                  </a:lnTo>
                  <a:lnTo>
                    <a:pt x="240" y="397"/>
                  </a:lnTo>
                  <a:lnTo>
                    <a:pt x="245" y="397"/>
                  </a:lnTo>
                  <a:lnTo>
                    <a:pt x="240" y="397"/>
                  </a:lnTo>
                  <a:lnTo>
                    <a:pt x="245" y="399"/>
                  </a:lnTo>
                  <a:lnTo>
                    <a:pt x="240" y="399"/>
                  </a:lnTo>
                  <a:lnTo>
                    <a:pt x="245" y="401"/>
                  </a:lnTo>
                  <a:lnTo>
                    <a:pt x="245" y="401"/>
                  </a:lnTo>
                  <a:lnTo>
                    <a:pt x="242" y="402"/>
                  </a:lnTo>
                  <a:lnTo>
                    <a:pt x="245" y="402"/>
                  </a:lnTo>
                  <a:lnTo>
                    <a:pt x="242" y="404"/>
                  </a:lnTo>
                  <a:lnTo>
                    <a:pt x="247" y="402"/>
                  </a:lnTo>
                  <a:lnTo>
                    <a:pt x="247" y="402"/>
                  </a:lnTo>
                  <a:lnTo>
                    <a:pt x="244" y="406"/>
                  </a:lnTo>
                  <a:lnTo>
                    <a:pt x="247" y="404"/>
                  </a:lnTo>
                  <a:lnTo>
                    <a:pt x="245" y="407"/>
                  </a:lnTo>
                  <a:lnTo>
                    <a:pt x="249" y="404"/>
                  </a:lnTo>
                  <a:lnTo>
                    <a:pt x="249" y="406"/>
                  </a:lnTo>
                  <a:lnTo>
                    <a:pt x="247" y="409"/>
                  </a:lnTo>
                  <a:lnTo>
                    <a:pt x="250" y="406"/>
                  </a:lnTo>
                  <a:lnTo>
                    <a:pt x="250" y="406"/>
                  </a:lnTo>
                  <a:lnTo>
                    <a:pt x="250" y="410"/>
                  </a:lnTo>
                  <a:lnTo>
                    <a:pt x="252" y="406"/>
                  </a:lnTo>
                  <a:lnTo>
                    <a:pt x="250" y="410"/>
                  </a:lnTo>
                  <a:lnTo>
                    <a:pt x="252" y="406"/>
                  </a:lnTo>
                  <a:lnTo>
                    <a:pt x="252" y="410"/>
                  </a:lnTo>
                  <a:lnTo>
                    <a:pt x="252" y="406"/>
                  </a:lnTo>
                  <a:moveTo>
                    <a:pt x="69" y="343"/>
                  </a:moveTo>
                  <a:lnTo>
                    <a:pt x="63" y="341"/>
                  </a:lnTo>
                  <a:lnTo>
                    <a:pt x="64" y="338"/>
                  </a:lnTo>
                  <a:lnTo>
                    <a:pt x="63" y="341"/>
                  </a:lnTo>
                  <a:lnTo>
                    <a:pt x="61" y="341"/>
                  </a:lnTo>
                  <a:lnTo>
                    <a:pt x="63" y="337"/>
                  </a:lnTo>
                  <a:lnTo>
                    <a:pt x="61" y="341"/>
                  </a:lnTo>
                  <a:lnTo>
                    <a:pt x="60" y="340"/>
                  </a:lnTo>
                  <a:lnTo>
                    <a:pt x="61" y="337"/>
                  </a:lnTo>
                  <a:lnTo>
                    <a:pt x="58" y="338"/>
                  </a:lnTo>
                  <a:lnTo>
                    <a:pt x="55" y="337"/>
                  </a:lnTo>
                  <a:lnTo>
                    <a:pt x="58" y="333"/>
                  </a:lnTo>
                  <a:lnTo>
                    <a:pt x="55" y="335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281"/>
                  </a:lnTo>
                  <a:lnTo>
                    <a:pt x="55" y="277"/>
                  </a:lnTo>
                  <a:lnTo>
                    <a:pt x="58" y="279"/>
                  </a:lnTo>
                  <a:lnTo>
                    <a:pt x="55" y="276"/>
                  </a:lnTo>
                  <a:lnTo>
                    <a:pt x="58" y="274"/>
                  </a:lnTo>
                  <a:lnTo>
                    <a:pt x="61" y="277"/>
                  </a:lnTo>
                  <a:lnTo>
                    <a:pt x="60" y="272"/>
                  </a:lnTo>
                  <a:lnTo>
                    <a:pt x="61" y="272"/>
                  </a:lnTo>
                  <a:lnTo>
                    <a:pt x="63" y="276"/>
                  </a:lnTo>
                  <a:lnTo>
                    <a:pt x="61" y="271"/>
                  </a:lnTo>
                  <a:lnTo>
                    <a:pt x="64" y="271"/>
                  </a:lnTo>
                  <a:lnTo>
                    <a:pt x="69" y="269"/>
                  </a:lnTo>
                  <a:lnTo>
                    <a:pt x="283" y="269"/>
                  </a:lnTo>
                  <a:lnTo>
                    <a:pt x="288" y="271"/>
                  </a:lnTo>
                  <a:lnTo>
                    <a:pt x="286" y="276"/>
                  </a:lnTo>
                  <a:lnTo>
                    <a:pt x="290" y="272"/>
                  </a:lnTo>
                  <a:lnTo>
                    <a:pt x="291" y="272"/>
                  </a:lnTo>
                  <a:lnTo>
                    <a:pt x="288" y="277"/>
                  </a:lnTo>
                  <a:lnTo>
                    <a:pt x="291" y="274"/>
                  </a:lnTo>
                  <a:lnTo>
                    <a:pt x="296" y="279"/>
                  </a:lnTo>
                  <a:lnTo>
                    <a:pt x="298" y="286"/>
                  </a:lnTo>
                  <a:lnTo>
                    <a:pt x="296" y="333"/>
                  </a:lnTo>
                  <a:lnTo>
                    <a:pt x="291" y="338"/>
                  </a:lnTo>
                  <a:lnTo>
                    <a:pt x="288" y="337"/>
                  </a:lnTo>
                  <a:lnTo>
                    <a:pt x="291" y="340"/>
                  </a:lnTo>
                  <a:lnTo>
                    <a:pt x="290" y="341"/>
                  </a:lnTo>
                  <a:lnTo>
                    <a:pt x="286" y="337"/>
                  </a:lnTo>
                  <a:lnTo>
                    <a:pt x="288" y="341"/>
                  </a:lnTo>
                  <a:lnTo>
                    <a:pt x="285" y="338"/>
                  </a:lnTo>
                  <a:lnTo>
                    <a:pt x="286" y="341"/>
                  </a:lnTo>
                  <a:lnTo>
                    <a:pt x="280" y="343"/>
                  </a:lnTo>
                  <a:lnTo>
                    <a:pt x="69" y="343"/>
                  </a:lnTo>
                  <a:moveTo>
                    <a:pt x="281" y="335"/>
                  </a:moveTo>
                  <a:lnTo>
                    <a:pt x="283" y="338"/>
                  </a:lnTo>
                  <a:lnTo>
                    <a:pt x="281" y="335"/>
                  </a:lnTo>
                  <a:lnTo>
                    <a:pt x="285" y="338"/>
                  </a:lnTo>
                  <a:lnTo>
                    <a:pt x="283" y="333"/>
                  </a:lnTo>
                  <a:lnTo>
                    <a:pt x="286" y="333"/>
                  </a:lnTo>
                  <a:lnTo>
                    <a:pt x="290" y="335"/>
                  </a:lnTo>
                  <a:lnTo>
                    <a:pt x="286" y="332"/>
                  </a:lnTo>
                  <a:lnTo>
                    <a:pt x="290" y="335"/>
                  </a:lnTo>
                  <a:lnTo>
                    <a:pt x="288" y="332"/>
                  </a:lnTo>
                  <a:lnTo>
                    <a:pt x="291" y="333"/>
                  </a:lnTo>
                  <a:lnTo>
                    <a:pt x="288" y="330"/>
                  </a:lnTo>
                  <a:lnTo>
                    <a:pt x="291" y="332"/>
                  </a:lnTo>
                  <a:lnTo>
                    <a:pt x="288" y="330"/>
                  </a:lnTo>
                  <a:lnTo>
                    <a:pt x="291" y="332"/>
                  </a:lnTo>
                  <a:lnTo>
                    <a:pt x="288" y="328"/>
                  </a:lnTo>
                  <a:lnTo>
                    <a:pt x="293" y="330"/>
                  </a:lnTo>
                  <a:lnTo>
                    <a:pt x="288" y="328"/>
                  </a:lnTo>
                  <a:lnTo>
                    <a:pt x="293" y="328"/>
                  </a:lnTo>
                  <a:lnTo>
                    <a:pt x="288" y="327"/>
                  </a:lnTo>
                  <a:lnTo>
                    <a:pt x="290" y="327"/>
                  </a:lnTo>
                  <a:lnTo>
                    <a:pt x="288" y="286"/>
                  </a:lnTo>
                  <a:lnTo>
                    <a:pt x="293" y="284"/>
                  </a:lnTo>
                  <a:lnTo>
                    <a:pt x="288" y="284"/>
                  </a:lnTo>
                  <a:lnTo>
                    <a:pt x="293" y="282"/>
                  </a:lnTo>
                  <a:lnTo>
                    <a:pt x="288" y="284"/>
                  </a:lnTo>
                  <a:lnTo>
                    <a:pt x="291" y="281"/>
                  </a:lnTo>
                  <a:lnTo>
                    <a:pt x="288" y="282"/>
                  </a:lnTo>
                  <a:lnTo>
                    <a:pt x="291" y="281"/>
                  </a:lnTo>
                  <a:lnTo>
                    <a:pt x="288" y="282"/>
                  </a:lnTo>
                  <a:lnTo>
                    <a:pt x="291" y="279"/>
                  </a:lnTo>
                  <a:lnTo>
                    <a:pt x="286" y="281"/>
                  </a:lnTo>
                  <a:lnTo>
                    <a:pt x="290" y="277"/>
                  </a:lnTo>
                  <a:lnTo>
                    <a:pt x="286" y="281"/>
                  </a:lnTo>
                  <a:lnTo>
                    <a:pt x="285" y="279"/>
                  </a:lnTo>
                  <a:lnTo>
                    <a:pt x="288" y="276"/>
                  </a:lnTo>
                  <a:lnTo>
                    <a:pt x="285" y="279"/>
                  </a:lnTo>
                  <a:lnTo>
                    <a:pt x="283" y="279"/>
                  </a:lnTo>
                  <a:lnTo>
                    <a:pt x="285" y="274"/>
                  </a:lnTo>
                  <a:lnTo>
                    <a:pt x="283" y="279"/>
                  </a:lnTo>
                  <a:lnTo>
                    <a:pt x="283" y="274"/>
                  </a:lnTo>
                  <a:lnTo>
                    <a:pt x="281" y="277"/>
                  </a:lnTo>
                  <a:lnTo>
                    <a:pt x="280" y="277"/>
                  </a:lnTo>
                  <a:lnTo>
                    <a:pt x="68" y="277"/>
                  </a:lnTo>
                  <a:lnTo>
                    <a:pt x="66" y="274"/>
                  </a:lnTo>
                  <a:lnTo>
                    <a:pt x="68" y="277"/>
                  </a:lnTo>
                  <a:lnTo>
                    <a:pt x="66" y="274"/>
                  </a:lnTo>
                  <a:lnTo>
                    <a:pt x="66" y="279"/>
                  </a:lnTo>
                  <a:lnTo>
                    <a:pt x="64" y="274"/>
                  </a:lnTo>
                  <a:lnTo>
                    <a:pt x="64" y="276"/>
                  </a:lnTo>
                  <a:lnTo>
                    <a:pt x="66" y="279"/>
                  </a:lnTo>
                  <a:lnTo>
                    <a:pt x="64" y="279"/>
                  </a:lnTo>
                  <a:lnTo>
                    <a:pt x="63" y="276"/>
                  </a:lnTo>
                  <a:lnTo>
                    <a:pt x="64" y="279"/>
                  </a:lnTo>
                  <a:lnTo>
                    <a:pt x="64" y="281"/>
                  </a:lnTo>
                  <a:lnTo>
                    <a:pt x="60" y="277"/>
                  </a:lnTo>
                  <a:lnTo>
                    <a:pt x="63" y="281"/>
                  </a:lnTo>
                  <a:lnTo>
                    <a:pt x="60" y="279"/>
                  </a:lnTo>
                  <a:lnTo>
                    <a:pt x="63" y="281"/>
                  </a:lnTo>
                  <a:lnTo>
                    <a:pt x="61" y="282"/>
                  </a:lnTo>
                  <a:lnTo>
                    <a:pt x="58" y="281"/>
                  </a:lnTo>
                  <a:lnTo>
                    <a:pt x="61" y="282"/>
                  </a:lnTo>
                  <a:lnTo>
                    <a:pt x="58" y="281"/>
                  </a:lnTo>
                  <a:lnTo>
                    <a:pt x="61" y="284"/>
                  </a:lnTo>
                  <a:lnTo>
                    <a:pt x="56" y="282"/>
                  </a:lnTo>
                  <a:lnTo>
                    <a:pt x="61" y="284"/>
                  </a:lnTo>
                  <a:lnTo>
                    <a:pt x="56" y="284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1" y="327"/>
                  </a:lnTo>
                  <a:lnTo>
                    <a:pt x="61" y="327"/>
                  </a:lnTo>
                  <a:lnTo>
                    <a:pt x="56" y="328"/>
                  </a:lnTo>
                  <a:lnTo>
                    <a:pt x="61" y="328"/>
                  </a:lnTo>
                  <a:lnTo>
                    <a:pt x="56" y="330"/>
                  </a:lnTo>
                  <a:lnTo>
                    <a:pt x="61" y="328"/>
                  </a:lnTo>
                  <a:lnTo>
                    <a:pt x="58" y="332"/>
                  </a:lnTo>
                  <a:lnTo>
                    <a:pt x="61" y="330"/>
                  </a:lnTo>
                  <a:lnTo>
                    <a:pt x="58" y="332"/>
                  </a:lnTo>
                  <a:lnTo>
                    <a:pt x="61" y="330"/>
                  </a:lnTo>
                  <a:lnTo>
                    <a:pt x="63" y="332"/>
                  </a:lnTo>
                  <a:lnTo>
                    <a:pt x="60" y="335"/>
                  </a:lnTo>
                  <a:lnTo>
                    <a:pt x="63" y="333"/>
                  </a:lnTo>
                  <a:lnTo>
                    <a:pt x="68" y="335"/>
                  </a:lnTo>
                  <a:lnTo>
                    <a:pt x="66" y="338"/>
                  </a:lnTo>
                  <a:lnTo>
                    <a:pt x="68" y="335"/>
                  </a:lnTo>
                  <a:lnTo>
                    <a:pt x="69" y="335"/>
                  </a:lnTo>
                  <a:lnTo>
                    <a:pt x="281" y="335"/>
                  </a:lnTo>
                  <a:moveTo>
                    <a:pt x="253" y="322"/>
                  </a:moveTo>
                  <a:lnTo>
                    <a:pt x="247" y="320"/>
                  </a:lnTo>
                  <a:lnTo>
                    <a:pt x="249" y="317"/>
                  </a:lnTo>
                  <a:lnTo>
                    <a:pt x="245" y="320"/>
                  </a:lnTo>
                  <a:lnTo>
                    <a:pt x="244" y="320"/>
                  </a:lnTo>
                  <a:lnTo>
                    <a:pt x="245" y="315"/>
                  </a:lnTo>
                  <a:lnTo>
                    <a:pt x="244" y="318"/>
                  </a:lnTo>
                  <a:lnTo>
                    <a:pt x="242" y="318"/>
                  </a:lnTo>
                  <a:lnTo>
                    <a:pt x="244" y="314"/>
                  </a:lnTo>
                  <a:lnTo>
                    <a:pt x="240" y="317"/>
                  </a:lnTo>
                  <a:lnTo>
                    <a:pt x="237" y="312"/>
                  </a:lnTo>
                  <a:lnTo>
                    <a:pt x="237" y="310"/>
                  </a:lnTo>
                  <a:lnTo>
                    <a:pt x="242" y="309"/>
                  </a:lnTo>
                  <a:lnTo>
                    <a:pt x="237" y="310"/>
                  </a:lnTo>
                  <a:lnTo>
                    <a:pt x="237" y="305"/>
                  </a:lnTo>
                  <a:lnTo>
                    <a:pt x="237" y="302"/>
                  </a:lnTo>
                  <a:lnTo>
                    <a:pt x="242" y="304"/>
                  </a:lnTo>
                  <a:lnTo>
                    <a:pt x="237" y="302"/>
                  </a:lnTo>
                  <a:lnTo>
                    <a:pt x="239" y="297"/>
                  </a:lnTo>
                  <a:lnTo>
                    <a:pt x="244" y="299"/>
                  </a:lnTo>
                  <a:lnTo>
                    <a:pt x="240" y="297"/>
                  </a:lnTo>
                  <a:lnTo>
                    <a:pt x="245" y="292"/>
                  </a:lnTo>
                  <a:lnTo>
                    <a:pt x="247" y="291"/>
                  </a:lnTo>
                  <a:lnTo>
                    <a:pt x="249" y="295"/>
                  </a:lnTo>
                  <a:lnTo>
                    <a:pt x="249" y="291"/>
                  </a:lnTo>
                  <a:lnTo>
                    <a:pt x="252" y="291"/>
                  </a:lnTo>
                  <a:lnTo>
                    <a:pt x="258" y="292"/>
                  </a:lnTo>
                  <a:lnTo>
                    <a:pt x="257" y="295"/>
                  </a:lnTo>
                  <a:lnTo>
                    <a:pt x="258" y="292"/>
                  </a:lnTo>
                  <a:lnTo>
                    <a:pt x="262" y="294"/>
                  </a:lnTo>
                  <a:lnTo>
                    <a:pt x="260" y="297"/>
                  </a:lnTo>
                  <a:lnTo>
                    <a:pt x="262" y="294"/>
                  </a:lnTo>
                  <a:lnTo>
                    <a:pt x="265" y="297"/>
                  </a:lnTo>
                  <a:lnTo>
                    <a:pt x="262" y="299"/>
                  </a:lnTo>
                  <a:lnTo>
                    <a:pt x="265" y="297"/>
                  </a:lnTo>
                  <a:lnTo>
                    <a:pt x="267" y="300"/>
                  </a:lnTo>
                  <a:lnTo>
                    <a:pt x="263" y="302"/>
                  </a:lnTo>
                  <a:lnTo>
                    <a:pt x="268" y="302"/>
                  </a:lnTo>
                  <a:lnTo>
                    <a:pt x="268" y="305"/>
                  </a:lnTo>
                  <a:lnTo>
                    <a:pt x="268" y="307"/>
                  </a:lnTo>
                  <a:lnTo>
                    <a:pt x="267" y="312"/>
                  </a:lnTo>
                  <a:lnTo>
                    <a:pt x="267" y="314"/>
                  </a:lnTo>
                  <a:lnTo>
                    <a:pt x="262" y="312"/>
                  </a:lnTo>
                  <a:lnTo>
                    <a:pt x="267" y="315"/>
                  </a:lnTo>
                  <a:lnTo>
                    <a:pt x="265" y="315"/>
                  </a:lnTo>
                  <a:lnTo>
                    <a:pt x="262" y="314"/>
                  </a:lnTo>
                  <a:lnTo>
                    <a:pt x="265" y="315"/>
                  </a:lnTo>
                  <a:lnTo>
                    <a:pt x="262" y="318"/>
                  </a:lnTo>
                  <a:lnTo>
                    <a:pt x="260" y="315"/>
                  </a:lnTo>
                  <a:lnTo>
                    <a:pt x="262" y="318"/>
                  </a:lnTo>
                  <a:lnTo>
                    <a:pt x="255" y="322"/>
                  </a:lnTo>
                  <a:lnTo>
                    <a:pt x="253" y="322"/>
                  </a:lnTo>
                  <a:moveTo>
                    <a:pt x="252" y="314"/>
                  </a:moveTo>
                  <a:lnTo>
                    <a:pt x="253" y="318"/>
                  </a:lnTo>
                  <a:lnTo>
                    <a:pt x="253" y="314"/>
                  </a:lnTo>
                  <a:lnTo>
                    <a:pt x="253" y="314"/>
                  </a:lnTo>
                  <a:lnTo>
                    <a:pt x="253" y="317"/>
                  </a:lnTo>
                  <a:lnTo>
                    <a:pt x="253" y="314"/>
                  </a:lnTo>
                  <a:lnTo>
                    <a:pt x="255" y="317"/>
                  </a:lnTo>
                  <a:lnTo>
                    <a:pt x="255" y="314"/>
                  </a:lnTo>
                  <a:lnTo>
                    <a:pt x="257" y="312"/>
                  </a:lnTo>
                  <a:lnTo>
                    <a:pt x="258" y="317"/>
                  </a:lnTo>
                  <a:lnTo>
                    <a:pt x="257" y="312"/>
                  </a:lnTo>
                  <a:lnTo>
                    <a:pt x="260" y="315"/>
                  </a:lnTo>
                  <a:lnTo>
                    <a:pt x="257" y="312"/>
                  </a:lnTo>
                  <a:lnTo>
                    <a:pt x="260" y="314"/>
                  </a:lnTo>
                  <a:lnTo>
                    <a:pt x="258" y="310"/>
                  </a:lnTo>
                  <a:lnTo>
                    <a:pt x="260" y="309"/>
                  </a:lnTo>
                  <a:lnTo>
                    <a:pt x="260" y="309"/>
                  </a:lnTo>
                  <a:lnTo>
                    <a:pt x="260" y="309"/>
                  </a:lnTo>
                  <a:lnTo>
                    <a:pt x="260" y="309"/>
                  </a:lnTo>
                  <a:lnTo>
                    <a:pt x="263" y="310"/>
                  </a:lnTo>
                  <a:lnTo>
                    <a:pt x="260" y="309"/>
                  </a:lnTo>
                  <a:lnTo>
                    <a:pt x="263" y="309"/>
                  </a:lnTo>
                  <a:lnTo>
                    <a:pt x="260" y="307"/>
                  </a:lnTo>
                  <a:lnTo>
                    <a:pt x="260" y="305"/>
                  </a:lnTo>
                  <a:lnTo>
                    <a:pt x="263" y="305"/>
                  </a:lnTo>
                  <a:lnTo>
                    <a:pt x="260" y="305"/>
                  </a:lnTo>
                  <a:lnTo>
                    <a:pt x="263" y="304"/>
                  </a:lnTo>
                  <a:lnTo>
                    <a:pt x="260" y="304"/>
                  </a:lnTo>
                  <a:lnTo>
                    <a:pt x="258" y="304"/>
                  </a:lnTo>
                  <a:lnTo>
                    <a:pt x="263" y="300"/>
                  </a:lnTo>
                  <a:lnTo>
                    <a:pt x="258" y="302"/>
                  </a:lnTo>
                  <a:lnTo>
                    <a:pt x="258" y="302"/>
                  </a:lnTo>
                  <a:lnTo>
                    <a:pt x="262" y="299"/>
                  </a:lnTo>
                  <a:lnTo>
                    <a:pt x="258" y="302"/>
                  </a:lnTo>
                  <a:lnTo>
                    <a:pt x="257" y="300"/>
                  </a:lnTo>
                  <a:lnTo>
                    <a:pt x="258" y="297"/>
                  </a:lnTo>
                  <a:lnTo>
                    <a:pt x="257" y="300"/>
                  </a:lnTo>
                  <a:lnTo>
                    <a:pt x="255" y="299"/>
                  </a:lnTo>
                  <a:lnTo>
                    <a:pt x="255" y="299"/>
                  </a:lnTo>
                  <a:lnTo>
                    <a:pt x="255" y="299"/>
                  </a:lnTo>
                  <a:lnTo>
                    <a:pt x="255" y="299"/>
                  </a:lnTo>
                  <a:lnTo>
                    <a:pt x="255" y="295"/>
                  </a:lnTo>
                  <a:lnTo>
                    <a:pt x="253" y="299"/>
                  </a:lnTo>
                  <a:lnTo>
                    <a:pt x="253" y="295"/>
                  </a:lnTo>
                  <a:lnTo>
                    <a:pt x="253" y="299"/>
                  </a:lnTo>
                  <a:lnTo>
                    <a:pt x="252" y="299"/>
                  </a:lnTo>
                  <a:lnTo>
                    <a:pt x="252" y="295"/>
                  </a:lnTo>
                  <a:lnTo>
                    <a:pt x="252" y="299"/>
                  </a:lnTo>
                  <a:lnTo>
                    <a:pt x="250" y="295"/>
                  </a:lnTo>
                  <a:lnTo>
                    <a:pt x="250" y="299"/>
                  </a:lnTo>
                  <a:lnTo>
                    <a:pt x="250" y="299"/>
                  </a:lnTo>
                  <a:lnTo>
                    <a:pt x="250" y="299"/>
                  </a:lnTo>
                  <a:lnTo>
                    <a:pt x="250" y="300"/>
                  </a:lnTo>
                  <a:lnTo>
                    <a:pt x="250" y="300"/>
                  </a:lnTo>
                  <a:lnTo>
                    <a:pt x="250" y="300"/>
                  </a:lnTo>
                  <a:lnTo>
                    <a:pt x="250" y="299"/>
                  </a:lnTo>
                  <a:lnTo>
                    <a:pt x="247" y="295"/>
                  </a:lnTo>
                  <a:lnTo>
                    <a:pt x="249" y="300"/>
                  </a:lnTo>
                  <a:lnTo>
                    <a:pt x="249" y="300"/>
                  </a:lnTo>
                  <a:lnTo>
                    <a:pt x="245" y="297"/>
                  </a:lnTo>
                  <a:lnTo>
                    <a:pt x="247" y="302"/>
                  </a:lnTo>
                  <a:lnTo>
                    <a:pt x="244" y="299"/>
                  </a:lnTo>
                  <a:lnTo>
                    <a:pt x="247" y="302"/>
                  </a:lnTo>
                  <a:lnTo>
                    <a:pt x="247" y="302"/>
                  </a:lnTo>
                  <a:lnTo>
                    <a:pt x="242" y="300"/>
                  </a:lnTo>
                  <a:lnTo>
                    <a:pt x="245" y="304"/>
                  </a:lnTo>
                  <a:lnTo>
                    <a:pt x="245" y="304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5" y="304"/>
                  </a:lnTo>
                  <a:lnTo>
                    <a:pt x="244" y="305"/>
                  </a:lnTo>
                  <a:lnTo>
                    <a:pt x="245" y="305"/>
                  </a:lnTo>
                  <a:lnTo>
                    <a:pt x="244" y="305"/>
                  </a:lnTo>
                  <a:lnTo>
                    <a:pt x="240" y="305"/>
                  </a:lnTo>
                  <a:lnTo>
                    <a:pt x="245" y="305"/>
                  </a:lnTo>
                  <a:lnTo>
                    <a:pt x="240" y="305"/>
                  </a:lnTo>
                  <a:lnTo>
                    <a:pt x="245" y="307"/>
                  </a:lnTo>
                  <a:lnTo>
                    <a:pt x="240" y="307"/>
                  </a:lnTo>
                  <a:lnTo>
                    <a:pt x="245" y="307"/>
                  </a:lnTo>
                  <a:lnTo>
                    <a:pt x="245" y="309"/>
                  </a:lnTo>
                  <a:lnTo>
                    <a:pt x="242" y="310"/>
                  </a:lnTo>
                  <a:lnTo>
                    <a:pt x="245" y="309"/>
                  </a:lnTo>
                  <a:lnTo>
                    <a:pt x="242" y="312"/>
                  </a:lnTo>
                  <a:lnTo>
                    <a:pt x="247" y="310"/>
                  </a:lnTo>
                  <a:lnTo>
                    <a:pt x="247" y="310"/>
                  </a:lnTo>
                  <a:lnTo>
                    <a:pt x="244" y="314"/>
                  </a:lnTo>
                  <a:lnTo>
                    <a:pt x="247" y="312"/>
                  </a:lnTo>
                  <a:lnTo>
                    <a:pt x="245" y="315"/>
                  </a:lnTo>
                  <a:lnTo>
                    <a:pt x="249" y="312"/>
                  </a:lnTo>
                  <a:lnTo>
                    <a:pt x="249" y="312"/>
                  </a:lnTo>
                  <a:lnTo>
                    <a:pt x="247" y="317"/>
                  </a:lnTo>
                  <a:lnTo>
                    <a:pt x="249" y="314"/>
                  </a:lnTo>
                  <a:lnTo>
                    <a:pt x="250" y="314"/>
                  </a:lnTo>
                  <a:lnTo>
                    <a:pt x="249" y="317"/>
                  </a:lnTo>
                  <a:lnTo>
                    <a:pt x="250" y="314"/>
                  </a:lnTo>
                  <a:lnTo>
                    <a:pt x="250" y="317"/>
                  </a:lnTo>
                  <a:lnTo>
                    <a:pt x="252" y="314"/>
                  </a:lnTo>
                  <a:lnTo>
                    <a:pt x="252" y="318"/>
                  </a:lnTo>
                  <a:lnTo>
                    <a:pt x="252" y="314"/>
                  </a:lnTo>
                  <a:moveTo>
                    <a:pt x="69" y="251"/>
                  </a:moveTo>
                  <a:lnTo>
                    <a:pt x="61" y="248"/>
                  </a:lnTo>
                  <a:lnTo>
                    <a:pt x="56" y="246"/>
                  </a:lnTo>
                  <a:lnTo>
                    <a:pt x="55" y="245"/>
                  </a:lnTo>
                  <a:lnTo>
                    <a:pt x="58" y="241"/>
                  </a:lnTo>
                  <a:lnTo>
                    <a:pt x="55" y="243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5" y="187"/>
                  </a:lnTo>
                  <a:lnTo>
                    <a:pt x="55" y="185"/>
                  </a:lnTo>
                  <a:lnTo>
                    <a:pt x="58" y="187"/>
                  </a:lnTo>
                  <a:lnTo>
                    <a:pt x="55" y="184"/>
                  </a:lnTo>
                  <a:lnTo>
                    <a:pt x="58" y="180"/>
                  </a:lnTo>
                  <a:lnTo>
                    <a:pt x="61" y="184"/>
                  </a:lnTo>
                  <a:lnTo>
                    <a:pt x="60" y="180"/>
                  </a:lnTo>
                  <a:lnTo>
                    <a:pt x="61" y="179"/>
                  </a:lnTo>
                  <a:lnTo>
                    <a:pt x="63" y="182"/>
                  </a:lnTo>
                  <a:lnTo>
                    <a:pt x="61" y="179"/>
                  </a:lnTo>
                  <a:lnTo>
                    <a:pt x="63" y="179"/>
                  </a:lnTo>
                  <a:lnTo>
                    <a:pt x="69" y="177"/>
                  </a:lnTo>
                  <a:lnTo>
                    <a:pt x="285" y="177"/>
                  </a:lnTo>
                  <a:lnTo>
                    <a:pt x="288" y="179"/>
                  </a:lnTo>
                  <a:lnTo>
                    <a:pt x="286" y="182"/>
                  </a:lnTo>
                  <a:lnTo>
                    <a:pt x="290" y="179"/>
                  </a:lnTo>
                  <a:lnTo>
                    <a:pt x="291" y="180"/>
                  </a:lnTo>
                  <a:lnTo>
                    <a:pt x="288" y="184"/>
                  </a:lnTo>
                  <a:lnTo>
                    <a:pt x="291" y="180"/>
                  </a:lnTo>
                  <a:lnTo>
                    <a:pt x="296" y="189"/>
                  </a:lnTo>
                  <a:lnTo>
                    <a:pt x="298" y="194"/>
                  </a:lnTo>
                  <a:lnTo>
                    <a:pt x="296" y="241"/>
                  </a:lnTo>
                  <a:lnTo>
                    <a:pt x="293" y="245"/>
                  </a:lnTo>
                  <a:lnTo>
                    <a:pt x="286" y="249"/>
                  </a:lnTo>
                  <a:lnTo>
                    <a:pt x="280" y="251"/>
                  </a:lnTo>
                  <a:lnTo>
                    <a:pt x="69" y="251"/>
                  </a:lnTo>
                  <a:moveTo>
                    <a:pt x="66" y="241"/>
                  </a:moveTo>
                  <a:lnTo>
                    <a:pt x="68" y="241"/>
                  </a:lnTo>
                  <a:lnTo>
                    <a:pt x="68" y="246"/>
                  </a:lnTo>
                  <a:lnTo>
                    <a:pt x="68" y="243"/>
                  </a:lnTo>
                  <a:lnTo>
                    <a:pt x="69" y="243"/>
                  </a:lnTo>
                  <a:lnTo>
                    <a:pt x="281" y="243"/>
                  </a:lnTo>
                  <a:lnTo>
                    <a:pt x="283" y="246"/>
                  </a:lnTo>
                  <a:lnTo>
                    <a:pt x="283" y="241"/>
                  </a:lnTo>
                  <a:lnTo>
                    <a:pt x="285" y="246"/>
                  </a:lnTo>
                  <a:lnTo>
                    <a:pt x="283" y="241"/>
                  </a:lnTo>
                  <a:lnTo>
                    <a:pt x="285" y="246"/>
                  </a:lnTo>
                  <a:lnTo>
                    <a:pt x="285" y="241"/>
                  </a:lnTo>
                  <a:lnTo>
                    <a:pt x="286" y="245"/>
                  </a:lnTo>
                  <a:lnTo>
                    <a:pt x="285" y="241"/>
                  </a:lnTo>
                  <a:lnTo>
                    <a:pt x="288" y="245"/>
                  </a:lnTo>
                  <a:lnTo>
                    <a:pt x="286" y="240"/>
                  </a:lnTo>
                  <a:lnTo>
                    <a:pt x="288" y="243"/>
                  </a:lnTo>
                  <a:lnTo>
                    <a:pt x="286" y="240"/>
                  </a:lnTo>
                  <a:lnTo>
                    <a:pt x="290" y="241"/>
                  </a:lnTo>
                  <a:lnTo>
                    <a:pt x="286" y="240"/>
                  </a:lnTo>
                  <a:lnTo>
                    <a:pt x="291" y="241"/>
                  </a:lnTo>
                  <a:lnTo>
                    <a:pt x="288" y="238"/>
                  </a:lnTo>
                  <a:lnTo>
                    <a:pt x="291" y="240"/>
                  </a:lnTo>
                  <a:lnTo>
                    <a:pt x="288" y="238"/>
                  </a:lnTo>
                  <a:lnTo>
                    <a:pt x="291" y="238"/>
                  </a:lnTo>
                  <a:lnTo>
                    <a:pt x="288" y="236"/>
                  </a:lnTo>
                  <a:lnTo>
                    <a:pt x="293" y="238"/>
                  </a:lnTo>
                  <a:lnTo>
                    <a:pt x="288" y="236"/>
                  </a:lnTo>
                  <a:lnTo>
                    <a:pt x="293" y="236"/>
                  </a:lnTo>
                  <a:lnTo>
                    <a:pt x="288" y="235"/>
                  </a:lnTo>
                  <a:lnTo>
                    <a:pt x="290" y="233"/>
                  </a:lnTo>
                  <a:lnTo>
                    <a:pt x="288" y="194"/>
                  </a:lnTo>
                  <a:lnTo>
                    <a:pt x="293" y="192"/>
                  </a:lnTo>
                  <a:lnTo>
                    <a:pt x="288" y="192"/>
                  </a:lnTo>
                  <a:lnTo>
                    <a:pt x="293" y="190"/>
                  </a:lnTo>
                  <a:lnTo>
                    <a:pt x="288" y="192"/>
                  </a:lnTo>
                  <a:lnTo>
                    <a:pt x="291" y="189"/>
                  </a:lnTo>
                  <a:lnTo>
                    <a:pt x="288" y="190"/>
                  </a:lnTo>
                  <a:lnTo>
                    <a:pt x="291" y="189"/>
                  </a:lnTo>
                  <a:lnTo>
                    <a:pt x="288" y="190"/>
                  </a:lnTo>
                  <a:lnTo>
                    <a:pt x="291" y="187"/>
                  </a:lnTo>
                  <a:lnTo>
                    <a:pt x="286" y="189"/>
                  </a:lnTo>
                  <a:lnTo>
                    <a:pt x="286" y="189"/>
                  </a:lnTo>
                  <a:lnTo>
                    <a:pt x="290" y="185"/>
                  </a:lnTo>
                  <a:lnTo>
                    <a:pt x="286" y="187"/>
                  </a:lnTo>
                  <a:lnTo>
                    <a:pt x="285" y="187"/>
                  </a:lnTo>
                  <a:lnTo>
                    <a:pt x="286" y="185"/>
                  </a:lnTo>
                  <a:lnTo>
                    <a:pt x="288" y="184"/>
                  </a:lnTo>
                  <a:lnTo>
                    <a:pt x="285" y="187"/>
                  </a:lnTo>
                  <a:lnTo>
                    <a:pt x="283" y="187"/>
                  </a:lnTo>
                  <a:lnTo>
                    <a:pt x="285" y="182"/>
                  </a:lnTo>
                  <a:lnTo>
                    <a:pt x="283" y="185"/>
                  </a:lnTo>
                  <a:lnTo>
                    <a:pt x="283" y="182"/>
                  </a:lnTo>
                  <a:lnTo>
                    <a:pt x="281" y="185"/>
                  </a:lnTo>
                  <a:lnTo>
                    <a:pt x="280" y="185"/>
                  </a:lnTo>
                  <a:lnTo>
                    <a:pt x="68" y="185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6" y="182"/>
                  </a:lnTo>
                  <a:lnTo>
                    <a:pt x="66" y="185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3" y="184"/>
                  </a:lnTo>
                  <a:lnTo>
                    <a:pt x="64" y="187"/>
                  </a:lnTo>
                  <a:lnTo>
                    <a:pt x="64" y="187"/>
                  </a:lnTo>
                  <a:lnTo>
                    <a:pt x="60" y="185"/>
                  </a:lnTo>
                  <a:lnTo>
                    <a:pt x="63" y="189"/>
                  </a:lnTo>
                  <a:lnTo>
                    <a:pt x="60" y="185"/>
                  </a:lnTo>
                  <a:lnTo>
                    <a:pt x="63" y="189"/>
                  </a:lnTo>
                  <a:lnTo>
                    <a:pt x="61" y="190"/>
                  </a:lnTo>
                  <a:lnTo>
                    <a:pt x="58" y="189"/>
                  </a:lnTo>
                  <a:lnTo>
                    <a:pt x="61" y="190"/>
                  </a:lnTo>
                  <a:lnTo>
                    <a:pt x="58" y="189"/>
                  </a:lnTo>
                  <a:lnTo>
                    <a:pt x="61" y="192"/>
                  </a:lnTo>
                  <a:lnTo>
                    <a:pt x="56" y="190"/>
                  </a:lnTo>
                  <a:lnTo>
                    <a:pt x="61" y="192"/>
                  </a:lnTo>
                  <a:lnTo>
                    <a:pt x="56" y="192"/>
                  </a:lnTo>
                  <a:lnTo>
                    <a:pt x="61" y="194"/>
                  </a:lnTo>
                  <a:lnTo>
                    <a:pt x="61" y="194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56" y="236"/>
                  </a:lnTo>
                  <a:lnTo>
                    <a:pt x="61" y="236"/>
                  </a:lnTo>
                  <a:lnTo>
                    <a:pt x="56" y="238"/>
                  </a:lnTo>
                  <a:lnTo>
                    <a:pt x="61" y="236"/>
                  </a:lnTo>
                  <a:lnTo>
                    <a:pt x="58" y="238"/>
                  </a:lnTo>
                  <a:lnTo>
                    <a:pt x="61" y="238"/>
                  </a:lnTo>
                  <a:lnTo>
                    <a:pt x="63" y="238"/>
                  </a:lnTo>
                  <a:lnTo>
                    <a:pt x="60" y="241"/>
                  </a:lnTo>
                  <a:lnTo>
                    <a:pt x="63" y="240"/>
                  </a:lnTo>
                  <a:lnTo>
                    <a:pt x="60" y="243"/>
                  </a:lnTo>
                  <a:lnTo>
                    <a:pt x="63" y="240"/>
                  </a:lnTo>
                  <a:lnTo>
                    <a:pt x="61" y="243"/>
                  </a:lnTo>
                  <a:lnTo>
                    <a:pt x="64" y="241"/>
                  </a:lnTo>
                  <a:lnTo>
                    <a:pt x="63" y="245"/>
                  </a:lnTo>
                  <a:lnTo>
                    <a:pt x="64" y="241"/>
                  </a:lnTo>
                  <a:lnTo>
                    <a:pt x="63" y="245"/>
                  </a:lnTo>
                  <a:lnTo>
                    <a:pt x="66" y="241"/>
                  </a:lnTo>
                  <a:lnTo>
                    <a:pt x="66" y="246"/>
                  </a:lnTo>
                  <a:lnTo>
                    <a:pt x="66" y="241"/>
                  </a:lnTo>
                  <a:moveTo>
                    <a:pt x="253" y="230"/>
                  </a:moveTo>
                  <a:lnTo>
                    <a:pt x="250" y="230"/>
                  </a:lnTo>
                  <a:lnTo>
                    <a:pt x="250" y="225"/>
                  </a:lnTo>
                  <a:lnTo>
                    <a:pt x="249" y="230"/>
                  </a:lnTo>
                  <a:lnTo>
                    <a:pt x="247" y="228"/>
                  </a:lnTo>
                  <a:lnTo>
                    <a:pt x="249" y="225"/>
                  </a:lnTo>
                  <a:lnTo>
                    <a:pt x="245" y="228"/>
                  </a:lnTo>
                  <a:lnTo>
                    <a:pt x="242" y="225"/>
                  </a:lnTo>
                  <a:lnTo>
                    <a:pt x="244" y="222"/>
                  </a:lnTo>
                  <a:lnTo>
                    <a:pt x="240" y="225"/>
                  </a:lnTo>
                  <a:lnTo>
                    <a:pt x="237" y="220"/>
                  </a:lnTo>
                  <a:lnTo>
                    <a:pt x="242" y="218"/>
                  </a:lnTo>
                  <a:lnTo>
                    <a:pt x="237" y="218"/>
                  </a:lnTo>
                  <a:lnTo>
                    <a:pt x="237" y="213"/>
                  </a:lnTo>
                  <a:lnTo>
                    <a:pt x="237" y="210"/>
                  </a:lnTo>
                  <a:lnTo>
                    <a:pt x="242" y="212"/>
                  </a:lnTo>
                  <a:lnTo>
                    <a:pt x="237" y="210"/>
                  </a:lnTo>
                  <a:lnTo>
                    <a:pt x="239" y="205"/>
                  </a:lnTo>
                  <a:lnTo>
                    <a:pt x="244" y="207"/>
                  </a:lnTo>
                  <a:lnTo>
                    <a:pt x="240" y="203"/>
                  </a:lnTo>
                  <a:lnTo>
                    <a:pt x="245" y="200"/>
                  </a:lnTo>
                  <a:lnTo>
                    <a:pt x="245" y="200"/>
                  </a:lnTo>
                  <a:lnTo>
                    <a:pt x="249" y="203"/>
                  </a:lnTo>
                  <a:lnTo>
                    <a:pt x="247" y="199"/>
                  </a:lnTo>
                  <a:lnTo>
                    <a:pt x="249" y="199"/>
                  </a:lnTo>
                  <a:lnTo>
                    <a:pt x="250" y="203"/>
                  </a:lnTo>
                  <a:lnTo>
                    <a:pt x="250" y="199"/>
                  </a:lnTo>
                  <a:lnTo>
                    <a:pt x="253" y="199"/>
                  </a:lnTo>
                  <a:lnTo>
                    <a:pt x="258" y="199"/>
                  </a:lnTo>
                  <a:lnTo>
                    <a:pt x="257" y="203"/>
                  </a:lnTo>
                  <a:lnTo>
                    <a:pt x="258" y="200"/>
                  </a:lnTo>
                  <a:lnTo>
                    <a:pt x="262" y="200"/>
                  </a:lnTo>
                  <a:lnTo>
                    <a:pt x="260" y="205"/>
                  </a:lnTo>
                  <a:lnTo>
                    <a:pt x="262" y="202"/>
                  </a:lnTo>
                  <a:lnTo>
                    <a:pt x="265" y="203"/>
                  </a:lnTo>
                  <a:lnTo>
                    <a:pt x="262" y="207"/>
                  </a:lnTo>
                  <a:lnTo>
                    <a:pt x="265" y="205"/>
                  </a:lnTo>
                  <a:lnTo>
                    <a:pt x="267" y="208"/>
                  </a:lnTo>
                  <a:lnTo>
                    <a:pt x="263" y="210"/>
                  </a:lnTo>
                  <a:lnTo>
                    <a:pt x="268" y="208"/>
                  </a:lnTo>
                  <a:lnTo>
                    <a:pt x="268" y="213"/>
                  </a:lnTo>
                  <a:lnTo>
                    <a:pt x="268" y="217"/>
                  </a:lnTo>
                  <a:lnTo>
                    <a:pt x="263" y="217"/>
                  </a:lnTo>
                  <a:lnTo>
                    <a:pt x="268" y="218"/>
                  </a:lnTo>
                  <a:lnTo>
                    <a:pt x="267" y="222"/>
                  </a:lnTo>
                  <a:lnTo>
                    <a:pt x="263" y="225"/>
                  </a:lnTo>
                  <a:lnTo>
                    <a:pt x="260" y="223"/>
                  </a:lnTo>
                  <a:lnTo>
                    <a:pt x="263" y="226"/>
                  </a:lnTo>
                  <a:lnTo>
                    <a:pt x="258" y="228"/>
                  </a:lnTo>
                  <a:lnTo>
                    <a:pt x="257" y="225"/>
                  </a:lnTo>
                  <a:lnTo>
                    <a:pt x="257" y="230"/>
                  </a:lnTo>
                  <a:lnTo>
                    <a:pt x="253" y="230"/>
                  </a:lnTo>
                  <a:moveTo>
                    <a:pt x="252" y="222"/>
                  </a:moveTo>
                  <a:lnTo>
                    <a:pt x="253" y="225"/>
                  </a:lnTo>
                  <a:lnTo>
                    <a:pt x="253" y="222"/>
                  </a:lnTo>
                  <a:lnTo>
                    <a:pt x="253" y="222"/>
                  </a:lnTo>
                  <a:lnTo>
                    <a:pt x="255" y="225"/>
                  </a:lnTo>
                  <a:lnTo>
                    <a:pt x="255" y="222"/>
                  </a:lnTo>
                  <a:lnTo>
                    <a:pt x="255" y="220"/>
                  </a:lnTo>
                  <a:lnTo>
                    <a:pt x="258" y="225"/>
                  </a:lnTo>
                  <a:lnTo>
                    <a:pt x="257" y="220"/>
                  </a:lnTo>
                  <a:lnTo>
                    <a:pt x="258" y="223"/>
                  </a:lnTo>
                  <a:lnTo>
                    <a:pt x="257" y="220"/>
                  </a:lnTo>
                  <a:lnTo>
                    <a:pt x="258" y="218"/>
                  </a:lnTo>
                  <a:lnTo>
                    <a:pt x="262" y="220"/>
                  </a:lnTo>
                  <a:lnTo>
                    <a:pt x="258" y="217"/>
                  </a:lnTo>
                  <a:lnTo>
                    <a:pt x="260" y="217"/>
                  </a:lnTo>
                  <a:lnTo>
                    <a:pt x="260" y="215"/>
                  </a:lnTo>
                  <a:lnTo>
                    <a:pt x="263" y="215"/>
                  </a:lnTo>
                  <a:lnTo>
                    <a:pt x="260" y="213"/>
                  </a:lnTo>
                  <a:lnTo>
                    <a:pt x="263" y="213"/>
                  </a:lnTo>
                  <a:lnTo>
                    <a:pt x="260" y="213"/>
                  </a:lnTo>
                  <a:lnTo>
                    <a:pt x="263" y="212"/>
                  </a:lnTo>
                  <a:lnTo>
                    <a:pt x="260" y="212"/>
                  </a:lnTo>
                  <a:lnTo>
                    <a:pt x="258" y="210"/>
                  </a:lnTo>
                  <a:lnTo>
                    <a:pt x="263" y="208"/>
                  </a:lnTo>
                  <a:lnTo>
                    <a:pt x="258" y="210"/>
                  </a:lnTo>
                  <a:lnTo>
                    <a:pt x="258" y="210"/>
                  </a:lnTo>
                  <a:lnTo>
                    <a:pt x="262" y="207"/>
                  </a:lnTo>
                  <a:lnTo>
                    <a:pt x="258" y="208"/>
                  </a:lnTo>
                  <a:lnTo>
                    <a:pt x="257" y="208"/>
                  </a:lnTo>
                  <a:lnTo>
                    <a:pt x="258" y="205"/>
                  </a:lnTo>
                  <a:lnTo>
                    <a:pt x="257" y="208"/>
                  </a:lnTo>
                  <a:lnTo>
                    <a:pt x="258" y="203"/>
                  </a:lnTo>
                  <a:lnTo>
                    <a:pt x="255" y="207"/>
                  </a:lnTo>
                  <a:lnTo>
                    <a:pt x="255" y="207"/>
                  </a:lnTo>
                  <a:lnTo>
                    <a:pt x="255" y="203"/>
                  </a:lnTo>
                  <a:lnTo>
                    <a:pt x="253" y="207"/>
                  </a:lnTo>
                  <a:lnTo>
                    <a:pt x="253" y="202"/>
                  </a:lnTo>
                  <a:lnTo>
                    <a:pt x="252" y="207"/>
                  </a:lnTo>
                  <a:lnTo>
                    <a:pt x="252" y="202"/>
                  </a:lnTo>
                  <a:lnTo>
                    <a:pt x="252" y="207"/>
                  </a:lnTo>
                  <a:lnTo>
                    <a:pt x="249" y="207"/>
                  </a:lnTo>
                  <a:lnTo>
                    <a:pt x="247" y="203"/>
                  </a:lnTo>
                  <a:lnTo>
                    <a:pt x="249" y="208"/>
                  </a:lnTo>
                  <a:lnTo>
                    <a:pt x="249" y="208"/>
                  </a:lnTo>
                  <a:lnTo>
                    <a:pt x="245" y="205"/>
                  </a:lnTo>
                  <a:lnTo>
                    <a:pt x="247" y="208"/>
                  </a:lnTo>
                  <a:lnTo>
                    <a:pt x="244" y="207"/>
                  </a:lnTo>
                  <a:lnTo>
                    <a:pt x="247" y="210"/>
                  </a:lnTo>
                  <a:lnTo>
                    <a:pt x="247" y="210"/>
                  </a:lnTo>
                  <a:lnTo>
                    <a:pt x="242" y="208"/>
                  </a:lnTo>
                  <a:lnTo>
                    <a:pt x="245" y="212"/>
                  </a:lnTo>
                  <a:lnTo>
                    <a:pt x="245" y="212"/>
                  </a:lnTo>
                  <a:lnTo>
                    <a:pt x="242" y="212"/>
                  </a:lnTo>
                  <a:lnTo>
                    <a:pt x="244" y="212"/>
                  </a:lnTo>
                  <a:lnTo>
                    <a:pt x="245" y="212"/>
                  </a:lnTo>
                  <a:lnTo>
                    <a:pt x="244" y="212"/>
                  </a:lnTo>
                  <a:lnTo>
                    <a:pt x="245" y="213"/>
                  </a:lnTo>
                  <a:lnTo>
                    <a:pt x="244" y="212"/>
                  </a:lnTo>
                  <a:lnTo>
                    <a:pt x="240" y="212"/>
                  </a:lnTo>
                  <a:lnTo>
                    <a:pt x="245" y="213"/>
                  </a:lnTo>
                  <a:lnTo>
                    <a:pt x="240" y="213"/>
                  </a:lnTo>
                  <a:lnTo>
                    <a:pt x="245" y="215"/>
                  </a:lnTo>
                  <a:lnTo>
                    <a:pt x="240" y="215"/>
                  </a:lnTo>
                  <a:lnTo>
                    <a:pt x="245" y="215"/>
                  </a:lnTo>
                  <a:lnTo>
                    <a:pt x="245" y="217"/>
                  </a:lnTo>
                  <a:lnTo>
                    <a:pt x="242" y="218"/>
                  </a:lnTo>
                  <a:lnTo>
                    <a:pt x="245" y="217"/>
                  </a:lnTo>
                  <a:lnTo>
                    <a:pt x="242" y="220"/>
                  </a:lnTo>
                  <a:lnTo>
                    <a:pt x="247" y="218"/>
                  </a:lnTo>
                  <a:lnTo>
                    <a:pt x="244" y="220"/>
                  </a:lnTo>
                  <a:lnTo>
                    <a:pt x="247" y="218"/>
                  </a:lnTo>
                  <a:lnTo>
                    <a:pt x="249" y="220"/>
                  </a:lnTo>
                  <a:lnTo>
                    <a:pt x="247" y="223"/>
                  </a:lnTo>
                  <a:lnTo>
                    <a:pt x="249" y="220"/>
                  </a:lnTo>
                  <a:lnTo>
                    <a:pt x="247" y="225"/>
                  </a:lnTo>
                  <a:lnTo>
                    <a:pt x="250" y="220"/>
                  </a:lnTo>
                  <a:lnTo>
                    <a:pt x="250" y="220"/>
                  </a:lnTo>
                  <a:lnTo>
                    <a:pt x="250" y="220"/>
                  </a:lnTo>
                  <a:lnTo>
                    <a:pt x="252" y="222"/>
                  </a:lnTo>
                  <a:lnTo>
                    <a:pt x="252" y="225"/>
                  </a:lnTo>
                  <a:lnTo>
                    <a:pt x="252" y="222"/>
                  </a:lnTo>
                  <a:moveTo>
                    <a:pt x="69" y="159"/>
                  </a:moveTo>
                  <a:lnTo>
                    <a:pt x="64" y="157"/>
                  </a:lnTo>
                  <a:lnTo>
                    <a:pt x="61" y="157"/>
                  </a:lnTo>
                  <a:lnTo>
                    <a:pt x="63" y="153"/>
                  </a:lnTo>
                  <a:lnTo>
                    <a:pt x="61" y="156"/>
                  </a:lnTo>
                  <a:lnTo>
                    <a:pt x="63" y="153"/>
                  </a:lnTo>
                  <a:lnTo>
                    <a:pt x="60" y="156"/>
                  </a:lnTo>
                  <a:lnTo>
                    <a:pt x="58" y="154"/>
                  </a:lnTo>
                  <a:lnTo>
                    <a:pt x="60" y="151"/>
                  </a:lnTo>
                  <a:lnTo>
                    <a:pt x="56" y="153"/>
                  </a:lnTo>
                  <a:lnTo>
                    <a:pt x="55" y="149"/>
                  </a:lnTo>
                  <a:lnTo>
                    <a:pt x="53" y="141"/>
                  </a:lnTo>
                  <a:lnTo>
                    <a:pt x="53" y="95"/>
                  </a:lnTo>
                  <a:lnTo>
                    <a:pt x="56" y="90"/>
                  </a:lnTo>
                  <a:lnTo>
                    <a:pt x="60" y="93"/>
                  </a:lnTo>
                  <a:lnTo>
                    <a:pt x="56" y="90"/>
                  </a:lnTo>
                  <a:lnTo>
                    <a:pt x="61" y="87"/>
                  </a:lnTo>
                  <a:lnTo>
                    <a:pt x="64" y="85"/>
                  </a:lnTo>
                  <a:lnTo>
                    <a:pt x="66" y="90"/>
                  </a:lnTo>
                  <a:lnTo>
                    <a:pt x="66" y="85"/>
                  </a:lnTo>
                  <a:lnTo>
                    <a:pt x="69" y="85"/>
                  </a:lnTo>
                  <a:lnTo>
                    <a:pt x="285" y="85"/>
                  </a:lnTo>
                  <a:lnTo>
                    <a:pt x="291" y="88"/>
                  </a:lnTo>
                  <a:lnTo>
                    <a:pt x="288" y="92"/>
                  </a:lnTo>
                  <a:lnTo>
                    <a:pt x="291" y="88"/>
                  </a:lnTo>
                  <a:lnTo>
                    <a:pt x="296" y="97"/>
                  </a:lnTo>
                  <a:lnTo>
                    <a:pt x="298" y="102"/>
                  </a:lnTo>
                  <a:lnTo>
                    <a:pt x="298" y="141"/>
                  </a:lnTo>
                  <a:lnTo>
                    <a:pt x="296" y="148"/>
                  </a:lnTo>
                  <a:lnTo>
                    <a:pt x="296" y="148"/>
                  </a:lnTo>
                  <a:lnTo>
                    <a:pt x="291" y="148"/>
                  </a:lnTo>
                  <a:lnTo>
                    <a:pt x="296" y="149"/>
                  </a:lnTo>
                  <a:lnTo>
                    <a:pt x="295" y="149"/>
                  </a:lnTo>
                  <a:lnTo>
                    <a:pt x="291" y="148"/>
                  </a:lnTo>
                  <a:lnTo>
                    <a:pt x="295" y="151"/>
                  </a:lnTo>
                  <a:lnTo>
                    <a:pt x="291" y="154"/>
                  </a:lnTo>
                  <a:lnTo>
                    <a:pt x="286" y="157"/>
                  </a:lnTo>
                  <a:lnTo>
                    <a:pt x="285" y="154"/>
                  </a:lnTo>
                  <a:lnTo>
                    <a:pt x="286" y="157"/>
                  </a:lnTo>
                  <a:lnTo>
                    <a:pt x="285" y="157"/>
                  </a:lnTo>
                  <a:lnTo>
                    <a:pt x="283" y="154"/>
                  </a:lnTo>
                  <a:lnTo>
                    <a:pt x="283" y="157"/>
                  </a:lnTo>
                  <a:lnTo>
                    <a:pt x="280" y="159"/>
                  </a:lnTo>
                  <a:lnTo>
                    <a:pt x="69" y="159"/>
                  </a:lnTo>
                  <a:moveTo>
                    <a:pt x="66" y="149"/>
                  </a:moveTo>
                  <a:lnTo>
                    <a:pt x="68" y="149"/>
                  </a:lnTo>
                  <a:lnTo>
                    <a:pt x="68" y="154"/>
                  </a:lnTo>
                  <a:lnTo>
                    <a:pt x="68" y="149"/>
                  </a:lnTo>
                  <a:lnTo>
                    <a:pt x="69" y="149"/>
                  </a:lnTo>
                  <a:lnTo>
                    <a:pt x="281" y="149"/>
                  </a:lnTo>
                  <a:lnTo>
                    <a:pt x="283" y="154"/>
                  </a:lnTo>
                  <a:lnTo>
                    <a:pt x="283" y="149"/>
                  </a:lnTo>
                  <a:lnTo>
                    <a:pt x="283" y="149"/>
                  </a:lnTo>
                  <a:lnTo>
                    <a:pt x="285" y="153"/>
                  </a:lnTo>
                  <a:lnTo>
                    <a:pt x="285" y="149"/>
                  </a:lnTo>
                  <a:lnTo>
                    <a:pt x="286" y="148"/>
                  </a:lnTo>
                  <a:lnTo>
                    <a:pt x="290" y="149"/>
                  </a:lnTo>
                  <a:lnTo>
                    <a:pt x="288" y="146"/>
                  </a:lnTo>
                  <a:lnTo>
                    <a:pt x="291" y="149"/>
                  </a:lnTo>
                  <a:lnTo>
                    <a:pt x="288" y="146"/>
                  </a:lnTo>
                  <a:lnTo>
                    <a:pt x="291" y="148"/>
                  </a:lnTo>
                  <a:lnTo>
                    <a:pt x="288" y="146"/>
                  </a:lnTo>
                  <a:lnTo>
                    <a:pt x="291" y="146"/>
                  </a:lnTo>
                  <a:lnTo>
                    <a:pt x="288" y="144"/>
                  </a:lnTo>
                  <a:lnTo>
                    <a:pt x="293" y="146"/>
                  </a:lnTo>
                  <a:lnTo>
                    <a:pt x="288" y="143"/>
                  </a:lnTo>
                  <a:lnTo>
                    <a:pt x="293" y="144"/>
                  </a:lnTo>
                  <a:lnTo>
                    <a:pt x="288" y="143"/>
                  </a:lnTo>
                  <a:lnTo>
                    <a:pt x="290" y="141"/>
                  </a:lnTo>
                  <a:lnTo>
                    <a:pt x="288" y="100"/>
                  </a:lnTo>
                  <a:lnTo>
                    <a:pt x="293" y="98"/>
                  </a:lnTo>
                  <a:lnTo>
                    <a:pt x="288" y="100"/>
                  </a:lnTo>
                  <a:lnTo>
                    <a:pt x="288" y="98"/>
                  </a:lnTo>
                  <a:lnTo>
                    <a:pt x="291" y="97"/>
                  </a:lnTo>
                  <a:lnTo>
                    <a:pt x="288" y="98"/>
                  </a:lnTo>
                  <a:lnTo>
                    <a:pt x="291" y="95"/>
                  </a:lnTo>
                  <a:lnTo>
                    <a:pt x="288" y="98"/>
                  </a:lnTo>
                  <a:lnTo>
                    <a:pt x="291" y="93"/>
                  </a:lnTo>
                  <a:lnTo>
                    <a:pt x="286" y="97"/>
                  </a:lnTo>
                  <a:lnTo>
                    <a:pt x="286" y="97"/>
                  </a:lnTo>
                  <a:lnTo>
                    <a:pt x="290" y="92"/>
                  </a:lnTo>
                  <a:lnTo>
                    <a:pt x="286" y="95"/>
                  </a:lnTo>
                  <a:lnTo>
                    <a:pt x="288" y="92"/>
                  </a:lnTo>
                  <a:lnTo>
                    <a:pt x="285" y="95"/>
                  </a:lnTo>
                  <a:lnTo>
                    <a:pt x="286" y="90"/>
                  </a:lnTo>
                  <a:lnTo>
                    <a:pt x="285" y="95"/>
                  </a:lnTo>
                  <a:lnTo>
                    <a:pt x="286" y="90"/>
                  </a:lnTo>
                  <a:lnTo>
                    <a:pt x="283" y="93"/>
                  </a:lnTo>
                  <a:lnTo>
                    <a:pt x="285" y="90"/>
                  </a:lnTo>
                  <a:lnTo>
                    <a:pt x="283" y="93"/>
                  </a:lnTo>
                  <a:lnTo>
                    <a:pt x="281" y="93"/>
                  </a:lnTo>
                  <a:lnTo>
                    <a:pt x="281" y="88"/>
                  </a:lnTo>
                  <a:lnTo>
                    <a:pt x="281" y="93"/>
                  </a:lnTo>
                  <a:lnTo>
                    <a:pt x="280" y="93"/>
                  </a:lnTo>
                  <a:lnTo>
                    <a:pt x="68" y="93"/>
                  </a:lnTo>
                  <a:lnTo>
                    <a:pt x="66" y="90"/>
                  </a:lnTo>
                  <a:lnTo>
                    <a:pt x="68" y="93"/>
                  </a:lnTo>
                  <a:lnTo>
                    <a:pt x="66" y="90"/>
                  </a:lnTo>
                  <a:lnTo>
                    <a:pt x="66" y="93"/>
                  </a:lnTo>
                  <a:lnTo>
                    <a:pt x="64" y="90"/>
                  </a:lnTo>
                  <a:lnTo>
                    <a:pt x="66" y="93"/>
                  </a:lnTo>
                  <a:lnTo>
                    <a:pt x="64" y="95"/>
                  </a:lnTo>
                  <a:lnTo>
                    <a:pt x="63" y="92"/>
                  </a:lnTo>
                  <a:lnTo>
                    <a:pt x="64" y="95"/>
                  </a:lnTo>
                  <a:lnTo>
                    <a:pt x="61" y="92"/>
                  </a:lnTo>
                  <a:lnTo>
                    <a:pt x="63" y="95"/>
                  </a:lnTo>
                  <a:lnTo>
                    <a:pt x="63" y="97"/>
                  </a:lnTo>
                  <a:lnTo>
                    <a:pt x="58" y="95"/>
                  </a:lnTo>
                  <a:lnTo>
                    <a:pt x="63" y="97"/>
                  </a:lnTo>
                  <a:lnTo>
                    <a:pt x="58" y="95"/>
                  </a:lnTo>
                  <a:lnTo>
                    <a:pt x="61" y="98"/>
                  </a:lnTo>
                  <a:lnTo>
                    <a:pt x="58" y="97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6" y="100"/>
                  </a:lnTo>
                  <a:lnTo>
                    <a:pt x="61" y="100"/>
                  </a:lnTo>
                  <a:lnTo>
                    <a:pt x="61" y="102"/>
                  </a:lnTo>
                  <a:lnTo>
                    <a:pt x="61" y="143"/>
                  </a:lnTo>
                  <a:lnTo>
                    <a:pt x="56" y="144"/>
                  </a:lnTo>
                  <a:lnTo>
                    <a:pt x="61" y="144"/>
                  </a:lnTo>
                  <a:lnTo>
                    <a:pt x="63" y="146"/>
                  </a:lnTo>
                  <a:lnTo>
                    <a:pt x="60" y="149"/>
                  </a:lnTo>
                  <a:lnTo>
                    <a:pt x="63" y="148"/>
                  </a:lnTo>
                  <a:lnTo>
                    <a:pt x="60" y="151"/>
                  </a:lnTo>
                  <a:lnTo>
                    <a:pt x="63" y="148"/>
                  </a:lnTo>
                  <a:lnTo>
                    <a:pt x="61" y="151"/>
                  </a:lnTo>
                  <a:lnTo>
                    <a:pt x="64" y="148"/>
                  </a:lnTo>
                  <a:lnTo>
                    <a:pt x="61" y="151"/>
                  </a:lnTo>
                  <a:lnTo>
                    <a:pt x="64" y="149"/>
                  </a:lnTo>
                  <a:lnTo>
                    <a:pt x="63" y="153"/>
                  </a:lnTo>
                  <a:lnTo>
                    <a:pt x="64" y="149"/>
                  </a:lnTo>
                  <a:lnTo>
                    <a:pt x="64" y="153"/>
                  </a:lnTo>
                  <a:lnTo>
                    <a:pt x="66" y="149"/>
                  </a:lnTo>
                  <a:moveTo>
                    <a:pt x="253" y="138"/>
                  </a:moveTo>
                  <a:lnTo>
                    <a:pt x="247" y="138"/>
                  </a:lnTo>
                  <a:lnTo>
                    <a:pt x="249" y="133"/>
                  </a:lnTo>
                  <a:lnTo>
                    <a:pt x="245" y="136"/>
                  </a:lnTo>
                  <a:lnTo>
                    <a:pt x="244" y="136"/>
                  </a:lnTo>
                  <a:lnTo>
                    <a:pt x="245" y="131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1"/>
                  </a:lnTo>
                  <a:lnTo>
                    <a:pt x="240" y="133"/>
                  </a:lnTo>
                  <a:lnTo>
                    <a:pt x="237" y="126"/>
                  </a:lnTo>
                  <a:lnTo>
                    <a:pt x="242" y="125"/>
                  </a:lnTo>
                  <a:lnTo>
                    <a:pt x="237" y="126"/>
                  </a:lnTo>
                  <a:lnTo>
                    <a:pt x="237" y="123"/>
                  </a:lnTo>
                  <a:lnTo>
                    <a:pt x="240" y="121"/>
                  </a:lnTo>
                  <a:lnTo>
                    <a:pt x="237" y="121"/>
                  </a:lnTo>
                  <a:lnTo>
                    <a:pt x="237" y="118"/>
                  </a:lnTo>
                  <a:lnTo>
                    <a:pt x="242" y="120"/>
                  </a:lnTo>
                  <a:lnTo>
                    <a:pt x="237" y="118"/>
                  </a:lnTo>
                  <a:lnTo>
                    <a:pt x="240" y="113"/>
                  </a:lnTo>
                  <a:lnTo>
                    <a:pt x="245" y="108"/>
                  </a:lnTo>
                  <a:lnTo>
                    <a:pt x="250" y="107"/>
                  </a:lnTo>
                  <a:lnTo>
                    <a:pt x="252" y="111"/>
                  </a:lnTo>
                  <a:lnTo>
                    <a:pt x="252" y="107"/>
                  </a:lnTo>
                  <a:lnTo>
                    <a:pt x="257" y="107"/>
                  </a:lnTo>
                  <a:lnTo>
                    <a:pt x="255" y="111"/>
                  </a:lnTo>
                  <a:lnTo>
                    <a:pt x="257" y="108"/>
                  </a:lnTo>
                  <a:lnTo>
                    <a:pt x="262" y="110"/>
                  </a:lnTo>
                  <a:lnTo>
                    <a:pt x="267" y="115"/>
                  </a:lnTo>
                  <a:lnTo>
                    <a:pt x="262" y="116"/>
                  </a:lnTo>
                  <a:lnTo>
                    <a:pt x="267" y="115"/>
                  </a:lnTo>
                  <a:lnTo>
                    <a:pt x="267" y="116"/>
                  </a:lnTo>
                  <a:lnTo>
                    <a:pt x="263" y="118"/>
                  </a:lnTo>
                  <a:lnTo>
                    <a:pt x="268" y="118"/>
                  </a:lnTo>
                  <a:lnTo>
                    <a:pt x="268" y="123"/>
                  </a:lnTo>
                  <a:lnTo>
                    <a:pt x="263" y="123"/>
                  </a:lnTo>
                  <a:lnTo>
                    <a:pt x="268" y="125"/>
                  </a:lnTo>
                  <a:lnTo>
                    <a:pt x="268" y="128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7" y="130"/>
                  </a:lnTo>
                  <a:lnTo>
                    <a:pt x="263" y="128"/>
                  </a:lnTo>
                  <a:lnTo>
                    <a:pt x="267" y="130"/>
                  </a:lnTo>
                  <a:lnTo>
                    <a:pt x="265" y="131"/>
                  </a:lnTo>
                  <a:lnTo>
                    <a:pt x="262" y="130"/>
                  </a:lnTo>
                  <a:lnTo>
                    <a:pt x="265" y="133"/>
                  </a:lnTo>
                  <a:lnTo>
                    <a:pt x="262" y="134"/>
                  </a:lnTo>
                  <a:lnTo>
                    <a:pt x="260" y="131"/>
                  </a:lnTo>
                  <a:lnTo>
                    <a:pt x="262" y="136"/>
                  </a:lnTo>
                  <a:lnTo>
                    <a:pt x="258" y="136"/>
                  </a:lnTo>
                  <a:lnTo>
                    <a:pt x="257" y="133"/>
                  </a:lnTo>
                  <a:lnTo>
                    <a:pt x="258" y="138"/>
                  </a:lnTo>
                  <a:lnTo>
                    <a:pt x="253" y="138"/>
                  </a:lnTo>
                  <a:moveTo>
                    <a:pt x="253" y="130"/>
                  </a:moveTo>
                  <a:lnTo>
                    <a:pt x="253" y="134"/>
                  </a:lnTo>
                  <a:lnTo>
                    <a:pt x="253" y="130"/>
                  </a:lnTo>
                  <a:lnTo>
                    <a:pt x="255" y="134"/>
                  </a:lnTo>
                  <a:lnTo>
                    <a:pt x="255" y="131"/>
                  </a:lnTo>
                  <a:lnTo>
                    <a:pt x="255" y="130"/>
                  </a:lnTo>
                  <a:lnTo>
                    <a:pt x="257" y="130"/>
                  </a:lnTo>
                  <a:lnTo>
                    <a:pt x="258" y="133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60" y="131"/>
                  </a:lnTo>
                  <a:lnTo>
                    <a:pt x="258" y="128"/>
                  </a:lnTo>
                  <a:lnTo>
                    <a:pt x="258" y="126"/>
                  </a:lnTo>
                  <a:lnTo>
                    <a:pt x="263" y="128"/>
                  </a:lnTo>
                  <a:lnTo>
                    <a:pt x="262" y="126"/>
                  </a:lnTo>
                  <a:lnTo>
                    <a:pt x="260" y="126"/>
                  </a:lnTo>
                  <a:lnTo>
                    <a:pt x="260" y="125"/>
                  </a:lnTo>
                  <a:lnTo>
                    <a:pt x="263" y="125"/>
                  </a:lnTo>
                  <a:lnTo>
                    <a:pt x="260" y="123"/>
                  </a:lnTo>
                  <a:lnTo>
                    <a:pt x="260" y="123"/>
                  </a:lnTo>
                  <a:lnTo>
                    <a:pt x="263" y="121"/>
                  </a:lnTo>
                  <a:lnTo>
                    <a:pt x="260" y="121"/>
                  </a:lnTo>
                  <a:lnTo>
                    <a:pt x="263" y="120"/>
                  </a:lnTo>
                  <a:lnTo>
                    <a:pt x="260" y="121"/>
                  </a:lnTo>
                  <a:lnTo>
                    <a:pt x="258" y="120"/>
                  </a:lnTo>
                  <a:lnTo>
                    <a:pt x="262" y="116"/>
                  </a:lnTo>
                  <a:lnTo>
                    <a:pt x="260" y="118"/>
                  </a:lnTo>
                  <a:lnTo>
                    <a:pt x="258" y="120"/>
                  </a:lnTo>
                  <a:lnTo>
                    <a:pt x="258" y="118"/>
                  </a:lnTo>
                  <a:lnTo>
                    <a:pt x="262" y="115"/>
                  </a:lnTo>
                  <a:lnTo>
                    <a:pt x="258" y="118"/>
                  </a:lnTo>
                  <a:lnTo>
                    <a:pt x="260" y="115"/>
                  </a:lnTo>
                  <a:lnTo>
                    <a:pt x="257" y="116"/>
                  </a:lnTo>
                  <a:lnTo>
                    <a:pt x="257" y="116"/>
                  </a:lnTo>
                  <a:lnTo>
                    <a:pt x="258" y="113"/>
                  </a:lnTo>
                  <a:lnTo>
                    <a:pt x="255" y="116"/>
                  </a:lnTo>
                  <a:lnTo>
                    <a:pt x="253" y="115"/>
                  </a:lnTo>
                  <a:lnTo>
                    <a:pt x="253" y="111"/>
                  </a:lnTo>
                  <a:lnTo>
                    <a:pt x="252" y="115"/>
                  </a:lnTo>
                  <a:lnTo>
                    <a:pt x="252" y="111"/>
                  </a:lnTo>
                  <a:lnTo>
                    <a:pt x="252" y="115"/>
                  </a:lnTo>
                  <a:lnTo>
                    <a:pt x="250" y="115"/>
                  </a:lnTo>
                  <a:lnTo>
                    <a:pt x="249" y="111"/>
                  </a:lnTo>
                  <a:lnTo>
                    <a:pt x="250" y="116"/>
                  </a:lnTo>
                  <a:lnTo>
                    <a:pt x="249" y="116"/>
                  </a:lnTo>
                  <a:lnTo>
                    <a:pt x="247" y="113"/>
                  </a:lnTo>
                  <a:lnTo>
                    <a:pt x="249" y="116"/>
                  </a:lnTo>
                  <a:lnTo>
                    <a:pt x="245" y="113"/>
                  </a:lnTo>
                  <a:lnTo>
                    <a:pt x="249" y="116"/>
                  </a:lnTo>
                  <a:lnTo>
                    <a:pt x="245" y="115"/>
                  </a:lnTo>
                  <a:lnTo>
                    <a:pt x="247" y="118"/>
                  </a:lnTo>
                  <a:lnTo>
                    <a:pt x="244" y="115"/>
                  </a:lnTo>
                  <a:lnTo>
                    <a:pt x="247" y="118"/>
                  </a:lnTo>
                  <a:lnTo>
                    <a:pt x="244" y="116"/>
                  </a:lnTo>
                  <a:lnTo>
                    <a:pt x="247" y="118"/>
                  </a:lnTo>
                  <a:lnTo>
                    <a:pt x="242" y="116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45" y="121"/>
                  </a:lnTo>
                  <a:lnTo>
                    <a:pt x="240" y="121"/>
                  </a:lnTo>
                  <a:lnTo>
                    <a:pt x="245" y="123"/>
                  </a:lnTo>
                  <a:lnTo>
                    <a:pt x="240" y="123"/>
                  </a:lnTo>
                  <a:lnTo>
                    <a:pt x="245" y="125"/>
                  </a:lnTo>
                  <a:lnTo>
                    <a:pt x="245" y="125"/>
                  </a:lnTo>
                  <a:lnTo>
                    <a:pt x="242" y="126"/>
                  </a:lnTo>
                  <a:lnTo>
                    <a:pt x="245" y="126"/>
                  </a:lnTo>
                  <a:lnTo>
                    <a:pt x="242" y="128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4" y="130"/>
                  </a:lnTo>
                  <a:lnTo>
                    <a:pt x="247" y="128"/>
                  </a:lnTo>
                  <a:lnTo>
                    <a:pt x="245" y="131"/>
                  </a:lnTo>
                  <a:lnTo>
                    <a:pt x="249" y="128"/>
                  </a:lnTo>
                  <a:lnTo>
                    <a:pt x="249" y="128"/>
                  </a:lnTo>
                  <a:lnTo>
                    <a:pt x="247" y="133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4"/>
                  </a:lnTo>
                  <a:lnTo>
                    <a:pt x="252" y="130"/>
                  </a:lnTo>
                  <a:lnTo>
                    <a:pt x="250" y="134"/>
                  </a:lnTo>
                  <a:lnTo>
                    <a:pt x="252" y="130"/>
                  </a:lnTo>
                  <a:lnTo>
                    <a:pt x="253" y="130"/>
                  </a:ln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381" tIns="45691" rIns="91381" bIns="4569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78" fontAlgn="ctr"/>
              <a:endParaRPr lang="en-US" altLang="zh-CN" sz="4397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="" xmlns:a16="http://schemas.microsoft.com/office/drawing/2014/main" id="{57A6AA26-5C2C-459E-A36D-4131FD389952}"/>
              </a:ext>
            </a:extLst>
          </p:cNvPr>
          <p:cNvSpPr/>
          <p:nvPr/>
        </p:nvSpPr>
        <p:spPr>
          <a:xfrm>
            <a:off x="5871909" y="1510060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22" name="1498536199">
            <a:extLst>
              <a:ext uri="{FF2B5EF4-FFF2-40B4-BE49-F238E27FC236}">
                <a16:creationId xmlns="" xmlns:a16="http://schemas.microsoft.com/office/drawing/2014/main" id="{070C2E45-9025-4DA5-A6D5-5D6EE0B20074}"/>
              </a:ext>
            </a:extLst>
          </p:cNvPr>
          <p:cNvSpPr txBox="1">
            <a:spLocks/>
          </p:cNvSpPr>
          <p:nvPr/>
        </p:nvSpPr>
        <p:spPr>
          <a:xfrm>
            <a:off x="6006759" y="1577494"/>
            <a:ext cx="1938155" cy="7538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Server</a:t>
            </a:r>
            <a:endParaRPr lang="en-US" altLang="zh-CN" sz="1200" b="1" i="0" dirty="0" smtClean="0">
              <a:solidFill>
                <a:srgbClr val="1EF4F4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Listed as the Challenger in the Magic Quadrant in 2016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Gartner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="" xmlns:a16="http://schemas.microsoft.com/office/drawing/2014/main" id="{B1D5A773-93C8-4935-BAEC-5A90D008EC03}"/>
              </a:ext>
            </a:extLst>
          </p:cNvPr>
          <p:cNvGrpSpPr/>
          <p:nvPr/>
        </p:nvGrpSpPr>
        <p:grpSpPr>
          <a:xfrm>
            <a:off x="8362312" y="1510060"/>
            <a:ext cx="832489" cy="802968"/>
            <a:chOff x="8636436" y="2968746"/>
            <a:chExt cx="832706" cy="803177"/>
          </a:xfrm>
        </p:grpSpPr>
        <p:pic>
          <p:nvPicPr>
            <p:cNvPr id="24" name="Picture 13" descr="E:\01 日常工作\04 展厅相关设计\2015年\PPT\主打胶片\源文件\images\10_13.png">
              <a:extLst>
                <a:ext uri="{FF2B5EF4-FFF2-40B4-BE49-F238E27FC236}">
                  <a16:creationId xmlns="" xmlns:a16="http://schemas.microsoft.com/office/drawing/2014/main" id="{B2AFF88C-2B6D-433C-A269-C4CE41CBE3CE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8636436" y="2968746"/>
              <a:ext cx="832706" cy="803177"/>
            </a:xfrm>
            <a:prstGeom prst="rect">
              <a:avLst/>
            </a:prstGeom>
            <a:noFill/>
          </p:spPr>
        </p:pic>
        <p:grpSp>
          <p:nvGrpSpPr>
            <p:cNvPr id="25" name="组合 24">
              <a:extLst>
                <a:ext uri="{FF2B5EF4-FFF2-40B4-BE49-F238E27FC236}">
                  <a16:creationId xmlns="" xmlns:a16="http://schemas.microsoft.com/office/drawing/2014/main" id="{F45A513D-5D82-4C55-8DD7-72B25CFC807A}"/>
                </a:ext>
              </a:extLst>
            </p:cNvPr>
            <p:cNvGrpSpPr/>
            <p:nvPr/>
          </p:nvGrpSpPr>
          <p:grpSpPr>
            <a:xfrm>
              <a:off x="8774472" y="3101886"/>
              <a:ext cx="556635" cy="536897"/>
              <a:chOff x="8660932" y="1538879"/>
              <a:chExt cx="777547" cy="777547"/>
            </a:xfrm>
          </p:grpSpPr>
          <p:sp>
            <p:nvSpPr>
              <p:cNvPr id="26" name="Freeform 155">
                <a:extLst>
                  <a:ext uri="{FF2B5EF4-FFF2-40B4-BE49-F238E27FC236}">
                    <a16:creationId xmlns="" xmlns:a16="http://schemas.microsoft.com/office/drawing/2014/main" id="{806B561D-AE30-470D-B8E3-23AEFE674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7076" y="1785834"/>
                <a:ext cx="170944" cy="1568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67" y="6"/>
                  </a:cxn>
                  <a:cxn ang="0">
                    <a:pos x="71" y="3"/>
                  </a:cxn>
                  <a:cxn ang="0">
                    <a:pos x="6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71" h="6">
                    <a:moveTo>
                      <a:pt x="3" y="6"/>
                    </a:moveTo>
                    <a:cubicBezTo>
                      <a:pt x="67" y="6"/>
                      <a:pt x="67" y="6"/>
                      <a:pt x="67" y="6"/>
                    </a:cubicBezTo>
                    <a:cubicBezTo>
                      <a:pt x="69" y="6"/>
                      <a:pt x="71" y="5"/>
                      <a:pt x="71" y="3"/>
                    </a:cubicBezTo>
                    <a:cubicBezTo>
                      <a:pt x="71" y="2"/>
                      <a:pt x="69" y="0"/>
                      <a:pt x="6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0" y="5"/>
                      <a:pt x="2" y="6"/>
                      <a:pt x="3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7" name="Freeform 156">
                <a:extLst>
                  <a:ext uri="{FF2B5EF4-FFF2-40B4-BE49-F238E27FC236}">
                    <a16:creationId xmlns="" xmlns:a16="http://schemas.microsoft.com/office/drawing/2014/main" id="{7BE3C4D5-3C32-4474-89A3-A5CEE4E7A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7076" y="1818767"/>
                <a:ext cx="170944" cy="14115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67" y="6"/>
                  </a:cxn>
                  <a:cxn ang="0">
                    <a:pos x="71" y="3"/>
                  </a:cxn>
                  <a:cxn ang="0">
                    <a:pos x="6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71" h="6">
                    <a:moveTo>
                      <a:pt x="3" y="6"/>
                    </a:moveTo>
                    <a:cubicBezTo>
                      <a:pt x="67" y="6"/>
                      <a:pt x="67" y="6"/>
                      <a:pt x="67" y="6"/>
                    </a:cubicBezTo>
                    <a:cubicBezTo>
                      <a:pt x="69" y="6"/>
                      <a:pt x="71" y="4"/>
                      <a:pt x="71" y="3"/>
                    </a:cubicBezTo>
                    <a:cubicBezTo>
                      <a:pt x="71" y="1"/>
                      <a:pt x="69" y="0"/>
                      <a:pt x="6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6"/>
                      <a:pt x="3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8" name="Freeform 157">
                <a:extLst>
                  <a:ext uri="{FF2B5EF4-FFF2-40B4-BE49-F238E27FC236}">
                    <a16:creationId xmlns="" xmlns:a16="http://schemas.microsoft.com/office/drawing/2014/main" id="{B1804ADB-353C-4659-B1F7-76E4451E6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7076" y="1846997"/>
                <a:ext cx="170944" cy="17253"/>
              </a:xfrm>
              <a:custGeom>
                <a:avLst/>
                <a:gdLst/>
                <a:ahLst/>
                <a:cxnLst>
                  <a:cxn ang="0">
                    <a:pos x="67" y="7"/>
                  </a:cxn>
                  <a:cxn ang="0">
                    <a:pos x="71" y="4"/>
                  </a:cxn>
                  <a:cxn ang="0">
                    <a:pos x="6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67" y="7"/>
                  </a:cxn>
                </a:cxnLst>
                <a:rect l="0" t="0" r="r" b="b"/>
                <a:pathLst>
                  <a:path w="71" h="7">
                    <a:moveTo>
                      <a:pt x="67" y="7"/>
                    </a:moveTo>
                    <a:cubicBezTo>
                      <a:pt x="69" y="7"/>
                      <a:pt x="71" y="5"/>
                      <a:pt x="71" y="4"/>
                    </a:cubicBezTo>
                    <a:cubicBezTo>
                      <a:pt x="71" y="2"/>
                      <a:pt x="69" y="0"/>
                      <a:pt x="67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5"/>
                      <a:pt x="2" y="7"/>
                      <a:pt x="3" y="7"/>
                    </a:cubicBezTo>
                    <a:lnTo>
                      <a:pt x="67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9" name="Freeform 158">
                <a:extLst>
                  <a:ext uri="{FF2B5EF4-FFF2-40B4-BE49-F238E27FC236}">
                    <a16:creationId xmlns="" xmlns:a16="http://schemas.microsoft.com/office/drawing/2014/main" id="{CC9E75EC-5969-4938-81E2-365E83B8A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0754" y="1785834"/>
                <a:ext cx="172513" cy="15684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68" y="6"/>
                  </a:cxn>
                  <a:cxn ang="0">
                    <a:pos x="71" y="3"/>
                  </a:cxn>
                  <a:cxn ang="0">
                    <a:pos x="68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4" y="6"/>
                  </a:cxn>
                </a:cxnLst>
                <a:rect l="0" t="0" r="r" b="b"/>
                <a:pathLst>
                  <a:path w="71" h="6">
                    <a:moveTo>
                      <a:pt x="4" y="6"/>
                    </a:moveTo>
                    <a:cubicBezTo>
                      <a:pt x="68" y="6"/>
                      <a:pt x="68" y="6"/>
                      <a:pt x="68" y="6"/>
                    </a:cubicBezTo>
                    <a:cubicBezTo>
                      <a:pt x="69" y="6"/>
                      <a:pt x="71" y="5"/>
                      <a:pt x="71" y="3"/>
                    </a:cubicBezTo>
                    <a:cubicBezTo>
                      <a:pt x="71" y="2"/>
                      <a:pt x="69" y="0"/>
                      <a:pt x="6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30" name="Freeform 159">
                <a:extLst>
                  <a:ext uri="{FF2B5EF4-FFF2-40B4-BE49-F238E27FC236}">
                    <a16:creationId xmlns="" xmlns:a16="http://schemas.microsoft.com/office/drawing/2014/main" id="{F15E8DF5-4A39-4DBA-A911-8152B1919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0754" y="1818767"/>
                <a:ext cx="172513" cy="1411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68" y="6"/>
                  </a:cxn>
                  <a:cxn ang="0">
                    <a:pos x="71" y="3"/>
                  </a:cxn>
                  <a:cxn ang="0">
                    <a:pos x="68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4" y="6"/>
                  </a:cxn>
                </a:cxnLst>
                <a:rect l="0" t="0" r="r" b="b"/>
                <a:pathLst>
                  <a:path w="71" h="6">
                    <a:moveTo>
                      <a:pt x="4" y="6"/>
                    </a:moveTo>
                    <a:cubicBezTo>
                      <a:pt x="68" y="6"/>
                      <a:pt x="68" y="6"/>
                      <a:pt x="68" y="6"/>
                    </a:cubicBezTo>
                    <a:cubicBezTo>
                      <a:pt x="69" y="6"/>
                      <a:pt x="71" y="4"/>
                      <a:pt x="71" y="3"/>
                    </a:cubicBezTo>
                    <a:cubicBezTo>
                      <a:pt x="71" y="1"/>
                      <a:pt x="69" y="0"/>
                      <a:pt x="6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6"/>
                      <a:pt x="4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31" name="Freeform 160">
                <a:extLst>
                  <a:ext uri="{FF2B5EF4-FFF2-40B4-BE49-F238E27FC236}">
                    <a16:creationId xmlns="" xmlns:a16="http://schemas.microsoft.com/office/drawing/2014/main" id="{65F0E660-4653-45D0-AD7B-D19A5F925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0754" y="1846997"/>
                <a:ext cx="172513" cy="17253"/>
              </a:xfrm>
              <a:custGeom>
                <a:avLst/>
                <a:gdLst/>
                <a:ahLst/>
                <a:cxnLst>
                  <a:cxn ang="0">
                    <a:pos x="68" y="7"/>
                  </a:cxn>
                  <a:cxn ang="0">
                    <a:pos x="71" y="4"/>
                  </a:cxn>
                  <a:cxn ang="0">
                    <a:pos x="68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7"/>
                  </a:cxn>
                  <a:cxn ang="0">
                    <a:pos x="68" y="7"/>
                  </a:cxn>
                </a:cxnLst>
                <a:rect l="0" t="0" r="r" b="b"/>
                <a:pathLst>
                  <a:path w="71" h="7">
                    <a:moveTo>
                      <a:pt x="68" y="7"/>
                    </a:moveTo>
                    <a:cubicBezTo>
                      <a:pt x="69" y="7"/>
                      <a:pt x="71" y="5"/>
                      <a:pt x="71" y="4"/>
                    </a:cubicBezTo>
                    <a:cubicBezTo>
                      <a:pt x="71" y="2"/>
                      <a:pt x="69" y="0"/>
                      <a:pt x="6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5"/>
                      <a:pt x="2" y="7"/>
                      <a:pt x="4" y="7"/>
                    </a:cubicBezTo>
                    <a:lnTo>
                      <a:pt x="68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32" name="组合 237">
                <a:extLst>
                  <a:ext uri="{FF2B5EF4-FFF2-40B4-BE49-F238E27FC236}">
                    <a16:creationId xmlns="" xmlns:a16="http://schemas.microsoft.com/office/drawing/2014/main" id="{9D7F700B-3907-4C69-8596-7DE05C4F10A9}"/>
                  </a:ext>
                </a:extLst>
              </p:cNvPr>
              <p:cNvGrpSpPr/>
              <p:nvPr/>
            </p:nvGrpSpPr>
            <p:grpSpPr>
              <a:xfrm>
                <a:off x="8660932" y="1538879"/>
                <a:ext cx="777547" cy="777547"/>
                <a:chOff x="8682144" y="1674515"/>
                <a:chExt cx="771035" cy="771035"/>
              </a:xfrm>
            </p:grpSpPr>
            <p:sp>
              <p:nvSpPr>
                <p:cNvPr id="33" name="椭圆 32">
                  <a:extLst>
                    <a:ext uri="{FF2B5EF4-FFF2-40B4-BE49-F238E27FC236}">
                      <a16:creationId xmlns="" xmlns:a16="http://schemas.microsoft.com/office/drawing/2014/main" id="{E46930CA-D980-4CC2-943A-722836755F5B}"/>
                    </a:ext>
                  </a:extLst>
                </p:cNvPr>
                <p:cNvSpPr/>
                <p:nvPr/>
              </p:nvSpPr>
              <p:spPr>
                <a:xfrm>
                  <a:off x="8682144" y="1674515"/>
                  <a:ext cx="771035" cy="771035"/>
                </a:xfrm>
                <a:prstGeom prst="ellipse">
                  <a:avLst/>
                </a:prstGeom>
                <a:solidFill>
                  <a:srgbClr val="FFFFFF">
                    <a:alpha val="10000"/>
                  </a:srgbClr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1218288" fontAlgn="ctr"/>
                  <a:endParaRPr lang="en-US" altLang="zh-CN" sz="23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" name="Freeform 161">
                  <a:extLst>
                    <a:ext uri="{FF2B5EF4-FFF2-40B4-BE49-F238E27FC236}">
                      <a16:creationId xmlns="" xmlns:a16="http://schemas.microsoft.com/office/drawing/2014/main" id="{62612640-E749-434D-AACD-164106F238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61678" y="1869805"/>
                  <a:ext cx="454108" cy="416785"/>
                </a:xfrm>
                <a:custGeom>
                  <a:avLst/>
                  <a:gdLst/>
                  <a:ahLst/>
                  <a:cxnLst>
                    <a:cxn ang="0">
                      <a:pos x="153" y="162"/>
                    </a:cxn>
                    <a:cxn ang="0">
                      <a:pos x="147" y="150"/>
                    </a:cxn>
                    <a:cxn ang="0">
                      <a:pos x="189" y="139"/>
                    </a:cxn>
                    <a:cxn ang="0">
                      <a:pos x="178" y="0"/>
                    </a:cxn>
                    <a:cxn ang="0">
                      <a:pos x="98" y="11"/>
                    </a:cxn>
                    <a:cxn ang="0">
                      <a:pos x="109" y="150"/>
                    </a:cxn>
                    <a:cxn ang="0">
                      <a:pos x="140" y="156"/>
                    </a:cxn>
                    <a:cxn ang="0">
                      <a:pos x="55" y="162"/>
                    </a:cxn>
                    <a:cxn ang="0">
                      <a:pos x="49" y="150"/>
                    </a:cxn>
                    <a:cxn ang="0">
                      <a:pos x="91" y="139"/>
                    </a:cxn>
                    <a:cxn ang="0">
                      <a:pos x="81" y="0"/>
                    </a:cxn>
                    <a:cxn ang="0">
                      <a:pos x="0" y="11"/>
                    </a:cxn>
                    <a:cxn ang="0">
                      <a:pos x="11" y="150"/>
                    </a:cxn>
                    <a:cxn ang="0">
                      <a:pos x="43" y="156"/>
                    </a:cxn>
                    <a:cxn ang="0">
                      <a:pos x="3" y="162"/>
                    </a:cxn>
                    <a:cxn ang="0">
                      <a:pos x="3" y="168"/>
                    </a:cxn>
                    <a:cxn ang="0">
                      <a:pos x="46" y="174"/>
                    </a:cxn>
                    <a:cxn ang="0">
                      <a:pos x="134" y="168"/>
                    </a:cxn>
                    <a:cxn ang="0">
                      <a:pos x="153" y="168"/>
                    </a:cxn>
                    <a:cxn ang="0">
                      <a:pos x="189" y="165"/>
                    </a:cxn>
                    <a:cxn ang="0">
                      <a:pos x="105" y="139"/>
                    </a:cxn>
                    <a:cxn ang="0">
                      <a:pos x="109" y="7"/>
                    </a:cxn>
                    <a:cxn ang="0">
                      <a:pos x="182" y="11"/>
                    </a:cxn>
                    <a:cxn ang="0">
                      <a:pos x="178" y="143"/>
                    </a:cxn>
                    <a:cxn ang="0">
                      <a:pos x="144" y="143"/>
                    </a:cxn>
                    <a:cxn ang="0">
                      <a:pos x="109" y="143"/>
                    </a:cxn>
                    <a:cxn ang="0">
                      <a:pos x="7" y="139"/>
                    </a:cxn>
                    <a:cxn ang="0">
                      <a:pos x="11" y="7"/>
                    </a:cxn>
                    <a:cxn ang="0">
                      <a:pos x="85" y="11"/>
                    </a:cxn>
                    <a:cxn ang="0">
                      <a:pos x="81" y="143"/>
                    </a:cxn>
                    <a:cxn ang="0">
                      <a:pos x="46" y="143"/>
                    </a:cxn>
                    <a:cxn ang="0">
                      <a:pos x="11" y="143"/>
                    </a:cxn>
                  </a:cxnLst>
                  <a:rect l="0" t="0" r="r" b="b"/>
                  <a:pathLst>
                    <a:path w="189" h="174">
                      <a:moveTo>
                        <a:pt x="186" y="162"/>
                      </a:moveTo>
                      <a:cubicBezTo>
                        <a:pt x="153" y="162"/>
                        <a:pt x="153" y="162"/>
                        <a:pt x="153" y="162"/>
                      </a:cubicBezTo>
                      <a:cubicBezTo>
                        <a:pt x="152" y="159"/>
                        <a:pt x="150" y="157"/>
                        <a:pt x="147" y="156"/>
                      </a:cubicBezTo>
                      <a:cubicBezTo>
                        <a:pt x="147" y="150"/>
                        <a:pt x="147" y="150"/>
                        <a:pt x="147" y="150"/>
                      </a:cubicBezTo>
                      <a:cubicBezTo>
                        <a:pt x="178" y="150"/>
                        <a:pt x="178" y="150"/>
                        <a:pt x="178" y="150"/>
                      </a:cubicBezTo>
                      <a:cubicBezTo>
                        <a:pt x="184" y="150"/>
                        <a:pt x="189" y="145"/>
                        <a:pt x="189" y="139"/>
                      </a:cubicBezTo>
                      <a:cubicBezTo>
                        <a:pt x="189" y="11"/>
                        <a:pt x="189" y="11"/>
                        <a:pt x="189" y="11"/>
                      </a:cubicBezTo>
                      <a:cubicBezTo>
                        <a:pt x="189" y="5"/>
                        <a:pt x="184" y="0"/>
                        <a:pt x="178" y="0"/>
                      </a:cubicBezTo>
                      <a:cubicBezTo>
                        <a:pt x="109" y="0"/>
                        <a:pt x="109" y="0"/>
                        <a:pt x="109" y="0"/>
                      </a:cubicBezTo>
                      <a:cubicBezTo>
                        <a:pt x="103" y="0"/>
                        <a:pt x="98" y="5"/>
                        <a:pt x="98" y="11"/>
                      </a:cubicBezTo>
                      <a:cubicBezTo>
                        <a:pt x="98" y="139"/>
                        <a:pt x="98" y="139"/>
                        <a:pt x="98" y="139"/>
                      </a:cubicBezTo>
                      <a:cubicBezTo>
                        <a:pt x="98" y="145"/>
                        <a:pt x="103" y="150"/>
                        <a:pt x="109" y="150"/>
                      </a:cubicBezTo>
                      <a:cubicBezTo>
                        <a:pt x="140" y="150"/>
                        <a:pt x="140" y="150"/>
                        <a:pt x="140" y="150"/>
                      </a:cubicBezTo>
                      <a:cubicBezTo>
                        <a:pt x="140" y="156"/>
                        <a:pt x="140" y="156"/>
                        <a:pt x="140" y="156"/>
                      </a:cubicBezTo>
                      <a:cubicBezTo>
                        <a:pt x="138" y="157"/>
                        <a:pt x="135" y="159"/>
                        <a:pt x="134" y="162"/>
                      </a:cubicBezTo>
                      <a:cubicBezTo>
                        <a:pt x="55" y="162"/>
                        <a:pt x="55" y="162"/>
                        <a:pt x="55" y="162"/>
                      </a:cubicBezTo>
                      <a:cubicBezTo>
                        <a:pt x="54" y="159"/>
                        <a:pt x="52" y="157"/>
                        <a:pt x="49" y="156"/>
                      </a:cubicBezTo>
                      <a:cubicBezTo>
                        <a:pt x="49" y="150"/>
                        <a:pt x="49" y="150"/>
                        <a:pt x="49" y="150"/>
                      </a:cubicBezTo>
                      <a:cubicBezTo>
                        <a:pt x="81" y="150"/>
                        <a:pt x="81" y="150"/>
                        <a:pt x="81" y="150"/>
                      </a:cubicBezTo>
                      <a:cubicBezTo>
                        <a:pt x="86" y="150"/>
                        <a:pt x="91" y="145"/>
                        <a:pt x="91" y="139"/>
                      </a:cubicBez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5"/>
                        <a:pt x="86" y="0"/>
                        <a:pt x="8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5"/>
                        <a:pt x="5" y="150"/>
                        <a:pt x="11" y="150"/>
                      </a:cubicBezTo>
                      <a:cubicBezTo>
                        <a:pt x="43" y="150"/>
                        <a:pt x="43" y="150"/>
                        <a:pt x="43" y="150"/>
                      </a:cubicBezTo>
                      <a:cubicBezTo>
                        <a:pt x="43" y="156"/>
                        <a:pt x="43" y="156"/>
                        <a:pt x="43" y="156"/>
                      </a:cubicBezTo>
                      <a:cubicBezTo>
                        <a:pt x="40" y="157"/>
                        <a:pt x="38" y="159"/>
                        <a:pt x="37" y="162"/>
                      </a:cubicBezTo>
                      <a:cubicBezTo>
                        <a:pt x="3" y="162"/>
                        <a:pt x="3" y="162"/>
                        <a:pt x="3" y="162"/>
                      </a:cubicBezTo>
                      <a:cubicBezTo>
                        <a:pt x="2" y="162"/>
                        <a:pt x="0" y="163"/>
                        <a:pt x="0" y="165"/>
                      </a:cubicBezTo>
                      <a:cubicBezTo>
                        <a:pt x="0" y="167"/>
                        <a:pt x="2" y="168"/>
                        <a:pt x="3" y="168"/>
                      </a:cubicBezTo>
                      <a:cubicBezTo>
                        <a:pt x="37" y="168"/>
                        <a:pt x="37" y="168"/>
                        <a:pt x="37" y="168"/>
                      </a:cubicBezTo>
                      <a:cubicBezTo>
                        <a:pt x="38" y="172"/>
                        <a:pt x="42" y="174"/>
                        <a:pt x="46" y="174"/>
                      </a:cubicBezTo>
                      <a:cubicBezTo>
                        <a:pt x="50" y="174"/>
                        <a:pt x="54" y="172"/>
                        <a:pt x="55" y="168"/>
                      </a:cubicBezTo>
                      <a:cubicBezTo>
                        <a:pt x="134" y="168"/>
                        <a:pt x="134" y="168"/>
                        <a:pt x="134" y="168"/>
                      </a:cubicBezTo>
                      <a:cubicBezTo>
                        <a:pt x="136" y="172"/>
                        <a:pt x="139" y="174"/>
                        <a:pt x="144" y="174"/>
                      </a:cubicBezTo>
                      <a:cubicBezTo>
                        <a:pt x="148" y="174"/>
                        <a:pt x="151" y="172"/>
                        <a:pt x="153" y="168"/>
                      </a:cubicBezTo>
                      <a:cubicBezTo>
                        <a:pt x="186" y="168"/>
                        <a:pt x="186" y="168"/>
                        <a:pt x="186" y="168"/>
                      </a:cubicBezTo>
                      <a:cubicBezTo>
                        <a:pt x="187" y="168"/>
                        <a:pt x="189" y="167"/>
                        <a:pt x="189" y="165"/>
                      </a:cubicBezTo>
                      <a:cubicBezTo>
                        <a:pt x="189" y="163"/>
                        <a:pt x="187" y="162"/>
                        <a:pt x="186" y="162"/>
                      </a:cubicBezTo>
                      <a:close/>
                      <a:moveTo>
                        <a:pt x="105" y="139"/>
                      </a:moveTo>
                      <a:cubicBezTo>
                        <a:pt x="105" y="11"/>
                        <a:pt x="105" y="11"/>
                        <a:pt x="105" y="11"/>
                      </a:cubicBezTo>
                      <a:cubicBezTo>
                        <a:pt x="105" y="8"/>
                        <a:pt x="107" y="7"/>
                        <a:pt x="109" y="7"/>
                      </a:cubicBezTo>
                      <a:cubicBezTo>
                        <a:pt x="178" y="7"/>
                        <a:pt x="178" y="7"/>
                        <a:pt x="178" y="7"/>
                      </a:cubicBezTo>
                      <a:cubicBezTo>
                        <a:pt x="181" y="7"/>
                        <a:pt x="182" y="8"/>
                        <a:pt x="182" y="11"/>
                      </a:cubicBezTo>
                      <a:cubicBezTo>
                        <a:pt x="182" y="139"/>
                        <a:pt x="182" y="139"/>
                        <a:pt x="182" y="139"/>
                      </a:cubicBezTo>
                      <a:cubicBezTo>
                        <a:pt x="182" y="142"/>
                        <a:pt x="181" y="143"/>
                        <a:pt x="178" y="143"/>
                      </a:cubicBezTo>
                      <a:cubicBezTo>
                        <a:pt x="146" y="143"/>
                        <a:pt x="146" y="143"/>
                        <a:pt x="146" y="143"/>
                      </a:cubicBezTo>
                      <a:cubicBezTo>
                        <a:pt x="145" y="143"/>
                        <a:pt x="144" y="143"/>
                        <a:pt x="144" y="143"/>
                      </a:cubicBezTo>
                      <a:cubicBezTo>
                        <a:pt x="143" y="143"/>
                        <a:pt x="142" y="143"/>
                        <a:pt x="142" y="143"/>
                      </a:cubicBezTo>
                      <a:cubicBezTo>
                        <a:pt x="109" y="143"/>
                        <a:pt x="109" y="143"/>
                        <a:pt x="109" y="143"/>
                      </a:cubicBezTo>
                      <a:cubicBezTo>
                        <a:pt x="107" y="143"/>
                        <a:pt x="105" y="142"/>
                        <a:pt x="105" y="139"/>
                      </a:cubicBezTo>
                      <a:close/>
                      <a:moveTo>
                        <a:pt x="7" y="139"/>
                      </a:move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7" y="8"/>
                        <a:pt x="9" y="7"/>
                        <a:pt x="11" y="7"/>
                      </a:cubicBezTo>
                      <a:cubicBezTo>
                        <a:pt x="81" y="7"/>
                        <a:pt x="81" y="7"/>
                        <a:pt x="81" y="7"/>
                      </a:cubicBezTo>
                      <a:cubicBezTo>
                        <a:pt x="83" y="7"/>
                        <a:pt x="85" y="8"/>
                        <a:pt x="85" y="11"/>
                      </a:cubicBezTo>
                      <a:cubicBezTo>
                        <a:pt x="85" y="139"/>
                        <a:pt x="85" y="139"/>
                        <a:pt x="85" y="139"/>
                      </a:cubicBezTo>
                      <a:cubicBezTo>
                        <a:pt x="85" y="142"/>
                        <a:pt x="83" y="143"/>
                        <a:pt x="81" y="143"/>
                      </a:cubicBezTo>
                      <a:cubicBezTo>
                        <a:pt x="48" y="143"/>
                        <a:pt x="48" y="143"/>
                        <a:pt x="48" y="143"/>
                      </a:cubicBezTo>
                      <a:cubicBezTo>
                        <a:pt x="47" y="143"/>
                        <a:pt x="47" y="143"/>
                        <a:pt x="46" y="143"/>
                      </a:cubicBezTo>
                      <a:cubicBezTo>
                        <a:pt x="45" y="143"/>
                        <a:pt x="44" y="143"/>
                        <a:pt x="44" y="143"/>
                      </a:cubicBezTo>
                      <a:cubicBezTo>
                        <a:pt x="11" y="143"/>
                        <a:pt x="11" y="143"/>
                        <a:pt x="11" y="143"/>
                      </a:cubicBezTo>
                      <a:cubicBezTo>
                        <a:pt x="9" y="143"/>
                        <a:pt x="7" y="142"/>
                        <a:pt x="7" y="1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35" name="矩形 34">
            <a:extLst>
              <a:ext uri="{FF2B5EF4-FFF2-40B4-BE49-F238E27FC236}">
                <a16:creationId xmlns="" xmlns:a16="http://schemas.microsoft.com/office/drawing/2014/main" id="{7CB901B9-8D11-4524-A3BA-CC2A91C75A82}"/>
              </a:ext>
            </a:extLst>
          </p:cNvPr>
          <p:cNvSpPr/>
          <p:nvPr/>
        </p:nvSpPr>
        <p:spPr>
          <a:xfrm>
            <a:off x="9294036" y="1491543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36" name="1498536199">
            <a:extLst>
              <a:ext uri="{FF2B5EF4-FFF2-40B4-BE49-F238E27FC236}">
                <a16:creationId xmlns="" xmlns:a16="http://schemas.microsoft.com/office/drawing/2014/main" id="{4ABD40C7-358A-43F8-B8E3-8AFF7A05D9CE}"/>
              </a:ext>
            </a:extLst>
          </p:cNvPr>
          <p:cNvSpPr txBox="1">
            <a:spLocks/>
          </p:cNvSpPr>
          <p:nvPr/>
        </p:nvSpPr>
        <p:spPr>
          <a:xfrm>
            <a:off x="9428886" y="1577493"/>
            <a:ext cx="2066062" cy="60000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Storage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Positioned in the Leaders quadrant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Gartner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37" name="直接连接符 36">
            <a:extLst>
              <a:ext uri="{FF2B5EF4-FFF2-40B4-BE49-F238E27FC236}">
                <a16:creationId xmlns="" xmlns:a16="http://schemas.microsoft.com/office/drawing/2014/main" id="{5343CD74-2562-46EC-B00C-7949D0A02D71}"/>
              </a:ext>
            </a:extLst>
          </p:cNvPr>
          <p:cNvCxnSpPr/>
          <p:nvPr/>
        </p:nvCxnSpPr>
        <p:spPr>
          <a:xfrm>
            <a:off x="582462" y="2544765"/>
            <a:ext cx="11049123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>
            <a:extLst>
              <a:ext uri="{FF2B5EF4-FFF2-40B4-BE49-F238E27FC236}">
                <a16:creationId xmlns="" xmlns:a16="http://schemas.microsoft.com/office/drawing/2014/main" id="{4165AA92-3875-41FE-88DF-F956BEF562D0}"/>
              </a:ext>
            </a:extLst>
          </p:cNvPr>
          <p:cNvSpPr/>
          <p:nvPr/>
        </p:nvSpPr>
        <p:spPr>
          <a:xfrm>
            <a:off x="1375511" y="2696992"/>
            <a:ext cx="10265772" cy="99648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39" name="副标题 1">
            <a:extLst>
              <a:ext uri="{FF2B5EF4-FFF2-40B4-BE49-F238E27FC236}">
                <a16:creationId xmlns="" xmlns:a16="http://schemas.microsoft.com/office/drawing/2014/main" id="{A53AD091-5A9A-4D4B-89A5-861379AF2642}"/>
              </a:ext>
            </a:extLst>
          </p:cNvPr>
          <p:cNvSpPr txBox="1">
            <a:spLocks/>
          </p:cNvSpPr>
          <p:nvPr/>
        </p:nvSpPr>
        <p:spPr>
          <a:xfrm>
            <a:off x="663838" y="3342203"/>
            <a:ext cx="515304" cy="922688"/>
          </a:xfrm>
          <a:prstGeom prst="rect">
            <a:avLst/>
          </a:prstGeom>
        </p:spPr>
        <p:txBody>
          <a:bodyPr vert="vert270" wrap="square" lIns="0" tIns="0" rIns="0" bIns="0" anchor="ctr">
            <a:noAutofit/>
          </a:bodyPr>
          <a:lstStyle/>
          <a:p>
            <a:pPr algn="ctr" defTabSz="1218288" fontAlgn="ctr">
              <a:spcBef>
                <a:spcPct val="20000"/>
              </a:spcBef>
            </a:pPr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</a:rPr>
              <a:t>Pipe</a:t>
            </a:r>
            <a:endParaRPr lang="en-US" sz="20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="" xmlns:a16="http://schemas.microsoft.com/office/drawing/2014/main" id="{38A31622-AA92-4651-9A91-93495DA0DA18}"/>
              </a:ext>
            </a:extLst>
          </p:cNvPr>
          <p:cNvSpPr/>
          <p:nvPr/>
        </p:nvSpPr>
        <p:spPr>
          <a:xfrm>
            <a:off x="2449783" y="2775233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41" name="1498536199">
            <a:extLst>
              <a:ext uri="{FF2B5EF4-FFF2-40B4-BE49-F238E27FC236}">
                <a16:creationId xmlns="" xmlns:a16="http://schemas.microsoft.com/office/drawing/2014/main" id="{6AC3B40F-7D09-4AC1-926C-1B9451D751CC}"/>
              </a:ext>
            </a:extLst>
          </p:cNvPr>
          <p:cNvSpPr txBox="1">
            <a:spLocks/>
          </p:cNvSpPr>
          <p:nvPr/>
        </p:nvSpPr>
        <p:spPr>
          <a:xfrm>
            <a:off x="2584633" y="2852645"/>
            <a:ext cx="2071949" cy="69249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Campus switch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Ranking 2</a:t>
            </a:r>
            <a:r>
              <a:rPr lang="en-US" sz="1000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nd</a:t>
            </a: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the global </a:t>
            </a: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market, with </a:t>
            </a: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a YoY growth rate of 61%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1000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2" name="直接连接符 41">
            <a:extLst>
              <a:ext uri="{FF2B5EF4-FFF2-40B4-BE49-F238E27FC236}">
                <a16:creationId xmlns="" xmlns:a16="http://schemas.microsoft.com/office/drawing/2014/main" id="{F68D43F6-7DC0-4706-BBD1-2F11026C956C}"/>
              </a:ext>
            </a:extLst>
          </p:cNvPr>
          <p:cNvCxnSpPr/>
          <p:nvPr/>
        </p:nvCxnSpPr>
        <p:spPr>
          <a:xfrm>
            <a:off x="8217567" y="2961295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sp>
        <p:nvSpPr>
          <p:cNvPr id="43" name="矩形 42">
            <a:extLst>
              <a:ext uri="{FF2B5EF4-FFF2-40B4-BE49-F238E27FC236}">
                <a16:creationId xmlns="" xmlns:a16="http://schemas.microsoft.com/office/drawing/2014/main" id="{050D646F-EE2A-4999-8D6D-5142556A23FB}"/>
              </a:ext>
            </a:extLst>
          </p:cNvPr>
          <p:cNvSpPr/>
          <p:nvPr/>
        </p:nvSpPr>
        <p:spPr>
          <a:xfrm>
            <a:off x="5871909" y="2793751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44" name="1498536199">
            <a:extLst>
              <a:ext uri="{FF2B5EF4-FFF2-40B4-BE49-F238E27FC236}">
                <a16:creationId xmlns="" xmlns:a16="http://schemas.microsoft.com/office/drawing/2014/main" id="{288DD552-9518-4B6E-9303-CAAD683578C8}"/>
              </a:ext>
            </a:extLst>
          </p:cNvPr>
          <p:cNvSpPr txBox="1">
            <a:spLocks/>
          </p:cNvSpPr>
          <p:nvPr/>
        </p:nvSpPr>
        <p:spPr>
          <a:xfrm>
            <a:off x="6006759" y="2852645"/>
            <a:ext cx="2066062" cy="7540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Data center switch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Ranking 3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rd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the global 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market, with 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a YoY growth rate of 82%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="" xmlns:a16="http://schemas.microsoft.com/office/drawing/2014/main" id="{37B5023A-AA78-43EA-AAB4-E02C830DAB1E}"/>
              </a:ext>
            </a:extLst>
          </p:cNvPr>
          <p:cNvSpPr/>
          <p:nvPr/>
        </p:nvSpPr>
        <p:spPr>
          <a:xfrm>
            <a:off x="9294036" y="2792159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46" name="1498536199">
            <a:extLst>
              <a:ext uri="{FF2B5EF4-FFF2-40B4-BE49-F238E27FC236}">
                <a16:creationId xmlns="" xmlns:a16="http://schemas.microsoft.com/office/drawing/2014/main" id="{6F67AE6D-3F76-4B6F-8FD4-CB7A069F6591}"/>
              </a:ext>
            </a:extLst>
          </p:cNvPr>
          <p:cNvSpPr txBox="1">
            <a:spLocks/>
          </p:cNvSpPr>
          <p:nvPr/>
        </p:nvSpPr>
        <p:spPr>
          <a:xfrm>
            <a:off x="9428887" y="2852645"/>
            <a:ext cx="1991750" cy="7538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Enterprise router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Ranking 2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nd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the global market and 1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st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China's market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="" xmlns:a16="http://schemas.microsoft.com/office/drawing/2014/main" id="{E8BE5803-1717-4885-BFAF-162720C86060}"/>
              </a:ext>
            </a:extLst>
          </p:cNvPr>
          <p:cNvSpPr/>
          <p:nvPr/>
        </p:nvSpPr>
        <p:spPr>
          <a:xfrm>
            <a:off x="1375511" y="3933287"/>
            <a:ext cx="10265772" cy="99648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="" xmlns:a16="http://schemas.microsoft.com/office/drawing/2014/main" id="{16B21C10-F6A9-4B35-91E8-A1F1F91CB0DD}"/>
              </a:ext>
            </a:extLst>
          </p:cNvPr>
          <p:cNvSpPr/>
          <p:nvPr/>
        </p:nvSpPr>
        <p:spPr>
          <a:xfrm>
            <a:off x="2449783" y="4011528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49" name="1498536199">
            <a:extLst>
              <a:ext uri="{FF2B5EF4-FFF2-40B4-BE49-F238E27FC236}">
                <a16:creationId xmlns="" xmlns:a16="http://schemas.microsoft.com/office/drawing/2014/main" id="{AACB1116-1F22-427E-BA61-57FD37971BF6}"/>
              </a:ext>
            </a:extLst>
          </p:cNvPr>
          <p:cNvSpPr txBox="1">
            <a:spLocks/>
          </p:cNvSpPr>
          <p:nvPr/>
        </p:nvSpPr>
        <p:spPr>
          <a:xfrm>
            <a:off x="2584633" y="4150043"/>
            <a:ext cx="1840635" cy="53860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LTE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91 members in the eLTE industry alliance</a:t>
            </a:r>
            <a:endParaRPr lang="en-US" sz="1000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50" name="直接连接符 49">
            <a:extLst>
              <a:ext uri="{FF2B5EF4-FFF2-40B4-BE49-F238E27FC236}">
                <a16:creationId xmlns="" xmlns:a16="http://schemas.microsoft.com/office/drawing/2014/main" id="{27722289-9D3B-49F4-B4CB-CA2E81EC5AE5}"/>
              </a:ext>
            </a:extLst>
          </p:cNvPr>
          <p:cNvCxnSpPr/>
          <p:nvPr/>
        </p:nvCxnSpPr>
        <p:spPr>
          <a:xfrm>
            <a:off x="8217567" y="4197590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sp>
        <p:nvSpPr>
          <p:cNvPr id="51" name="矩形 50">
            <a:extLst>
              <a:ext uri="{FF2B5EF4-FFF2-40B4-BE49-F238E27FC236}">
                <a16:creationId xmlns="" xmlns:a16="http://schemas.microsoft.com/office/drawing/2014/main" id="{3F422E22-5B68-4CA2-9DAF-8CC68644C87F}"/>
              </a:ext>
            </a:extLst>
          </p:cNvPr>
          <p:cNvSpPr/>
          <p:nvPr/>
        </p:nvSpPr>
        <p:spPr>
          <a:xfrm>
            <a:off x="5871909" y="4030046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52" name="1498536199">
            <a:extLst>
              <a:ext uri="{FF2B5EF4-FFF2-40B4-BE49-F238E27FC236}">
                <a16:creationId xmlns="" xmlns:a16="http://schemas.microsoft.com/office/drawing/2014/main" id="{E41FD5CB-D4F8-468E-957A-BCBD17329480}"/>
              </a:ext>
            </a:extLst>
          </p:cNvPr>
          <p:cNvSpPr txBox="1">
            <a:spLocks/>
          </p:cNvSpPr>
          <p:nvPr/>
        </p:nvSpPr>
        <p:spPr>
          <a:xfrm>
            <a:off x="6006759" y="4150042"/>
            <a:ext cx="2066062" cy="60000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Security product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YoY revenue growth rate of 81%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="" xmlns:a16="http://schemas.microsoft.com/office/drawing/2014/main" id="{509F9EA4-0E56-4736-B2F9-B26C6DF7D4FE}"/>
              </a:ext>
            </a:extLst>
          </p:cNvPr>
          <p:cNvSpPr/>
          <p:nvPr/>
        </p:nvSpPr>
        <p:spPr>
          <a:xfrm>
            <a:off x="9294036" y="4011528"/>
            <a:ext cx="2200912" cy="840001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54" name="1498536199">
            <a:extLst>
              <a:ext uri="{FF2B5EF4-FFF2-40B4-BE49-F238E27FC236}">
                <a16:creationId xmlns="" xmlns:a16="http://schemas.microsoft.com/office/drawing/2014/main" id="{9ED24CE1-58FD-4008-8871-4C812BDDA0F5}"/>
              </a:ext>
            </a:extLst>
          </p:cNvPr>
          <p:cNvSpPr txBox="1">
            <a:spLocks/>
          </p:cNvSpPr>
          <p:nvPr/>
        </p:nvSpPr>
        <p:spPr>
          <a:xfrm>
            <a:off x="9428886" y="4150043"/>
            <a:ext cx="2066062" cy="69249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WLAN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Ranking 3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rd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China's enterprise network market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55" name="直接连接符 54">
            <a:extLst>
              <a:ext uri="{FF2B5EF4-FFF2-40B4-BE49-F238E27FC236}">
                <a16:creationId xmlns="" xmlns:a16="http://schemas.microsoft.com/office/drawing/2014/main" id="{A3687350-B775-43E1-B198-F36E948AAE78}"/>
              </a:ext>
            </a:extLst>
          </p:cNvPr>
          <p:cNvCxnSpPr/>
          <p:nvPr/>
        </p:nvCxnSpPr>
        <p:spPr>
          <a:xfrm>
            <a:off x="582462" y="5064751"/>
            <a:ext cx="11049123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矩形 55">
            <a:extLst>
              <a:ext uri="{FF2B5EF4-FFF2-40B4-BE49-F238E27FC236}">
                <a16:creationId xmlns="" xmlns:a16="http://schemas.microsoft.com/office/drawing/2014/main" id="{27BB5CB8-EAE6-45CC-AF3C-7921E7BE44FA}"/>
              </a:ext>
            </a:extLst>
          </p:cNvPr>
          <p:cNvSpPr/>
          <p:nvPr/>
        </p:nvSpPr>
        <p:spPr>
          <a:xfrm>
            <a:off x="1375511" y="5216978"/>
            <a:ext cx="10265772" cy="1084068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marL="609539" lvl="1" defTabSz="1219078" fontAlgn="ctr"/>
            <a:endParaRPr lang="en-US" altLang="zh-CN" sz="2399" noProof="1">
              <a:solidFill>
                <a:prstClr val="black"/>
              </a:solidFill>
              <a:latin typeface="Arial" panose="020B0604020202020204" pitchFamily="34" charset="0"/>
              <a:sym typeface="FrutigerNext LT Medium" pitchFamily="34" charset="0"/>
            </a:endParaRPr>
          </a:p>
        </p:txBody>
      </p:sp>
      <p:sp>
        <p:nvSpPr>
          <p:cNvPr id="57" name="副标题 1">
            <a:extLst>
              <a:ext uri="{FF2B5EF4-FFF2-40B4-BE49-F238E27FC236}">
                <a16:creationId xmlns="" xmlns:a16="http://schemas.microsoft.com/office/drawing/2014/main" id="{0DB8C89A-0F6F-4DE0-8E1B-70ED3FB3489A}"/>
              </a:ext>
            </a:extLst>
          </p:cNvPr>
          <p:cNvSpPr txBox="1">
            <a:spLocks/>
          </p:cNvSpPr>
          <p:nvPr/>
        </p:nvSpPr>
        <p:spPr>
          <a:xfrm>
            <a:off x="663838" y="5023204"/>
            <a:ext cx="515304" cy="1384033"/>
          </a:xfrm>
          <a:prstGeom prst="rect">
            <a:avLst/>
          </a:prstGeom>
        </p:spPr>
        <p:txBody>
          <a:bodyPr vert="vert270" wrap="square" lIns="0" tIns="0" rIns="0" bIns="0" anchor="ctr">
            <a:noAutofit/>
          </a:bodyPr>
          <a:lstStyle/>
          <a:p>
            <a:pPr algn="ctr" defTabSz="1218288" fontAlgn="ctr">
              <a:spcBef>
                <a:spcPct val="20000"/>
              </a:spcBef>
            </a:pPr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</a:rPr>
              <a:t>Device</a:t>
            </a:r>
            <a:endParaRPr lang="en-US" sz="20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="" xmlns:a16="http://schemas.microsoft.com/office/drawing/2014/main" id="{FD468F04-7D66-4A23-B70B-BD8D857A178B}"/>
              </a:ext>
            </a:extLst>
          </p:cNvPr>
          <p:cNvSpPr/>
          <p:nvPr/>
        </p:nvSpPr>
        <p:spPr>
          <a:xfrm>
            <a:off x="2449783" y="5295219"/>
            <a:ext cx="2200912" cy="946103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59" name="1498536199">
            <a:extLst>
              <a:ext uri="{FF2B5EF4-FFF2-40B4-BE49-F238E27FC236}">
                <a16:creationId xmlns="" xmlns:a16="http://schemas.microsoft.com/office/drawing/2014/main" id="{4307D0A4-6E08-44DE-945E-95383A909C10}"/>
              </a:ext>
            </a:extLst>
          </p:cNvPr>
          <p:cNvSpPr txBox="1">
            <a:spLocks/>
          </p:cNvSpPr>
          <p:nvPr/>
        </p:nvSpPr>
        <p:spPr>
          <a:xfrm>
            <a:off x="2584633" y="5372631"/>
            <a:ext cx="1840635" cy="53860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Broadband trunking terminal</a:t>
            </a:r>
          </a:p>
          <a:p>
            <a:pPr defTabSz="1219078" fontAlgn="ctr">
              <a:lnSpc>
                <a:spcPts val="1200"/>
              </a:lnSpc>
              <a:spcBef>
                <a:spcPts val="0"/>
              </a:spcBef>
              <a:defRPr/>
            </a:pPr>
            <a:r>
              <a:rPr lang="en-US" sz="1000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iF Design Award</a:t>
            </a:r>
            <a:endParaRPr lang="en-US" sz="1000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60" name="直接连接符 59">
            <a:extLst>
              <a:ext uri="{FF2B5EF4-FFF2-40B4-BE49-F238E27FC236}">
                <a16:creationId xmlns="" xmlns:a16="http://schemas.microsoft.com/office/drawing/2014/main" id="{E52D91A2-2A1E-4F61-9901-371B37BAE2FA}"/>
              </a:ext>
            </a:extLst>
          </p:cNvPr>
          <p:cNvCxnSpPr/>
          <p:nvPr/>
        </p:nvCxnSpPr>
        <p:spPr>
          <a:xfrm>
            <a:off x="8217567" y="5481281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sp>
        <p:nvSpPr>
          <p:cNvPr id="61" name="矩形 60">
            <a:extLst>
              <a:ext uri="{FF2B5EF4-FFF2-40B4-BE49-F238E27FC236}">
                <a16:creationId xmlns="" xmlns:a16="http://schemas.microsoft.com/office/drawing/2014/main" id="{880CBD82-77F4-40E0-91D7-A9B252B5DF1D}"/>
              </a:ext>
            </a:extLst>
          </p:cNvPr>
          <p:cNvSpPr/>
          <p:nvPr/>
        </p:nvSpPr>
        <p:spPr>
          <a:xfrm>
            <a:off x="5871909" y="5313736"/>
            <a:ext cx="2200912" cy="927586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62" name="1498536199">
            <a:extLst>
              <a:ext uri="{FF2B5EF4-FFF2-40B4-BE49-F238E27FC236}">
                <a16:creationId xmlns="" xmlns:a16="http://schemas.microsoft.com/office/drawing/2014/main" id="{2A3ACB9A-80FF-4C38-8166-B81F6E6CF554}"/>
              </a:ext>
            </a:extLst>
          </p:cNvPr>
          <p:cNvSpPr txBox="1">
            <a:spLocks/>
          </p:cNvSpPr>
          <p:nvPr/>
        </p:nvSpPr>
        <p:spPr>
          <a:xfrm>
            <a:off x="6006759" y="5372631"/>
            <a:ext cx="2066062" cy="7540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Videoconferencing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Market share of 40.3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%, ranking 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1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st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China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="" xmlns:a16="http://schemas.microsoft.com/office/drawing/2014/main" id="{63D6B9F6-41B2-42C3-BB4F-640E10482B54}"/>
              </a:ext>
            </a:extLst>
          </p:cNvPr>
          <p:cNvSpPr/>
          <p:nvPr/>
        </p:nvSpPr>
        <p:spPr>
          <a:xfrm>
            <a:off x="9294036" y="5312145"/>
            <a:ext cx="2200912" cy="910659"/>
          </a:xfrm>
          <a:prstGeom prst="rect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0" scaled="0"/>
          </a:gradFill>
          <a:ln w="9525">
            <a:gradFill>
              <a:gsLst>
                <a:gs pos="0">
                  <a:srgbClr val="00B0F0"/>
                </a:gs>
                <a:gs pos="100000">
                  <a:srgbClr val="00B0F0">
                    <a:alpha val="20000"/>
                  </a:srgbClr>
                </a:gs>
              </a:gsLst>
              <a:lin ang="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marL="2438156" lvl="4"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64" name="1498536199">
            <a:extLst>
              <a:ext uri="{FF2B5EF4-FFF2-40B4-BE49-F238E27FC236}">
                <a16:creationId xmlns="" xmlns:a16="http://schemas.microsoft.com/office/drawing/2014/main" id="{7C02AEA0-8DDC-4F46-9B58-B11E8825EFB7}"/>
              </a:ext>
            </a:extLst>
          </p:cNvPr>
          <p:cNvSpPr txBox="1">
            <a:spLocks/>
          </p:cNvSpPr>
          <p:nvPr/>
        </p:nvSpPr>
        <p:spPr>
          <a:xfrm>
            <a:off x="9391731" y="5352959"/>
            <a:ext cx="2103217" cy="9079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1219078" fontAlgn="ctr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i="0" dirty="0" smtClean="0">
                <a:solidFill>
                  <a:srgbClr val="1EF4F4"/>
                </a:solidFill>
                <a:latin typeface="Arial" panose="020B0604020202020204" pitchFamily="34" charset="0"/>
              </a:rPr>
              <a:t>Unified communications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Ranking 1</a:t>
            </a:r>
            <a:r>
              <a:rPr lang="en-US" sz="999" i="0" baseline="30000" dirty="0" smtClean="0">
                <a:solidFill>
                  <a:prstClr val="white"/>
                </a:solidFill>
                <a:latin typeface="Arial" panose="020B0604020202020204" pitchFamily="34" charset="0"/>
              </a:rPr>
              <a:t>st</a:t>
            </a: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 in China with the IP voice market share of 20.1% and call center of 17.1%</a:t>
            </a:r>
          </a:p>
          <a:p>
            <a:pPr defTabSz="1219078" fontAlgn="ctr">
              <a:lnSpc>
                <a:spcPts val="1200"/>
              </a:lnSpc>
              <a:defRPr/>
            </a:pPr>
            <a:r>
              <a:rPr lang="en-US" sz="999" i="0" dirty="0" smtClean="0">
                <a:solidFill>
                  <a:prstClr val="white"/>
                </a:solidFill>
                <a:latin typeface="Arial" panose="020B0604020202020204" pitchFamily="34" charset="0"/>
              </a:rPr>
              <a:t>Source: IDC</a:t>
            </a:r>
            <a:endParaRPr lang="en-US" sz="999" i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="" xmlns:a16="http://schemas.microsoft.com/office/drawing/2014/main" id="{23706BC8-3484-43BE-971C-88EE58C89997}"/>
              </a:ext>
            </a:extLst>
          </p:cNvPr>
          <p:cNvGrpSpPr/>
          <p:nvPr/>
        </p:nvGrpSpPr>
        <p:grpSpPr>
          <a:xfrm>
            <a:off x="1518059" y="2809594"/>
            <a:ext cx="833205" cy="833205"/>
            <a:chOff x="2178913" y="2905652"/>
            <a:chExt cx="833422" cy="833422"/>
          </a:xfrm>
        </p:grpSpPr>
        <p:pic>
          <p:nvPicPr>
            <p:cNvPr id="66" name="Picture 5" descr="E:\01 日常工作\04 展厅相关设计\2015年\PPT\主打胶片\源文件\images\10_16.png">
              <a:extLst>
                <a:ext uri="{FF2B5EF4-FFF2-40B4-BE49-F238E27FC236}">
                  <a16:creationId xmlns="" xmlns:a16="http://schemas.microsoft.com/office/drawing/2014/main" id="{AFDB142B-C10E-4785-91A1-45C5B20864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2178913" y="2905652"/>
              <a:ext cx="833422" cy="833422"/>
            </a:xfrm>
            <a:prstGeom prst="rect">
              <a:avLst/>
            </a:prstGeom>
            <a:noFill/>
          </p:spPr>
        </p:pic>
        <p:grpSp>
          <p:nvGrpSpPr>
            <p:cNvPr id="67" name="组合 229">
              <a:extLst>
                <a:ext uri="{FF2B5EF4-FFF2-40B4-BE49-F238E27FC236}">
                  <a16:creationId xmlns="" xmlns:a16="http://schemas.microsoft.com/office/drawing/2014/main" id="{B0FB6FAB-0464-40D0-9C5A-A6ADFA6FD18C}"/>
                </a:ext>
              </a:extLst>
            </p:cNvPr>
            <p:cNvGrpSpPr/>
            <p:nvPr/>
          </p:nvGrpSpPr>
          <p:grpSpPr>
            <a:xfrm>
              <a:off x="2317307" y="3053915"/>
              <a:ext cx="556635" cy="536897"/>
              <a:chOff x="2107931" y="2972111"/>
              <a:chExt cx="771035" cy="771035"/>
            </a:xfrm>
          </p:grpSpPr>
          <p:sp>
            <p:nvSpPr>
              <p:cNvPr id="68" name="椭圆 67">
                <a:extLst>
                  <a:ext uri="{FF2B5EF4-FFF2-40B4-BE49-F238E27FC236}">
                    <a16:creationId xmlns="" xmlns:a16="http://schemas.microsoft.com/office/drawing/2014/main" id="{8149263B-3247-4308-9590-158770BFCD54}"/>
                  </a:ext>
                </a:extLst>
              </p:cNvPr>
              <p:cNvSpPr/>
              <p:nvPr/>
            </p:nvSpPr>
            <p:spPr>
              <a:xfrm>
                <a:off x="2107931" y="2972111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69" name="组合 144">
                <a:extLst>
                  <a:ext uri="{FF2B5EF4-FFF2-40B4-BE49-F238E27FC236}">
                    <a16:creationId xmlns="" xmlns:a16="http://schemas.microsoft.com/office/drawing/2014/main" id="{A8A9159B-A9A5-4D96-80EF-3AFE86EF3C60}"/>
                  </a:ext>
                </a:extLst>
              </p:cNvPr>
              <p:cNvGrpSpPr/>
              <p:nvPr/>
            </p:nvGrpSpPr>
            <p:grpSpPr>
              <a:xfrm>
                <a:off x="2245213" y="3219653"/>
                <a:ext cx="531291" cy="277995"/>
                <a:chOff x="279174" y="7074581"/>
                <a:chExt cx="1604963" cy="839788"/>
              </a:xfrm>
              <a:solidFill>
                <a:schemeClr val="bg1"/>
              </a:solidFill>
            </p:grpSpPr>
            <p:sp>
              <p:nvSpPr>
                <p:cNvPr id="70" name="Rectangle 41">
                  <a:extLst>
                    <a:ext uri="{FF2B5EF4-FFF2-40B4-BE49-F238E27FC236}">
                      <a16:creationId xmlns="" xmlns:a16="http://schemas.microsoft.com/office/drawing/2014/main" id="{BF93901C-AD24-47C9-96AD-3074458BF0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68211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1" name="Rectangle 42">
                  <a:extLst>
                    <a:ext uri="{FF2B5EF4-FFF2-40B4-BE49-F238E27FC236}">
                      <a16:creationId xmlns="" xmlns:a16="http://schemas.microsoft.com/office/drawing/2014/main" id="{9442E273-30A6-4766-B5BE-BEF3BA78BD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87274" y="7153956"/>
                  <a:ext cx="46038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2" name="Rectangle 43">
                  <a:extLst>
                    <a:ext uri="{FF2B5EF4-FFF2-40B4-BE49-F238E27FC236}">
                      <a16:creationId xmlns="" xmlns:a16="http://schemas.microsoft.com/office/drawing/2014/main" id="{4FEBA7C3-8676-4682-B885-CB932655F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7924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3" name="Rectangle 44">
                  <a:extLst>
                    <a:ext uri="{FF2B5EF4-FFF2-40B4-BE49-F238E27FC236}">
                      <a16:creationId xmlns="" xmlns:a16="http://schemas.microsoft.com/office/drawing/2014/main" id="{FC3AE602-2FA1-4640-927F-9237FFDF28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68211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" name="Rectangle 45">
                  <a:extLst>
                    <a:ext uri="{FF2B5EF4-FFF2-40B4-BE49-F238E27FC236}">
                      <a16:creationId xmlns="" xmlns:a16="http://schemas.microsoft.com/office/drawing/2014/main" id="{01DBEEAF-0CDC-4ED3-8A49-760A7F9FC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47561" y="76032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" name="Rectangle 46">
                  <a:extLst>
                    <a:ext uri="{FF2B5EF4-FFF2-40B4-BE49-F238E27FC236}">
                      <a16:creationId xmlns="" xmlns:a16="http://schemas.microsoft.com/office/drawing/2014/main" id="{A32DA5C6-8730-4DEE-BB2F-D6830B4FC8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47561" y="7153956"/>
                  <a:ext cx="46038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6" name="Freeform 47">
                  <a:extLst>
                    <a:ext uri="{FF2B5EF4-FFF2-40B4-BE49-F238E27FC236}">
                      <a16:creationId xmlns="" xmlns:a16="http://schemas.microsoft.com/office/drawing/2014/main" id="{12092B64-7018-48DB-B2C5-7AC005D773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174" y="7525431"/>
                  <a:ext cx="1604963" cy="388938"/>
                </a:xfrm>
                <a:custGeom>
                  <a:avLst/>
                  <a:gdLst/>
                  <a:ahLst/>
                  <a:cxnLst>
                    <a:cxn ang="0">
                      <a:pos x="19" y="104"/>
                    </a:cxn>
                    <a:cxn ang="0">
                      <a:pos x="409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7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19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7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7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19" y="104"/>
                      </a:moveTo>
                      <a:cubicBezTo>
                        <a:pt x="409" y="104"/>
                        <a:pt x="409" y="104"/>
                        <a:pt x="409" y="104"/>
                      </a:cubicBezTo>
                      <a:cubicBezTo>
                        <a:pt x="419" y="103"/>
                        <a:pt x="428" y="94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9" y="0"/>
                        <a:pt x="40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4"/>
                        <a:pt x="9" y="103"/>
                        <a:pt x="19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7" y="12"/>
                        <a:pt x="407" y="12"/>
                        <a:pt x="407" y="12"/>
                      </a:cubicBezTo>
                      <a:cubicBezTo>
                        <a:pt x="412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2" y="92"/>
                        <a:pt x="407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" name="Freeform 48">
                  <a:extLst>
                    <a:ext uri="{FF2B5EF4-FFF2-40B4-BE49-F238E27FC236}">
                      <a16:creationId xmlns="" xmlns:a16="http://schemas.microsoft.com/office/drawing/2014/main" id="{41EAAB5B-DF9E-450B-8A03-C89F1CA6D7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5061" y="7630206"/>
                  <a:ext cx="184150" cy="179388"/>
                </a:xfrm>
                <a:custGeom>
                  <a:avLst/>
                  <a:gdLst/>
                  <a:ahLst/>
                  <a:cxnLst>
                    <a:cxn ang="0">
                      <a:pos x="24" y="48"/>
                    </a:cxn>
                    <a:cxn ang="0">
                      <a:pos x="49" y="24"/>
                    </a:cxn>
                    <a:cxn ang="0">
                      <a:pos x="24" y="0"/>
                    </a:cxn>
                    <a:cxn ang="0">
                      <a:pos x="0" y="24"/>
                    </a:cxn>
                    <a:cxn ang="0">
                      <a:pos x="24" y="48"/>
                    </a:cxn>
                    <a:cxn ang="0">
                      <a:pos x="24" y="12"/>
                    </a:cxn>
                    <a:cxn ang="0">
                      <a:pos x="37" y="24"/>
                    </a:cxn>
                    <a:cxn ang="0">
                      <a:pos x="24" y="36"/>
                    </a:cxn>
                    <a:cxn ang="0">
                      <a:pos x="12" y="24"/>
                    </a:cxn>
                    <a:cxn ang="0">
                      <a:pos x="24" y="12"/>
                    </a:cxn>
                  </a:cxnLst>
                  <a:rect l="0" t="0" r="r" b="b"/>
                  <a:pathLst>
                    <a:path w="49" h="48">
                      <a:moveTo>
                        <a:pt x="24" y="48"/>
                      </a:moveTo>
                      <a:cubicBezTo>
                        <a:pt x="38" y="48"/>
                        <a:pt x="49" y="37"/>
                        <a:pt x="49" y="24"/>
                      </a:cubicBezTo>
                      <a:cubicBezTo>
                        <a:pt x="49" y="10"/>
                        <a:pt x="38" y="0"/>
                        <a:pt x="24" y="0"/>
                      </a:cubicBezTo>
                      <a:cubicBezTo>
                        <a:pt x="11" y="0"/>
                        <a:pt x="0" y="10"/>
                        <a:pt x="0" y="24"/>
                      </a:cubicBezTo>
                      <a:cubicBezTo>
                        <a:pt x="0" y="37"/>
                        <a:pt x="11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31" y="12"/>
                        <a:pt x="37" y="17"/>
                        <a:pt x="37" y="24"/>
                      </a:cubicBezTo>
                      <a:cubicBezTo>
                        <a:pt x="37" y="31"/>
                        <a:pt x="31" y="36"/>
                        <a:pt x="24" y="36"/>
                      </a:cubicBezTo>
                      <a:cubicBezTo>
                        <a:pt x="17" y="36"/>
                        <a:pt x="12" y="31"/>
                        <a:pt x="12" y="24"/>
                      </a:cubicBezTo>
                      <a:cubicBezTo>
                        <a:pt x="12" y="17"/>
                        <a:pt x="17" y="12"/>
                        <a:pt x="24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8" name="Rectangle 49">
                  <a:extLst>
                    <a:ext uri="{FF2B5EF4-FFF2-40B4-BE49-F238E27FC236}">
                      <a16:creationId xmlns="" xmlns:a16="http://schemas.microsoft.com/office/drawing/2014/main" id="{71344423-CCED-4C24-B296-5821071E4F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8499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" name="Rectangle 50">
                  <a:extLst>
                    <a:ext uri="{FF2B5EF4-FFF2-40B4-BE49-F238E27FC236}">
                      <a16:creationId xmlns="" xmlns:a16="http://schemas.microsoft.com/office/drawing/2014/main" id="{7E0D2B4B-E100-4BFC-ABDF-F5A5509CE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8499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" name="Freeform 51">
                  <a:extLst>
                    <a:ext uri="{FF2B5EF4-FFF2-40B4-BE49-F238E27FC236}">
                      <a16:creationId xmlns="" xmlns:a16="http://schemas.microsoft.com/office/drawing/2014/main" id="{6F5B3283-F32D-4EAA-A6DA-DD8623C730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5061" y="717935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4" y="49"/>
                    </a:cxn>
                    <a:cxn ang="0">
                      <a:pos x="49" y="24"/>
                    </a:cxn>
                    <a:cxn ang="0">
                      <a:pos x="24" y="0"/>
                    </a:cxn>
                    <a:cxn ang="0">
                      <a:pos x="0" y="24"/>
                    </a:cxn>
                    <a:cxn ang="0">
                      <a:pos x="24" y="49"/>
                    </a:cxn>
                    <a:cxn ang="0">
                      <a:pos x="24" y="12"/>
                    </a:cxn>
                    <a:cxn ang="0">
                      <a:pos x="37" y="24"/>
                    </a:cxn>
                    <a:cxn ang="0">
                      <a:pos x="24" y="36"/>
                    </a:cxn>
                    <a:cxn ang="0">
                      <a:pos x="12" y="24"/>
                    </a:cxn>
                    <a:cxn ang="0">
                      <a:pos x="24" y="12"/>
                    </a:cxn>
                  </a:cxnLst>
                  <a:rect l="0" t="0" r="r" b="b"/>
                  <a:pathLst>
                    <a:path w="49" h="49">
                      <a:moveTo>
                        <a:pt x="24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4" y="49"/>
                      </a:cubicBezTo>
                      <a:close/>
                      <a:moveTo>
                        <a:pt x="24" y="12"/>
                      </a:moveTo>
                      <a:cubicBezTo>
                        <a:pt x="31" y="12"/>
                        <a:pt x="37" y="17"/>
                        <a:pt x="37" y="24"/>
                      </a:cubicBezTo>
                      <a:cubicBezTo>
                        <a:pt x="37" y="31"/>
                        <a:pt x="31" y="36"/>
                        <a:pt x="24" y="36"/>
                      </a:cubicBezTo>
                      <a:cubicBezTo>
                        <a:pt x="17" y="36"/>
                        <a:pt x="12" y="31"/>
                        <a:pt x="12" y="24"/>
                      </a:cubicBezTo>
                      <a:cubicBezTo>
                        <a:pt x="12" y="17"/>
                        <a:pt x="17" y="12"/>
                        <a:pt x="24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" name="Rectangle 52">
                  <a:extLst>
                    <a:ext uri="{FF2B5EF4-FFF2-40B4-BE49-F238E27FC236}">
                      <a16:creationId xmlns="" xmlns:a16="http://schemas.microsoft.com/office/drawing/2014/main" id="{08A8DBF1-3FB1-4A26-98A3-E041F6C07F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87274" y="76032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" name="Freeform 53">
                  <a:extLst>
                    <a:ext uri="{FF2B5EF4-FFF2-40B4-BE49-F238E27FC236}">
                      <a16:creationId xmlns="" xmlns:a16="http://schemas.microsoft.com/office/drawing/2014/main" id="{CB1FF4E9-4B05-4710-B6E6-E18A1C27A3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174" y="7074581"/>
                  <a:ext cx="1604963" cy="390525"/>
                </a:xfrm>
                <a:custGeom>
                  <a:avLst/>
                  <a:gdLst/>
                  <a:ahLst/>
                  <a:cxnLst>
                    <a:cxn ang="0">
                      <a:pos x="21" y="104"/>
                    </a:cxn>
                    <a:cxn ang="0">
                      <a:pos x="407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7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21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7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7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21" y="104"/>
                      </a:moveTo>
                      <a:cubicBezTo>
                        <a:pt x="407" y="104"/>
                        <a:pt x="407" y="104"/>
                        <a:pt x="407" y="104"/>
                      </a:cubicBezTo>
                      <a:cubicBezTo>
                        <a:pt x="419" y="104"/>
                        <a:pt x="428" y="95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9" y="0"/>
                        <a:pt x="40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5"/>
                        <a:pt x="9" y="104"/>
                        <a:pt x="21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7" y="12"/>
                        <a:pt x="407" y="12"/>
                        <a:pt x="407" y="12"/>
                      </a:cubicBezTo>
                      <a:cubicBezTo>
                        <a:pt x="412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2" y="92"/>
                        <a:pt x="407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3" name="Rectangle 54">
                  <a:extLst>
                    <a:ext uri="{FF2B5EF4-FFF2-40B4-BE49-F238E27FC236}">
                      <a16:creationId xmlns="" xmlns:a16="http://schemas.microsoft.com/office/drawing/2014/main" id="{2B0F3224-CC0B-4CE9-AD2D-42415AC62B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7924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84" name="组合 83">
            <a:extLst>
              <a:ext uri="{FF2B5EF4-FFF2-40B4-BE49-F238E27FC236}">
                <a16:creationId xmlns="" xmlns:a16="http://schemas.microsoft.com/office/drawing/2014/main" id="{EC73855B-E9CA-4B3D-ABD6-58018DAC9D4A}"/>
              </a:ext>
            </a:extLst>
          </p:cNvPr>
          <p:cNvGrpSpPr/>
          <p:nvPr/>
        </p:nvGrpSpPr>
        <p:grpSpPr>
          <a:xfrm>
            <a:off x="1518775" y="4033187"/>
            <a:ext cx="832489" cy="832488"/>
            <a:chOff x="1411306" y="3984768"/>
            <a:chExt cx="832706" cy="832705"/>
          </a:xfrm>
        </p:grpSpPr>
        <p:pic>
          <p:nvPicPr>
            <p:cNvPr id="85" name="Picture 9" descr="E:\01 日常工作\04 展厅相关设计\2015年\PPT\主打胶片\源文件\images\10_05.png">
              <a:extLst>
                <a:ext uri="{FF2B5EF4-FFF2-40B4-BE49-F238E27FC236}">
                  <a16:creationId xmlns="" xmlns:a16="http://schemas.microsoft.com/office/drawing/2014/main" id="{0144F1B2-40C7-4C3D-BCA2-609ACFE3DD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1411306" y="3984768"/>
              <a:ext cx="832706" cy="832705"/>
            </a:xfrm>
            <a:prstGeom prst="rect">
              <a:avLst/>
            </a:prstGeom>
            <a:noFill/>
          </p:spPr>
        </p:pic>
        <p:grpSp>
          <p:nvGrpSpPr>
            <p:cNvPr id="86" name="组合 230">
              <a:extLst>
                <a:ext uri="{FF2B5EF4-FFF2-40B4-BE49-F238E27FC236}">
                  <a16:creationId xmlns="" xmlns:a16="http://schemas.microsoft.com/office/drawing/2014/main" id="{C0BA406E-79D7-4984-B863-F73102906040}"/>
                </a:ext>
              </a:extLst>
            </p:cNvPr>
            <p:cNvGrpSpPr/>
            <p:nvPr/>
          </p:nvGrpSpPr>
          <p:grpSpPr>
            <a:xfrm>
              <a:off x="1549342" y="4132672"/>
              <a:ext cx="556635" cy="536897"/>
              <a:chOff x="2117075" y="4124049"/>
              <a:chExt cx="771035" cy="771035"/>
            </a:xfrm>
          </p:grpSpPr>
          <p:sp>
            <p:nvSpPr>
              <p:cNvPr id="87" name="椭圆 86">
                <a:extLst>
                  <a:ext uri="{FF2B5EF4-FFF2-40B4-BE49-F238E27FC236}">
                    <a16:creationId xmlns="" xmlns:a16="http://schemas.microsoft.com/office/drawing/2014/main" id="{D1928663-48A3-400A-AAD3-E1C8B8E77151}"/>
                  </a:ext>
                </a:extLst>
              </p:cNvPr>
              <p:cNvSpPr/>
              <p:nvPr/>
            </p:nvSpPr>
            <p:spPr>
              <a:xfrm>
                <a:off x="2117075" y="4124049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88" name="组合 81">
                <a:extLst>
                  <a:ext uri="{FF2B5EF4-FFF2-40B4-BE49-F238E27FC236}">
                    <a16:creationId xmlns="" xmlns:a16="http://schemas.microsoft.com/office/drawing/2014/main" id="{F6F2B03B-A9A5-4A47-90A5-129F2959D8F6}"/>
                  </a:ext>
                </a:extLst>
              </p:cNvPr>
              <p:cNvGrpSpPr/>
              <p:nvPr/>
            </p:nvGrpSpPr>
            <p:grpSpPr>
              <a:xfrm>
                <a:off x="2225156" y="4293780"/>
                <a:ext cx="617233" cy="483777"/>
                <a:chOff x="-3602038" y="6350001"/>
                <a:chExt cx="646113" cy="506412"/>
              </a:xfrm>
              <a:solidFill>
                <a:schemeClr val="bg1"/>
              </a:solidFill>
            </p:grpSpPr>
            <p:sp>
              <p:nvSpPr>
                <p:cNvPr id="89" name="Freeform 162">
                  <a:extLst>
                    <a:ext uri="{FF2B5EF4-FFF2-40B4-BE49-F238E27FC236}">
                      <a16:creationId xmlns="" xmlns:a16="http://schemas.microsoft.com/office/drawing/2014/main" id="{2D40E829-13DB-4D79-BC43-6E7FE7C210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441700" y="6494463"/>
                  <a:ext cx="285750" cy="361950"/>
                </a:xfrm>
                <a:custGeom>
                  <a:avLst/>
                  <a:gdLst/>
                  <a:ahLst/>
                  <a:cxnLst>
                    <a:cxn ang="0">
                      <a:pos x="64" y="20"/>
                    </a:cxn>
                    <a:cxn ang="0">
                      <a:pos x="70" y="11"/>
                    </a:cxn>
                    <a:cxn ang="0">
                      <a:pos x="59" y="0"/>
                    </a:cxn>
                    <a:cxn ang="0">
                      <a:pos x="48" y="11"/>
                    </a:cxn>
                    <a:cxn ang="0">
                      <a:pos x="54" y="20"/>
                    </a:cxn>
                    <a:cxn ang="0">
                      <a:pos x="54" y="20"/>
                    </a:cxn>
                    <a:cxn ang="0">
                      <a:pos x="26" y="83"/>
                    </a:cxn>
                    <a:cxn ang="0">
                      <a:pos x="26" y="83"/>
                    </a:cxn>
                    <a:cxn ang="0">
                      <a:pos x="25" y="84"/>
                    </a:cxn>
                    <a:cxn ang="0">
                      <a:pos x="0" y="139"/>
                    </a:cxn>
                    <a:cxn ang="0">
                      <a:pos x="5" y="143"/>
                    </a:cxn>
                    <a:cxn ang="0">
                      <a:pos x="54" y="110"/>
                    </a:cxn>
                    <a:cxn ang="0">
                      <a:pos x="54" y="148"/>
                    </a:cxn>
                    <a:cxn ang="0">
                      <a:pos x="64" y="148"/>
                    </a:cxn>
                    <a:cxn ang="0">
                      <a:pos x="64" y="111"/>
                    </a:cxn>
                    <a:cxn ang="0">
                      <a:pos x="112" y="143"/>
                    </a:cxn>
                    <a:cxn ang="0">
                      <a:pos x="114" y="142"/>
                    </a:cxn>
                    <a:cxn ang="0">
                      <a:pos x="114" y="144"/>
                    </a:cxn>
                    <a:cxn ang="0">
                      <a:pos x="114" y="142"/>
                    </a:cxn>
                    <a:cxn ang="0">
                      <a:pos x="117" y="139"/>
                    </a:cxn>
                    <a:cxn ang="0">
                      <a:pos x="64" y="20"/>
                    </a:cxn>
                    <a:cxn ang="0">
                      <a:pos x="54" y="97"/>
                    </a:cxn>
                    <a:cxn ang="0">
                      <a:pos x="33" y="84"/>
                    </a:cxn>
                    <a:cxn ang="0">
                      <a:pos x="54" y="37"/>
                    </a:cxn>
                    <a:cxn ang="0">
                      <a:pos x="54" y="97"/>
                    </a:cxn>
                    <a:cxn ang="0">
                      <a:pos x="30" y="90"/>
                    </a:cxn>
                    <a:cxn ang="0">
                      <a:pos x="52" y="104"/>
                    </a:cxn>
                    <a:cxn ang="0">
                      <a:pos x="11" y="131"/>
                    </a:cxn>
                    <a:cxn ang="0">
                      <a:pos x="30" y="90"/>
                    </a:cxn>
                    <a:cxn ang="0">
                      <a:pos x="66" y="104"/>
                    </a:cxn>
                    <a:cxn ang="0">
                      <a:pos x="88" y="90"/>
                    </a:cxn>
                    <a:cxn ang="0">
                      <a:pos x="106" y="131"/>
                    </a:cxn>
                    <a:cxn ang="0">
                      <a:pos x="66" y="104"/>
                    </a:cxn>
                    <a:cxn ang="0">
                      <a:pos x="85" y="83"/>
                    </a:cxn>
                    <a:cxn ang="0">
                      <a:pos x="64" y="97"/>
                    </a:cxn>
                    <a:cxn ang="0">
                      <a:pos x="64" y="37"/>
                    </a:cxn>
                    <a:cxn ang="0">
                      <a:pos x="85" y="83"/>
                    </a:cxn>
                  </a:cxnLst>
                  <a:rect l="0" t="0" r="r" b="b"/>
                  <a:pathLst>
                    <a:path w="117" h="148">
                      <a:moveTo>
                        <a:pt x="64" y="20"/>
                      </a:moveTo>
                      <a:cubicBezTo>
                        <a:pt x="68" y="18"/>
                        <a:pt x="70" y="15"/>
                        <a:pt x="70" y="11"/>
                      </a:cubicBezTo>
                      <a:cubicBezTo>
                        <a:pt x="70" y="5"/>
                        <a:pt x="65" y="0"/>
                        <a:pt x="59" y="0"/>
                      </a:cubicBezTo>
                      <a:cubicBezTo>
                        <a:pt x="53" y="0"/>
                        <a:pt x="48" y="5"/>
                        <a:pt x="48" y="11"/>
                      </a:cubicBezTo>
                      <a:cubicBezTo>
                        <a:pt x="48" y="15"/>
                        <a:pt x="51" y="18"/>
                        <a:pt x="54" y="20"/>
                      </a:cubicBezTo>
                      <a:cubicBezTo>
                        <a:pt x="54" y="20"/>
                        <a:pt x="54" y="20"/>
                        <a:pt x="54" y="20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3"/>
                        <a:pt x="25" y="83"/>
                        <a:pt x="25" y="84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5" y="143"/>
                        <a:pt x="5" y="143"/>
                        <a:pt x="5" y="143"/>
                      </a:cubicBezTo>
                      <a:cubicBezTo>
                        <a:pt x="54" y="110"/>
                        <a:pt x="54" y="110"/>
                        <a:pt x="54" y="110"/>
                      </a:cubicBezTo>
                      <a:cubicBezTo>
                        <a:pt x="54" y="148"/>
                        <a:pt x="54" y="148"/>
                        <a:pt x="54" y="148"/>
                      </a:cubicBezTo>
                      <a:cubicBezTo>
                        <a:pt x="64" y="148"/>
                        <a:pt x="64" y="148"/>
                        <a:pt x="64" y="148"/>
                      </a:cubicBezTo>
                      <a:cubicBezTo>
                        <a:pt x="64" y="111"/>
                        <a:pt x="64" y="111"/>
                        <a:pt x="64" y="111"/>
                      </a:cubicBezTo>
                      <a:cubicBezTo>
                        <a:pt x="112" y="143"/>
                        <a:pt x="112" y="143"/>
                        <a:pt x="112" y="143"/>
                      </a:cubicBezTo>
                      <a:cubicBezTo>
                        <a:pt x="114" y="142"/>
                        <a:pt x="114" y="142"/>
                        <a:pt x="114" y="142"/>
                      </a:cubicBezTo>
                      <a:cubicBezTo>
                        <a:pt x="114" y="144"/>
                        <a:pt x="114" y="144"/>
                        <a:pt x="114" y="144"/>
                      </a:cubicBezTo>
                      <a:cubicBezTo>
                        <a:pt x="114" y="142"/>
                        <a:pt x="114" y="142"/>
                        <a:pt x="114" y="142"/>
                      </a:cubicBezTo>
                      <a:cubicBezTo>
                        <a:pt x="117" y="139"/>
                        <a:pt x="117" y="139"/>
                        <a:pt x="117" y="139"/>
                      </a:cubicBezTo>
                      <a:cubicBezTo>
                        <a:pt x="64" y="20"/>
                        <a:pt x="64" y="20"/>
                        <a:pt x="64" y="20"/>
                      </a:cubicBezTo>
                      <a:close/>
                      <a:moveTo>
                        <a:pt x="54" y="97"/>
                      </a:moveTo>
                      <a:cubicBezTo>
                        <a:pt x="33" y="84"/>
                        <a:pt x="33" y="84"/>
                        <a:pt x="33" y="84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lnTo>
                        <a:pt x="54" y="97"/>
                      </a:lnTo>
                      <a:close/>
                      <a:moveTo>
                        <a:pt x="30" y="90"/>
                      </a:moveTo>
                      <a:cubicBezTo>
                        <a:pt x="52" y="104"/>
                        <a:pt x="52" y="104"/>
                        <a:pt x="52" y="104"/>
                      </a:cubicBezTo>
                      <a:cubicBezTo>
                        <a:pt x="11" y="131"/>
                        <a:pt x="11" y="131"/>
                        <a:pt x="11" y="131"/>
                      </a:cubicBezTo>
                      <a:lnTo>
                        <a:pt x="30" y="90"/>
                      </a:lnTo>
                      <a:close/>
                      <a:moveTo>
                        <a:pt x="66" y="104"/>
                      </a:moveTo>
                      <a:cubicBezTo>
                        <a:pt x="88" y="90"/>
                        <a:pt x="88" y="90"/>
                        <a:pt x="88" y="90"/>
                      </a:cubicBezTo>
                      <a:cubicBezTo>
                        <a:pt x="106" y="131"/>
                        <a:pt x="106" y="131"/>
                        <a:pt x="106" y="131"/>
                      </a:cubicBezTo>
                      <a:lnTo>
                        <a:pt x="66" y="104"/>
                      </a:lnTo>
                      <a:close/>
                      <a:moveTo>
                        <a:pt x="85" y="83"/>
                      </a:moveTo>
                      <a:cubicBezTo>
                        <a:pt x="64" y="97"/>
                        <a:pt x="64" y="97"/>
                        <a:pt x="64" y="97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lnTo>
                        <a:pt x="85" y="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0" name="Freeform 163">
                  <a:extLst>
                    <a:ext uri="{FF2B5EF4-FFF2-40B4-BE49-F238E27FC236}">
                      <a16:creationId xmlns="" xmlns:a16="http://schemas.microsoft.com/office/drawing/2014/main" id="{36C1FA6E-65D2-42D9-8990-593BCCC754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602038" y="6350001"/>
                  <a:ext cx="119063" cy="315913"/>
                </a:xfrm>
                <a:custGeom>
                  <a:avLst/>
                  <a:gdLst/>
                  <a:ahLst/>
                  <a:cxnLst>
                    <a:cxn ang="0">
                      <a:pos x="46" y="1"/>
                    </a:cxn>
                    <a:cxn ang="0">
                      <a:pos x="38" y="2"/>
                    </a:cxn>
                    <a:cxn ang="0">
                      <a:pos x="18" y="39"/>
                    </a:cxn>
                    <a:cxn ang="0">
                      <a:pos x="38" y="127"/>
                    </a:cxn>
                    <a:cxn ang="0">
                      <a:pos x="42" y="129"/>
                    </a:cxn>
                    <a:cxn ang="0">
                      <a:pos x="46" y="128"/>
                    </a:cxn>
                    <a:cxn ang="0">
                      <a:pos x="47" y="120"/>
                    </a:cxn>
                    <a:cxn ang="0">
                      <a:pos x="46" y="9"/>
                    </a:cxn>
                    <a:cxn ang="0">
                      <a:pos x="46" y="1"/>
                    </a:cxn>
                  </a:cxnLst>
                  <a:rect l="0" t="0" r="r" b="b"/>
                  <a:pathLst>
                    <a:path w="48" h="129">
                      <a:moveTo>
                        <a:pt x="46" y="1"/>
                      </a:moveTo>
                      <a:cubicBezTo>
                        <a:pt x="44" y="0"/>
                        <a:pt x="40" y="0"/>
                        <a:pt x="38" y="2"/>
                      </a:cubicBezTo>
                      <a:cubicBezTo>
                        <a:pt x="38" y="2"/>
                        <a:pt x="25" y="17"/>
                        <a:pt x="18" y="39"/>
                      </a:cubicBezTo>
                      <a:cubicBezTo>
                        <a:pt x="12" y="60"/>
                        <a:pt x="11" y="93"/>
                        <a:pt x="38" y="127"/>
                      </a:cubicBezTo>
                      <a:cubicBezTo>
                        <a:pt x="39" y="128"/>
                        <a:pt x="41" y="129"/>
                        <a:pt x="42" y="129"/>
                      </a:cubicBezTo>
                      <a:cubicBezTo>
                        <a:pt x="44" y="129"/>
                        <a:pt x="45" y="128"/>
                        <a:pt x="46" y="128"/>
                      </a:cubicBezTo>
                      <a:cubicBezTo>
                        <a:pt x="48" y="126"/>
                        <a:pt x="48" y="122"/>
                        <a:pt x="47" y="120"/>
                      </a:cubicBezTo>
                      <a:cubicBezTo>
                        <a:pt x="0" y="62"/>
                        <a:pt x="44" y="11"/>
                        <a:pt x="46" y="9"/>
                      </a:cubicBezTo>
                      <a:cubicBezTo>
                        <a:pt x="48" y="7"/>
                        <a:pt x="48" y="3"/>
                        <a:pt x="46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1" name="Freeform 164">
                  <a:extLst>
                    <a:ext uri="{FF2B5EF4-FFF2-40B4-BE49-F238E27FC236}">
                      <a16:creationId xmlns="" xmlns:a16="http://schemas.microsoft.com/office/drawing/2014/main" id="{A190BB4A-84E4-45F7-BFCB-A599412BFD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495675" y="6413501"/>
                  <a:ext cx="87313" cy="193675"/>
                </a:xfrm>
                <a:custGeom>
                  <a:avLst/>
                  <a:gdLst/>
                  <a:ahLst/>
                  <a:cxnLst>
                    <a:cxn ang="0">
                      <a:pos x="30" y="79"/>
                    </a:cxn>
                    <a:cxn ang="0">
                      <a:pos x="33" y="79"/>
                    </a:cxn>
                    <a:cxn ang="0">
                      <a:pos x="35" y="71"/>
                    </a:cxn>
                    <a:cxn ang="0">
                      <a:pos x="35" y="9"/>
                    </a:cxn>
                    <a:cxn ang="0">
                      <a:pos x="33" y="1"/>
                    </a:cxn>
                    <a:cxn ang="0">
                      <a:pos x="26" y="3"/>
                    </a:cxn>
                    <a:cxn ang="0">
                      <a:pos x="26" y="77"/>
                    </a:cxn>
                    <a:cxn ang="0">
                      <a:pos x="30" y="79"/>
                    </a:cxn>
                  </a:cxnLst>
                  <a:rect l="0" t="0" r="r" b="b"/>
                  <a:pathLst>
                    <a:path w="36" h="79">
                      <a:moveTo>
                        <a:pt x="30" y="79"/>
                      </a:moveTo>
                      <a:cubicBezTo>
                        <a:pt x="31" y="79"/>
                        <a:pt x="32" y="79"/>
                        <a:pt x="33" y="79"/>
                      </a:cubicBezTo>
                      <a:cubicBezTo>
                        <a:pt x="36" y="77"/>
                        <a:pt x="36" y="74"/>
                        <a:pt x="35" y="71"/>
                      </a:cubicBezTo>
                      <a:cubicBezTo>
                        <a:pt x="13" y="39"/>
                        <a:pt x="34" y="10"/>
                        <a:pt x="35" y="9"/>
                      </a:cubicBezTo>
                      <a:cubicBezTo>
                        <a:pt x="36" y="6"/>
                        <a:pt x="36" y="3"/>
                        <a:pt x="33" y="1"/>
                      </a:cubicBezTo>
                      <a:cubicBezTo>
                        <a:pt x="31" y="0"/>
                        <a:pt x="28" y="0"/>
                        <a:pt x="26" y="3"/>
                      </a:cubicBezTo>
                      <a:cubicBezTo>
                        <a:pt x="26" y="3"/>
                        <a:pt x="0" y="38"/>
                        <a:pt x="26" y="77"/>
                      </a:cubicBezTo>
                      <a:cubicBezTo>
                        <a:pt x="27" y="79"/>
                        <a:pt x="28" y="79"/>
                        <a:pt x="30" y="7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2" name="Freeform 165">
                  <a:extLst>
                    <a:ext uri="{FF2B5EF4-FFF2-40B4-BE49-F238E27FC236}">
                      <a16:creationId xmlns="" xmlns:a16="http://schemas.microsoft.com/office/drawing/2014/main" id="{C46F3732-7D01-40A2-AA0E-34EDC4F5D2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189288" y="6413501"/>
                  <a:ext cx="87313" cy="193675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2" y="9"/>
                    </a:cxn>
                    <a:cxn ang="0">
                      <a:pos x="2" y="71"/>
                    </a:cxn>
                    <a:cxn ang="0">
                      <a:pos x="3" y="79"/>
                    </a:cxn>
                    <a:cxn ang="0">
                      <a:pos x="6" y="79"/>
                    </a:cxn>
                    <a:cxn ang="0">
                      <a:pos x="11" y="77"/>
                    </a:cxn>
                    <a:cxn ang="0">
                      <a:pos x="11" y="3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36" h="79">
                      <a:moveTo>
                        <a:pt x="3" y="1"/>
                      </a:moveTo>
                      <a:cubicBezTo>
                        <a:pt x="1" y="3"/>
                        <a:pt x="0" y="7"/>
                        <a:pt x="2" y="9"/>
                      </a:cubicBezTo>
                      <a:cubicBezTo>
                        <a:pt x="2" y="9"/>
                        <a:pt x="24" y="38"/>
                        <a:pt x="2" y="71"/>
                      </a:cubicBezTo>
                      <a:cubicBezTo>
                        <a:pt x="0" y="74"/>
                        <a:pt x="1" y="77"/>
                        <a:pt x="3" y="79"/>
                      </a:cubicBezTo>
                      <a:cubicBezTo>
                        <a:pt x="4" y="79"/>
                        <a:pt x="5" y="79"/>
                        <a:pt x="6" y="79"/>
                      </a:cubicBezTo>
                      <a:cubicBezTo>
                        <a:pt x="8" y="79"/>
                        <a:pt x="10" y="79"/>
                        <a:pt x="11" y="77"/>
                      </a:cubicBezTo>
                      <a:cubicBezTo>
                        <a:pt x="36" y="38"/>
                        <a:pt x="11" y="3"/>
                        <a:pt x="11" y="3"/>
                      </a:cubicBezTo>
                      <a:cubicBezTo>
                        <a:pt x="9" y="0"/>
                        <a:pt x="6" y="0"/>
                        <a:pt x="3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3" name="Freeform 166">
                  <a:extLst>
                    <a:ext uri="{FF2B5EF4-FFF2-40B4-BE49-F238E27FC236}">
                      <a16:creationId xmlns="" xmlns:a16="http://schemas.microsoft.com/office/drawing/2014/main" id="{3DDA20A9-3C09-4694-AD26-048149F34F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111500" y="6350001"/>
                  <a:ext cx="155575" cy="315913"/>
                </a:xfrm>
                <a:custGeom>
                  <a:avLst/>
                  <a:gdLst/>
                  <a:ahLst/>
                  <a:cxnLst>
                    <a:cxn ang="0">
                      <a:pos x="10" y="2"/>
                    </a:cxn>
                    <a:cxn ang="0">
                      <a:pos x="3" y="1"/>
                    </a:cxn>
                    <a:cxn ang="0">
                      <a:pos x="2" y="9"/>
                    </a:cxn>
                    <a:cxn ang="0">
                      <a:pos x="2" y="120"/>
                    </a:cxn>
                    <a:cxn ang="0">
                      <a:pos x="3" y="128"/>
                    </a:cxn>
                    <a:cxn ang="0">
                      <a:pos x="6" y="129"/>
                    </a:cxn>
                    <a:cxn ang="0">
                      <a:pos x="10" y="127"/>
                    </a:cxn>
                    <a:cxn ang="0">
                      <a:pos x="10" y="2"/>
                    </a:cxn>
                  </a:cxnLst>
                  <a:rect l="0" t="0" r="r" b="b"/>
                  <a:pathLst>
                    <a:path w="63" h="129">
                      <a:moveTo>
                        <a:pt x="10" y="2"/>
                      </a:moveTo>
                      <a:cubicBezTo>
                        <a:pt x="8" y="0"/>
                        <a:pt x="5" y="0"/>
                        <a:pt x="3" y="1"/>
                      </a:cubicBezTo>
                      <a:cubicBezTo>
                        <a:pt x="0" y="3"/>
                        <a:pt x="0" y="7"/>
                        <a:pt x="2" y="9"/>
                      </a:cubicBezTo>
                      <a:cubicBezTo>
                        <a:pt x="4" y="11"/>
                        <a:pt x="49" y="62"/>
                        <a:pt x="2" y="120"/>
                      </a:cubicBezTo>
                      <a:cubicBezTo>
                        <a:pt x="0" y="122"/>
                        <a:pt x="1" y="126"/>
                        <a:pt x="3" y="128"/>
                      </a:cubicBezTo>
                      <a:cubicBezTo>
                        <a:pt x="4" y="128"/>
                        <a:pt x="5" y="129"/>
                        <a:pt x="6" y="129"/>
                      </a:cubicBezTo>
                      <a:cubicBezTo>
                        <a:pt x="8" y="129"/>
                        <a:pt x="9" y="128"/>
                        <a:pt x="10" y="127"/>
                      </a:cubicBezTo>
                      <a:cubicBezTo>
                        <a:pt x="63" y="61"/>
                        <a:pt x="11" y="2"/>
                        <a:pt x="10" y="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94" name="组合 93">
            <a:extLst>
              <a:ext uri="{FF2B5EF4-FFF2-40B4-BE49-F238E27FC236}">
                <a16:creationId xmlns="" xmlns:a16="http://schemas.microsoft.com/office/drawing/2014/main" id="{1997896F-4FAA-4623-B5E0-BDFF7FCE0B81}"/>
              </a:ext>
            </a:extLst>
          </p:cNvPr>
          <p:cNvGrpSpPr/>
          <p:nvPr/>
        </p:nvGrpSpPr>
        <p:grpSpPr>
          <a:xfrm>
            <a:off x="1515344" y="5320242"/>
            <a:ext cx="835920" cy="829124"/>
            <a:chOff x="1409590" y="5189838"/>
            <a:chExt cx="836138" cy="829340"/>
          </a:xfrm>
        </p:grpSpPr>
        <p:pic>
          <p:nvPicPr>
            <p:cNvPr id="95" name="Picture 3" descr="C:\Users\z00124665\Desktop\未标题-3.jpg">
              <a:extLst>
                <a:ext uri="{FF2B5EF4-FFF2-40B4-BE49-F238E27FC236}">
                  <a16:creationId xmlns="" xmlns:a16="http://schemas.microsoft.com/office/drawing/2014/main" id="{DDF9DA4D-0784-4843-9CFE-328C6C8A67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-10000"/>
            </a:blip>
            <a:srcRect/>
            <a:stretch>
              <a:fillRect/>
            </a:stretch>
          </p:blipFill>
          <p:spPr bwMode="auto">
            <a:xfrm>
              <a:off x="1409590" y="5189838"/>
              <a:ext cx="836138" cy="829340"/>
            </a:xfrm>
            <a:prstGeom prst="rect">
              <a:avLst/>
            </a:prstGeom>
            <a:noFill/>
          </p:spPr>
        </p:pic>
        <p:grpSp>
          <p:nvGrpSpPr>
            <p:cNvPr id="96" name="组合 231">
              <a:extLst>
                <a:ext uri="{FF2B5EF4-FFF2-40B4-BE49-F238E27FC236}">
                  <a16:creationId xmlns="" xmlns:a16="http://schemas.microsoft.com/office/drawing/2014/main" id="{2943138B-AFB9-4E4C-8F30-B29390367E69}"/>
                </a:ext>
              </a:extLst>
            </p:cNvPr>
            <p:cNvGrpSpPr/>
            <p:nvPr/>
          </p:nvGrpSpPr>
          <p:grpSpPr>
            <a:xfrm>
              <a:off x="1549342" y="5336059"/>
              <a:ext cx="556635" cy="536898"/>
              <a:chOff x="2127923" y="5420735"/>
              <a:chExt cx="771035" cy="771036"/>
            </a:xfrm>
          </p:grpSpPr>
          <p:sp>
            <p:nvSpPr>
              <p:cNvPr id="97" name="椭圆 96">
                <a:extLst>
                  <a:ext uri="{FF2B5EF4-FFF2-40B4-BE49-F238E27FC236}">
                    <a16:creationId xmlns="" xmlns:a16="http://schemas.microsoft.com/office/drawing/2014/main" id="{8DE584F2-97E9-437F-A30C-A608A9EF6DDC}"/>
                  </a:ext>
                </a:extLst>
              </p:cNvPr>
              <p:cNvSpPr/>
              <p:nvPr/>
            </p:nvSpPr>
            <p:spPr>
              <a:xfrm>
                <a:off x="2127923" y="5420735"/>
                <a:ext cx="771035" cy="771036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组合 181">
                <a:extLst>
                  <a:ext uri="{FF2B5EF4-FFF2-40B4-BE49-F238E27FC236}">
                    <a16:creationId xmlns="" xmlns:a16="http://schemas.microsoft.com/office/drawing/2014/main" id="{F4253C0A-A464-47B1-99B3-A3D591A77CBC}"/>
                  </a:ext>
                </a:extLst>
              </p:cNvPr>
              <p:cNvGrpSpPr/>
              <p:nvPr/>
            </p:nvGrpSpPr>
            <p:grpSpPr>
              <a:xfrm flipH="1">
                <a:off x="2384951" y="5479486"/>
                <a:ext cx="248473" cy="620713"/>
                <a:chOff x="3338514" y="2551113"/>
                <a:chExt cx="420688" cy="1050925"/>
              </a:xfrm>
              <a:solidFill>
                <a:schemeClr val="bg1"/>
              </a:solidFill>
            </p:grpSpPr>
            <p:sp>
              <p:nvSpPr>
                <p:cNvPr id="99" name="Freeform 150">
                  <a:extLst>
                    <a:ext uri="{FF2B5EF4-FFF2-40B4-BE49-F238E27FC236}">
                      <a16:creationId xmlns="" xmlns:a16="http://schemas.microsoft.com/office/drawing/2014/main" id="{8231A6C0-6657-40DE-91C1-97E852D043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38514" y="2551113"/>
                  <a:ext cx="420688" cy="1050925"/>
                </a:xfrm>
                <a:custGeom>
                  <a:avLst/>
                  <a:gdLst/>
                  <a:ahLst/>
                  <a:cxnLst>
                    <a:cxn ang="0">
                      <a:pos x="152" y="434"/>
                    </a:cxn>
                    <a:cxn ang="0">
                      <a:pos x="22" y="434"/>
                    </a:cxn>
                    <a:cxn ang="0">
                      <a:pos x="0" y="412"/>
                    </a:cxn>
                    <a:cxn ang="0">
                      <a:pos x="0" y="195"/>
                    </a:cxn>
                    <a:cxn ang="0">
                      <a:pos x="1" y="173"/>
                    </a:cxn>
                    <a:cxn ang="0">
                      <a:pos x="4" y="6"/>
                    </a:cxn>
                    <a:cxn ang="0">
                      <a:pos x="9" y="0"/>
                    </a:cxn>
                    <a:cxn ang="0">
                      <a:pos x="31" y="0"/>
                    </a:cxn>
                    <a:cxn ang="0">
                      <a:pos x="36" y="6"/>
                    </a:cxn>
                    <a:cxn ang="0">
                      <a:pos x="39" y="172"/>
                    </a:cxn>
                    <a:cxn ang="0">
                      <a:pos x="107" y="172"/>
                    </a:cxn>
                    <a:cxn ang="0">
                      <a:pos x="107" y="165"/>
                    </a:cxn>
                    <a:cxn ang="0">
                      <a:pos x="112" y="160"/>
                    </a:cxn>
                    <a:cxn ang="0">
                      <a:pos x="146" y="160"/>
                    </a:cxn>
                    <a:cxn ang="0">
                      <a:pos x="151" y="165"/>
                    </a:cxn>
                    <a:cxn ang="0">
                      <a:pos x="151" y="172"/>
                    </a:cxn>
                    <a:cxn ang="0">
                      <a:pos x="152" y="172"/>
                    </a:cxn>
                    <a:cxn ang="0">
                      <a:pos x="174" y="195"/>
                    </a:cxn>
                    <a:cxn ang="0">
                      <a:pos x="174" y="412"/>
                    </a:cxn>
                    <a:cxn ang="0">
                      <a:pos x="152" y="434"/>
                    </a:cxn>
                    <a:cxn ang="0">
                      <a:pos x="10" y="6"/>
                    </a:cxn>
                    <a:cxn ang="0">
                      <a:pos x="10" y="6"/>
                    </a:cxn>
                    <a:cxn ang="0">
                      <a:pos x="7" y="173"/>
                    </a:cxn>
                    <a:cxn ang="0">
                      <a:pos x="6" y="195"/>
                    </a:cxn>
                    <a:cxn ang="0">
                      <a:pos x="6" y="412"/>
                    </a:cxn>
                    <a:cxn ang="0">
                      <a:pos x="22" y="428"/>
                    </a:cxn>
                    <a:cxn ang="0">
                      <a:pos x="152" y="428"/>
                    </a:cxn>
                    <a:cxn ang="0">
                      <a:pos x="168" y="412"/>
                    </a:cxn>
                    <a:cxn ang="0">
                      <a:pos x="168" y="195"/>
                    </a:cxn>
                    <a:cxn ang="0">
                      <a:pos x="152" y="178"/>
                    </a:cxn>
                    <a:cxn ang="0">
                      <a:pos x="145" y="178"/>
                    </a:cxn>
                    <a:cxn ang="0">
                      <a:pos x="145" y="166"/>
                    </a:cxn>
                    <a:cxn ang="0">
                      <a:pos x="113" y="166"/>
                    </a:cxn>
                    <a:cxn ang="0">
                      <a:pos x="113" y="178"/>
                    </a:cxn>
                    <a:cxn ang="0">
                      <a:pos x="33" y="178"/>
                    </a:cxn>
                    <a:cxn ang="0">
                      <a:pos x="30" y="6"/>
                    </a:cxn>
                    <a:cxn ang="0">
                      <a:pos x="30" y="6"/>
                    </a:cxn>
                    <a:cxn ang="0">
                      <a:pos x="10" y="6"/>
                    </a:cxn>
                  </a:cxnLst>
                  <a:rect l="0" t="0" r="r" b="b"/>
                  <a:pathLst>
                    <a:path w="174" h="434">
                      <a:moveTo>
                        <a:pt x="152" y="434"/>
                      </a:moveTo>
                      <a:cubicBezTo>
                        <a:pt x="22" y="434"/>
                        <a:pt x="22" y="434"/>
                        <a:pt x="22" y="434"/>
                      </a:cubicBezTo>
                      <a:cubicBezTo>
                        <a:pt x="10" y="434"/>
                        <a:pt x="0" y="425"/>
                        <a:pt x="0" y="412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0" y="194"/>
                        <a:pt x="1" y="186"/>
                        <a:pt x="1" y="173"/>
                      </a:cubicBezTo>
                      <a:cubicBezTo>
                        <a:pt x="2" y="134"/>
                        <a:pt x="3" y="52"/>
                        <a:pt x="4" y="6"/>
                      </a:cubicBezTo>
                      <a:cubicBezTo>
                        <a:pt x="4" y="2"/>
                        <a:pt x="6" y="0"/>
                        <a:pt x="9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4" y="0"/>
                        <a:pt x="36" y="3"/>
                        <a:pt x="36" y="6"/>
                      </a:cubicBezTo>
                      <a:cubicBezTo>
                        <a:pt x="39" y="172"/>
                        <a:pt x="39" y="172"/>
                        <a:pt x="39" y="172"/>
                      </a:cubicBezTo>
                      <a:cubicBezTo>
                        <a:pt x="107" y="172"/>
                        <a:pt x="107" y="172"/>
                        <a:pt x="107" y="172"/>
                      </a:cubicBezTo>
                      <a:cubicBezTo>
                        <a:pt x="107" y="165"/>
                        <a:pt x="107" y="165"/>
                        <a:pt x="107" y="165"/>
                      </a:cubicBezTo>
                      <a:cubicBezTo>
                        <a:pt x="107" y="162"/>
                        <a:pt x="109" y="160"/>
                        <a:pt x="112" y="160"/>
                      </a:cubicBezTo>
                      <a:cubicBezTo>
                        <a:pt x="146" y="160"/>
                        <a:pt x="146" y="160"/>
                        <a:pt x="146" y="160"/>
                      </a:cubicBezTo>
                      <a:cubicBezTo>
                        <a:pt x="149" y="160"/>
                        <a:pt x="151" y="162"/>
                        <a:pt x="151" y="165"/>
                      </a:cubicBezTo>
                      <a:cubicBezTo>
                        <a:pt x="151" y="172"/>
                        <a:pt x="151" y="172"/>
                        <a:pt x="151" y="172"/>
                      </a:cubicBezTo>
                      <a:cubicBezTo>
                        <a:pt x="152" y="172"/>
                        <a:pt x="152" y="172"/>
                        <a:pt x="152" y="172"/>
                      </a:cubicBezTo>
                      <a:cubicBezTo>
                        <a:pt x="164" y="172"/>
                        <a:pt x="174" y="182"/>
                        <a:pt x="174" y="195"/>
                      </a:cubicBezTo>
                      <a:cubicBezTo>
                        <a:pt x="174" y="412"/>
                        <a:pt x="174" y="412"/>
                        <a:pt x="174" y="412"/>
                      </a:cubicBezTo>
                      <a:cubicBezTo>
                        <a:pt x="174" y="425"/>
                        <a:pt x="164" y="434"/>
                        <a:pt x="152" y="434"/>
                      </a:cubicBezTo>
                      <a:close/>
                      <a:moveTo>
                        <a:pt x="10" y="6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9" y="52"/>
                        <a:pt x="8" y="134"/>
                        <a:pt x="7" y="173"/>
                      </a:cubicBezTo>
                      <a:cubicBezTo>
                        <a:pt x="7" y="186"/>
                        <a:pt x="6" y="194"/>
                        <a:pt x="6" y="195"/>
                      </a:cubicBezTo>
                      <a:cubicBezTo>
                        <a:pt x="6" y="412"/>
                        <a:pt x="6" y="412"/>
                        <a:pt x="6" y="412"/>
                      </a:cubicBezTo>
                      <a:cubicBezTo>
                        <a:pt x="6" y="421"/>
                        <a:pt x="14" y="428"/>
                        <a:pt x="22" y="428"/>
                      </a:cubicBezTo>
                      <a:cubicBezTo>
                        <a:pt x="152" y="428"/>
                        <a:pt x="152" y="428"/>
                        <a:pt x="152" y="428"/>
                      </a:cubicBezTo>
                      <a:cubicBezTo>
                        <a:pt x="161" y="428"/>
                        <a:pt x="168" y="421"/>
                        <a:pt x="168" y="412"/>
                      </a:cubicBezTo>
                      <a:cubicBezTo>
                        <a:pt x="168" y="195"/>
                        <a:pt x="168" y="195"/>
                        <a:pt x="168" y="195"/>
                      </a:cubicBezTo>
                      <a:cubicBezTo>
                        <a:pt x="168" y="186"/>
                        <a:pt x="161" y="178"/>
                        <a:pt x="152" y="178"/>
                      </a:cubicBezTo>
                      <a:cubicBezTo>
                        <a:pt x="145" y="178"/>
                        <a:pt x="145" y="178"/>
                        <a:pt x="145" y="178"/>
                      </a:cubicBezTo>
                      <a:cubicBezTo>
                        <a:pt x="145" y="166"/>
                        <a:pt x="145" y="166"/>
                        <a:pt x="145" y="166"/>
                      </a:cubicBezTo>
                      <a:cubicBezTo>
                        <a:pt x="113" y="166"/>
                        <a:pt x="113" y="166"/>
                        <a:pt x="113" y="166"/>
                      </a:cubicBezTo>
                      <a:cubicBezTo>
                        <a:pt x="113" y="178"/>
                        <a:pt x="113" y="178"/>
                        <a:pt x="113" y="178"/>
                      </a:cubicBezTo>
                      <a:cubicBezTo>
                        <a:pt x="33" y="178"/>
                        <a:pt x="33" y="178"/>
                        <a:pt x="33" y="178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30" y="6"/>
                        <a:pt x="30" y="6"/>
                        <a:pt x="30" y="6"/>
                      </a:cubicBez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151">
                  <a:extLst>
                    <a:ext uri="{FF2B5EF4-FFF2-40B4-BE49-F238E27FC236}">
                      <a16:creationId xmlns="" xmlns:a16="http://schemas.microsoft.com/office/drawing/2014/main" id="{847E0D22-4EB4-4AF8-A24C-59F64D20F2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33764" y="3440113"/>
                  <a:ext cx="66675" cy="69850"/>
                </a:xfrm>
                <a:custGeom>
                  <a:avLst/>
                  <a:gdLst/>
                  <a:ahLst/>
                  <a:cxnLst>
                    <a:cxn ang="0">
                      <a:pos x="23" y="29"/>
                    </a:cxn>
                    <a:cxn ang="0">
                      <a:pos x="4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3" y="29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9"/>
                        <a:pt x="23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1" name="Freeform 152">
                  <a:extLst>
                    <a:ext uri="{FF2B5EF4-FFF2-40B4-BE49-F238E27FC236}">
                      <a16:creationId xmlns="" xmlns:a16="http://schemas.microsoft.com/office/drawing/2014/main" id="{C04F67C7-0F20-47E5-83C1-36417445D1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33764" y="3360738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2" name="Freeform 153">
                  <a:extLst>
                    <a:ext uri="{FF2B5EF4-FFF2-40B4-BE49-F238E27FC236}">
                      <a16:creationId xmlns="" xmlns:a16="http://schemas.microsoft.com/office/drawing/2014/main" id="{0093F4E6-01D1-4C34-B464-40E254A8D2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33764" y="3279775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4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4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3" name="Freeform 154">
                  <a:extLst>
                    <a:ext uri="{FF2B5EF4-FFF2-40B4-BE49-F238E27FC236}">
                      <a16:creationId xmlns="" xmlns:a16="http://schemas.microsoft.com/office/drawing/2014/main" id="{BEACBA6D-5653-4317-8BE2-CA872F228A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16314" y="3440113"/>
                  <a:ext cx="66675" cy="69850"/>
                </a:xfrm>
                <a:custGeom>
                  <a:avLst/>
                  <a:gdLst/>
                  <a:ahLst/>
                  <a:cxnLst>
                    <a:cxn ang="0">
                      <a:pos x="24" y="29"/>
                    </a:cxn>
                    <a:cxn ang="0">
                      <a:pos x="5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4" y="29"/>
                      </a:moveTo>
                      <a:cubicBezTo>
                        <a:pt x="5" y="29"/>
                        <a:pt x="5" y="29"/>
                        <a:pt x="5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7"/>
                        <a:pt x="26" y="29"/>
                        <a:pt x="24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4" name="Freeform 155">
                  <a:extLst>
                    <a:ext uri="{FF2B5EF4-FFF2-40B4-BE49-F238E27FC236}">
                      <a16:creationId xmlns="" xmlns:a16="http://schemas.microsoft.com/office/drawing/2014/main" id="{2241539A-CD5A-40D2-BBB8-216F6096090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16314" y="3360738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4" y="28"/>
                    </a:cxn>
                    <a:cxn ang="0">
                      <a:pos x="5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8"/>
                    </a:cxn>
                    <a:cxn ang="0">
                      <a:pos x="24" y="24"/>
                    </a:cxn>
                    <a:cxn ang="0">
                      <a:pos x="24" y="26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4" y="28"/>
                      </a:moveTo>
                      <a:cubicBezTo>
                        <a:pt x="5" y="28"/>
                        <a:pt x="5" y="28"/>
                        <a:pt x="5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4" y="28"/>
                      </a:cubicBezTo>
                      <a:close/>
                      <a:moveTo>
                        <a:pt x="24" y="24"/>
                      </a:moveTo>
                      <a:cubicBezTo>
                        <a:pt x="24" y="26"/>
                        <a:pt x="24" y="26"/>
                        <a:pt x="24" y="26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5" name="Freeform 156">
                  <a:extLst>
                    <a:ext uri="{FF2B5EF4-FFF2-40B4-BE49-F238E27FC236}">
                      <a16:creationId xmlns="" xmlns:a16="http://schemas.microsoft.com/office/drawing/2014/main" id="{5385DFC2-8547-41AE-AD0B-00478FE884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16314" y="3279775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4" y="28"/>
                    </a:cxn>
                    <a:cxn ang="0">
                      <a:pos x="5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8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8">
                      <a:moveTo>
                        <a:pt x="24" y="28"/>
                      </a:moveTo>
                      <a:cubicBezTo>
                        <a:pt x="5" y="28"/>
                        <a:pt x="5" y="28"/>
                        <a:pt x="5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4" y="28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6" name="Freeform 157">
                  <a:extLst>
                    <a:ext uri="{FF2B5EF4-FFF2-40B4-BE49-F238E27FC236}">
                      <a16:creationId xmlns="" xmlns:a16="http://schemas.microsoft.com/office/drawing/2014/main" id="{7B7633E0-A670-49BA-A57D-1905AF8C80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00451" y="3440113"/>
                  <a:ext cx="68263" cy="69850"/>
                </a:xfrm>
                <a:custGeom>
                  <a:avLst/>
                  <a:gdLst/>
                  <a:ahLst/>
                  <a:cxnLst>
                    <a:cxn ang="0">
                      <a:pos x="23" y="29"/>
                    </a:cxn>
                    <a:cxn ang="0">
                      <a:pos x="4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3" y="29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9"/>
                        <a:pt x="23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7" name="Freeform 158">
                  <a:extLst>
                    <a:ext uri="{FF2B5EF4-FFF2-40B4-BE49-F238E27FC236}">
                      <a16:creationId xmlns="" xmlns:a16="http://schemas.microsoft.com/office/drawing/2014/main" id="{65B0F915-E473-48F2-81ED-97618D8BF2A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00451" y="3360738"/>
                  <a:ext cx="68263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23" y="24"/>
                    </a:cxn>
                    <a:cxn ang="0">
                      <a:pos x="23" y="26"/>
                    </a:cxn>
                    <a:cxn ang="0">
                      <a:pos x="23" y="24"/>
                    </a:cxn>
                    <a:cxn ang="0">
                      <a:pos x="23" y="24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23" y="24"/>
                      </a:moveTo>
                      <a:cubicBezTo>
                        <a:pt x="23" y="26"/>
                        <a:pt x="23" y="26"/>
                        <a:pt x="23" y="26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8" name="Freeform 159">
                  <a:extLst>
                    <a:ext uri="{FF2B5EF4-FFF2-40B4-BE49-F238E27FC236}">
                      <a16:creationId xmlns="" xmlns:a16="http://schemas.microsoft.com/office/drawing/2014/main" id="{1706462B-6CD5-4DE9-A03F-5EC23B10100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00451" y="3279775"/>
                  <a:ext cx="68263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23" y="5"/>
                      </a:move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lnTo>
                        <a:pt x="2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9" name="Freeform 160">
                  <a:extLst>
                    <a:ext uri="{FF2B5EF4-FFF2-40B4-BE49-F238E27FC236}">
                      <a16:creationId xmlns="" xmlns:a16="http://schemas.microsoft.com/office/drawing/2014/main" id="{23C4BEF7-95CA-41E1-81B2-49BEB1B34F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98839" y="3057525"/>
                  <a:ext cx="300038" cy="150813"/>
                </a:xfrm>
                <a:custGeom>
                  <a:avLst/>
                  <a:gdLst/>
                  <a:ahLst/>
                  <a:cxnLst>
                    <a:cxn ang="0">
                      <a:pos x="189" y="95"/>
                    </a:cxn>
                    <a:cxn ang="0">
                      <a:pos x="0" y="95"/>
                    </a:cxn>
                    <a:cxn ang="0">
                      <a:pos x="0" y="0"/>
                    </a:cxn>
                    <a:cxn ang="0">
                      <a:pos x="189" y="0"/>
                    </a:cxn>
                    <a:cxn ang="0">
                      <a:pos x="189" y="95"/>
                    </a:cxn>
                    <a:cxn ang="0">
                      <a:pos x="10" y="86"/>
                    </a:cxn>
                    <a:cxn ang="0">
                      <a:pos x="180" y="86"/>
                    </a:cxn>
                    <a:cxn ang="0">
                      <a:pos x="180" y="9"/>
                    </a:cxn>
                    <a:cxn ang="0">
                      <a:pos x="10" y="9"/>
                    </a:cxn>
                    <a:cxn ang="0">
                      <a:pos x="10" y="86"/>
                    </a:cxn>
                  </a:cxnLst>
                  <a:rect l="0" t="0" r="r" b="b"/>
                  <a:pathLst>
                    <a:path w="189" h="95">
                      <a:moveTo>
                        <a:pt x="189" y="95"/>
                      </a:moveTo>
                      <a:lnTo>
                        <a:pt x="0" y="95"/>
                      </a:lnTo>
                      <a:lnTo>
                        <a:pt x="0" y="0"/>
                      </a:lnTo>
                      <a:lnTo>
                        <a:pt x="189" y="0"/>
                      </a:lnTo>
                      <a:lnTo>
                        <a:pt x="189" y="95"/>
                      </a:lnTo>
                      <a:close/>
                      <a:moveTo>
                        <a:pt x="10" y="86"/>
                      </a:moveTo>
                      <a:lnTo>
                        <a:pt x="180" y="86"/>
                      </a:lnTo>
                      <a:lnTo>
                        <a:pt x="180" y="9"/>
                      </a:lnTo>
                      <a:lnTo>
                        <a:pt x="10" y="9"/>
                      </a:lnTo>
                      <a:lnTo>
                        <a:pt x="10" y="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239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110" name="组合 109">
            <a:extLst>
              <a:ext uri="{FF2B5EF4-FFF2-40B4-BE49-F238E27FC236}">
                <a16:creationId xmlns="" xmlns:a16="http://schemas.microsoft.com/office/drawing/2014/main" id="{49F39DD7-29D6-4486-8E6A-08F6372D754D}"/>
              </a:ext>
            </a:extLst>
          </p:cNvPr>
          <p:cNvGrpSpPr/>
          <p:nvPr/>
        </p:nvGrpSpPr>
        <p:grpSpPr>
          <a:xfrm>
            <a:off x="4940185" y="2809594"/>
            <a:ext cx="834204" cy="831258"/>
            <a:chOff x="5409982" y="2906240"/>
            <a:chExt cx="834421" cy="831474"/>
          </a:xfrm>
        </p:grpSpPr>
        <p:pic>
          <p:nvPicPr>
            <p:cNvPr id="111" name="Picture 11" descr="E:\01 日常工作\04 展厅相关设计\2015年\PPT\主打胶片\源文件\images\10_11.png">
              <a:extLst>
                <a:ext uri="{FF2B5EF4-FFF2-40B4-BE49-F238E27FC236}">
                  <a16:creationId xmlns="" xmlns:a16="http://schemas.microsoft.com/office/drawing/2014/main" id="{91550091-47EE-402C-BE1B-E274229BB6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409982" y="2906240"/>
              <a:ext cx="834421" cy="831474"/>
            </a:xfrm>
            <a:prstGeom prst="rect">
              <a:avLst/>
            </a:prstGeom>
            <a:noFill/>
          </p:spPr>
        </p:pic>
        <p:grpSp>
          <p:nvGrpSpPr>
            <p:cNvPr id="112" name="组合 239">
              <a:extLst>
                <a:ext uri="{FF2B5EF4-FFF2-40B4-BE49-F238E27FC236}">
                  <a16:creationId xmlns="" xmlns:a16="http://schemas.microsoft.com/office/drawing/2014/main" id="{50394328-89BF-4116-B29A-E67930C440E3}"/>
                </a:ext>
              </a:extLst>
            </p:cNvPr>
            <p:cNvGrpSpPr/>
            <p:nvPr/>
          </p:nvGrpSpPr>
          <p:grpSpPr>
            <a:xfrm>
              <a:off x="5548875" y="3053529"/>
              <a:ext cx="556635" cy="536897"/>
              <a:chOff x="5272963" y="2897675"/>
              <a:chExt cx="752222" cy="752222"/>
            </a:xfrm>
          </p:grpSpPr>
          <p:sp>
            <p:nvSpPr>
              <p:cNvPr id="113" name="椭圆 112">
                <a:extLst>
                  <a:ext uri="{FF2B5EF4-FFF2-40B4-BE49-F238E27FC236}">
                    <a16:creationId xmlns="" xmlns:a16="http://schemas.microsoft.com/office/drawing/2014/main" id="{A1C167C2-AA51-4735-8A20-4DC556F4203E}"/>
                  </a:ext>
                </a:extLst>
              </p:cNvPr>
              <p:cNvSpPr/>
              <p:nvPr/>
            </p:nvSpPr>
            <p:spPr>
              <a:xfrm>
                <a:off x="5272963" y="2897675"/>
                <a:ext cx="752222" cy="752222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114" name="组合 122">
                <a:extLst>
                  <a:ext uri="{FF2B5EF4-FFF2-40B4-BE49-F238E27FC236}">
                    <a16:creationId xmlns="" xmlns:a16="http://schemas.microsoft.com/office/drawing/2014/main" id="{4D9CC42C-48C1-427B-BD71-2E8924DAEC62}"/>
                  </a:ext>
                </a:extLst>
              </p:cNvPr>
              <p:cNvGrpSpPr/>
              <p:nvPr/>
            </p:nvGrpSpPr>
            <p:grpSpPr>
              <a:xfrm>
                <a:off x="5421033" y="3088201"/>
                <a:ext cx="482468" cy="387501"/>
                <a:chOff x="-3478439" y="7019019"/>
                <a:chExt cx="1604963" cy="1289050"/>
              </a:xfrm>
              <a:solidFill>
                <a:schemeClr val="bg1"/>
              </a:solidFill>
            </p:grpSpPr>
            <p:sp>
              <p:nvSpPr>
                <p:cNvPr id="115" name="Freeform 20">
                  <a:extLst>
                    <a:ext uri="{FF2B5EF4-FFF2-40B4-BE49-F238E27FC236}">
                      <a16:creationId xmlns="" xmlns:a16="http://schemas.microsoft.com/office/drawing/2014/main" id="{3CB9F030-2C47-4694-9801-90532CB7CE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478439" y="7019019"/>
                  <a:ext cx="1604963" cy="393700"/>
                </a:xfrm>
                <a:custGeom>
                  <a:avLst/>
                  <a:gdLst/>
                  <a:ahLst/>
                  <a:cxnLst>
                    <a:cxn ang="0">
                      <a:pos x="21" y="105"/>
                    </a:cxn>
                    <a:cxn ang="0">
                      <a:pos x="406" y="105"/>
                    </a:cxn>
                    <a:cxn ang="0">
                      <a:pos x="428" y="84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4"/>
                    </a:cxn>
                    <a:cxn ang="0">
                      <a:pos x="21" y="105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4"/>
                    </a:cxn>
                    <a:cxn ang="0">
                      <a:pos x="406" y="93"/>
                    </a:cxn>
                    <a:cxn ang="0">
                      <a:pos x="21" y="93"/>
                    </a:cxn>
                    <a:cxn ang="0">
                      <a:pos x="12" y="84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5">
                      <a:moveTo>
                        <a:pt x="21" y="105"/>
                      </a:moveTo>
                      <a:cubicBezTo>
                        <a:pt x="406" y="105"/>
                        <a:pt x="406" y="105"/>
                        <a:pt x="406" y="105"/>
                      </a:cubicBezTo>
                      <a:cubicBezTo>
                        <a:pt x="418" y="105"/>
                        <a:pt x="428" y="95"/>
                        <a:pt x="428" y="84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10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10"/>
                        <a:pt x="0" y="21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0" y="95"/>
                        <a:pt x="9" y="105"/>
                        <a:pt x="21" y="105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4"/>
                        <a:pt x="416" y="84"/>
                        <a:pt x="416" y="84"/>
                      </a:cubicBezTo>
                      <a:cubicBezTo>
                        <a:pt x="416" y="89"/>
                        <a:pt x="411" y="93"/>
                        <a:pt x="406" y="93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16" y="93"/>
                        <a:pt x="12" y="89"/>
                        <a:pt x="12" y="84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6" name="Rectangle 21">
                  <a:extLst>
                    <a:ext uri="{FF2B5EF4-FFF2-40B4-BE49-F238E27FC236}">
                      <a16:creationId xmlns="" xmlns:a16="http://schemas.microsoft.com/office/drawing/2014/main" id="{4BE4163D-A53B-4AC0-9B4A-AE265572B1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289402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7" name="Rectangle 22">
                  <a:extLst>
                    <a:ext uri="{FF2B5EF4-FFF2-40B4-BE49-F238E27FC236}">
                      <a16:creationId xmlns="" xmlns:a16="http://schemas.microsoft.com/office/drawing/2014/main" id="{CE98C8FC-0BD9-48B1-89B7-DC4D3ADDC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289402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8" name="Rectangle 23">
                  <a:extLst>
                    <a:ext uri="{FF2B5EF4-FFF2-40B4-BE49-F238E27FC236}">
                      <a16:creationId xmlns="" xmlns:a16="http://schemas.microsoft.com/office/drawing/2014/main" id="{FA077A56-7F77-450A-90CA-9E0D2AEC7C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168752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9" name="Rectangle 24">
                  <a:extLst>
                    <a:ext uri="{FF2B5EF4-FFF2-40B4-BE49-F238E27FC236}">
                      <a16:creationId xmlns="" xmlns:a16="http://schemas.microsoft.com/office/drawing/2014/main" id="{14E52BF2-FA61-4BF8-9D61-CEC2D26BC1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049689" y="754765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0" name="Rectangle 25">
                  <a:extLst>
                    <a:ext uri="{FF2B5EF4-FFF2-40B4-BE49-F238E27FC236}">
                      <a16:creationId xmlns="" xmlns:a16="http://schemas.microsoft.com/office/drawing/2014/main" id="{B38B8174-910F-4A24-B5A9-3A6ECF0BEC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168752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1" name="Rectangle 26">
                  <a:extLst>
                    <a:ext uri="{FF2B5EF4-FFF2-40B4-BE49-F238E27FC236}">
                      <a16:creationId xmlns="" xmlns:a16="http://schemas.microsoft.com/office/drawing/2014/main" id="{009568D5-6988-4808-98EC-E27DE4F222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410052" y="709680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2" name="Rectangle 27">
                  <a:extLst>
                    <a:ext uri="{FF2B5EF4-FFF2-40B4-BE49-F238E27FC236}">
                      <a16:creationId xmlns="" xmlns:a16="http://schemas.microsoft.com/office/drawing/2014/main" id="{19F67762-5198-42C2-90FA-2B657EE4E2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049689" y="709680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3" name="Freeform 28">
                  <a:extLst>
                    <a:ext uri="{FF2B5EF4-FFF2-40B4-BE49-F238E27FC236}">
                      <a16:creationId xmlns="" xmlns:a16="http://schemas.microsoft.com/office/drawing/2014/main" id="{1D54F788-1C09-49B7-907D-31A0078CEA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65727" y="7123794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5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5"/>
                    </a:cxn>
                    <a:cxn ang="0">
                      <a:pos x="25" y="37"/>
                    </a:cxn>
                    <a:cxn ang="0">
                      <a:pos x="12" y="25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5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5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8"/>
                        <a:pt x="37" y="25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5"/>
                      </a:cubicBezTo>
                      <a:cubicBezTo>
                        <a:pt x="12" y="18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4" name="Rectangle 29">
                  <a:extLst>
                    <a:ext uri="{FF2B5EF4-FFF2-40B4-BE49-F238E27FC236}">
                      <a16:creationId xmlns="" xmlns:a16="http://schemas.microsoft.com/office/drawing/2014/main" id="{21B31258-B6B3-43D3-90C2-81AA06C394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529114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5" name="Rectangle 30">
                  <a:extLst>
                    <a:ext uri="{FF2B5EF4-FFF2-40B4-BE49-F238E27FC236}">
                      <a16:creationId xmlns="" xmlns:a16="http://schemas.microsoft.com/office/drawing/2014/main" id="{2AAE8F60-6236-4F68-8C81-10D826762E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289402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6" name="Rectangle 31">
                  <a:extLst>
                    <a:ext uri="{FF2B5EF4-FFF2-40B4-BE49-F238E27FC236}">
                      <a16:creationId xmlns="" xmlns:a16="http://schemas.microsoft.com/office/drawing/2014/main" id="{6FD8DEE8-A8B0-47A0-BFB6-338684D78E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410052" y="79969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7" name="Rectangle 32">
                  <a:extLst>
                    <a:ext uri="{FF2B5EF4-FFF2-40B4-BE49-F238E27FC236}">
                      <a16:creationId xmlns="" xmlns:a16="http://schemas.microsoft.com/office/drawing/2014/main" id="{F66EC012-402B-4877-9ECF-5F8DDB0B9E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410052" y="754765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8" name="Freeform 33">
                  <a:extLst>
                    <a:ext uri="{FF2B5EF4-FFF2-40B4-BE49-F238E27FC236}">
                      <a16:creationId xmlns="" xmlns:a16="http://schemas.microsoft.com/office/drawing/2014/main" id="{1DD0740D-CE0B-4806-83AD-E9A6998D5C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478439" y="7919131"/>
                  <a:ext cx="1604963" cy="388938"/>
                </a:xfrm>
                <a:custGeom>
                  <a:avLst/>
                  <a:gdLst/>
                  <a:ahLst/>
                  <a:cxnLst>
                    <a:cxn ang="0">
                      <a:pos x="19" y="104"/>
                    </a:cxn>
                    <a:cxn ang="0">
                      <a:pos x="408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19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6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19" y="104"/>
                      </a:moveTo>
                      <a:cubicBezTo>
                        <a:pt x="408" y="104"/>
                        <a:pt x="408" y="104"/>
                        <a:pt x="408" y="104"/>
                      </a:cubicBezTo>
                      <a:cubicBezTo>
                        <a:pt x="419" y="103"/>
                        <a:pt x="428" y="94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4"/>
                        <a:pt x="8" y="103"/>
                        <a:pt x="19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1" y="92"/>
                        <a:pt x="406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9" name="Freeform 34">
                  <a:extLst>
                    <a:ext uri="{FF2B5EF4-FFF2-40B4-BE49-F238E27FC236}">
                      <a16:creationId xmlns="" xmlns:a16="http://schemas.microsoft.com/office/drawing/2014/main" id="{37682571-70AB-40E6-9B5F-5FBF7C3916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65727" y="802390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4"/>
                    </a:cxn>
                    <a:cxn ang="0">
                      <a:pos x="25" y="0"/>
                    </a:cxn>
                    <a:cxn ang="0">
                      <a:pos x="0" y="24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4"/>
                    </a:cxn>
                    <a:cxn ang="0">
                      <a:pos x="25" y="37"/>
                    </a:cxn>
                    <a:cxn ang="0">
                      <a:pos x="12" y="24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7"/>
                        <a:pt x="37" y="24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4"/>
                      </a:cubicBezTo>
                      <a:cubicBezTo>
                        <a:pt x="12" y="17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0" name="Rectangle 35">
                  <a:extLst>
                    <a:ext uri="{FF2B5EF4-FFF2-40B4-BE49-F238E27FC236}">
                      <a16:creationId xmlns="" xmlns:a16="http://schemas.microsoft.com/office/drawing/2014/main" id="{4DE6E078-022C-4093-B06E-9A53FED945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529114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1" name="Rectangle 36">
                  <a:extLst>
                    <a:ext uri="{FF2B5EF4-FFF2-40B4-BE49-F238E27FC236}">
                      <a16:creationId xmlns="" xmlns:a16="http://schemas.microsoft.com/office/drawing/2014/main" id="{107D5C68-6E84-4D12-A490-49C8FB1E55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529114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2" name="Freeform 37">
                  <a:extLst>
                    <a:ext uri="{FF2B5EF4-FFF2-40B4-BE49-F238E27FC236}">
                      <a16:creationId xmlns="" xmlns:a16="http://schemas.microsoft.com/office/drawing/2014/main" id="{230A6CD5-D675-426B-B998-8070F9A002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65727" y="757305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4"/>
                    </a:cxn>
                    <a:cxn ang="0">
                      <a:pos x="25" y="0"/>
                    </a:cxn>
                    <a:cxn ang="0">
                      <a:pos x="0" y="24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4"/>
                    </a:cxn>
                    <a:cxn ang="0">
                      <a:pos x="25" y="37"/>
                    </a:cxn>
                    <a:cxn ang="0">
                      <a:pos x="12" y="24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8"/>
                        <a:pt x="37" y="24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4"/>
                      </a:cubicBezTo>
                      <a:cubicBezTo>
                        <a:pt x="12" y="18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3" name="Rectangle 38">
                  <a:extLst>
                    <a:ext uri="{FF2B5EF4-FFF2-40B4-BE49-F238E27FC236}">
                      <a16:creationId xmlns="" xmlns:a16="http://schemas.microsoft.com/office/drawing/2014/main" id="{6868808B-892F-49B9-9016-B773699C5A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168752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4" name="Freeform 39">
                  <a:extLst>
                    <a:ext uri="{FF2B5EF4-FFF2-40B4-BE49-F238E27FC236}">
                      <a16:creationId xmlns="" xmlns:a16="http://schemas.microsoft.com/office/drawing/2014/main" id="{E759DC53-1D15-4B0B-BA2C-783E025852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478439" y="7468281"/>
                  <a:ext cx="1604963" cy="393700"/>
                </a:xfrm>
                <a:custGeom>
                  <a:avLst/>
                  <a:gdLst/>
                  <a:ahLst/>
                  <a:cxnLst>
                    <a:cxn ang="0">
                      <a:pos x="21" y="105"/>
                    </a:cxn>
                    <a:cxn ang="0">
                      <a:pos x="406" y="105"/>
                    </a:cxn>
                    <a:cxn ang="0">
                      <a:pos x="428" y="84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4"/>
                    </a:cxn>
                    <a:cxn ang="0">
                      <a:pos x="21" y="105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4"/>
                    </a:cxn>
                    <a:cxn ang="0">
                      <a:pos x="406" y="93"/>
                    </a:cxn>
                    <a:cxn ang="0">
                      <a:pos x="21" y="93"/>
                    </a:cxn>
                    <a:cxn ang="0">
                      <a:pos x="12" y="84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5">
                      <a:moveTo>
                        <a:pt x="21" y="105"/>
                      </a:moveTo>
                      <a:cubicBezTo>
                        <a:pt x="406" y="105"/>
                        <a:pt x="406" y="105"/>
                        <a:pt x="406" y="105"/>
                      </a:cubicBezTo>
                      <a:cubicBezTo>
                        <a:pt x="418" y="105"/>
                        <a:pt x="428" y="95"/>
                        <a:pt x="428" y="84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10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10"/>
                        <a:pt x="0" y="21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0" y="95"/>
                        <a:pt x="9" y="105"/>
                        <a:pt x="21" y="105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4"/>
                        <a:pt x="416" y="84"/>
                        <a:pt x="416" y="84"/>
                      </a:cubicBezTo>
                      <a:cubicBezTo>
                        <a:pt x="416" y="89"/>
                        <a:pt x="411" y="93"/>
                        <a:pt x="406" y="93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16" y="93"/>
                        <a:pt x="12" y="89"/>
                        <a:pt x="12" y="84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5" name="Rectangle 40">
                  <a:extLst>
                    <a:ext uri="{FF2B5EF4-FFF2-40B4-BE49-F238E27FC236}">
                      <a16:creationId xmlns="" xmlns:a16="http://schemas.microsoft.com/office/drawing/2014/main" id="{B40EDF61-ED41-4C6D-8D60-F8A1C9C49C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049689" y="79969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136" name="组合 135">
            <a:extLst>
              <a:ext uri="{FF2B5EF4-FFF2-40B4-BE49-F238E27FC236}">
                <a16:creationId xmlns="" xmlns:a16="http://schemas.microsoft.com/office/drawing/2014/main" id="{241C6698-0269-4240-8431-1A8D88B52BED}"/>
              </a:ext>
            </a:extLst>
          </p:cNvPr>
          <p:cNvGrpSpPr/>
          <p:nvPr/>
        </p:nvGrpSpPr>
        <p:grpSpPr>
          <a:xfrm>
            <a:off x="4940186" y="5316878"/>
            <a:ext cx="832488" cy="832488"/>
            <a:chOff x="5410128" y="5188824"/>
            <a:chExt cx="832705" cy="832705"/>
          </a:xfrm>
        </p:grpSpPr>
        <p:pic>
          <p:nvPicPr>
            <p:cNvPr id="137" name="Picture 10" descr="E:\01 日常工作\04 展厅相关设计\2015年\PPT\主打胶片\源文件\images\10_09.png">
              <a:extLst>
                <a:ext uri="{FF2B5EF4-FFF2-40B4-BE49-F238E27FC236}">
                  <a16:creationId xmlns="" xmlns:a16="http://schemas.microsoft.com/office/drawing/2014/main" id="{229AB6A9-1775-472A-AD90-CA6F830BB4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tretch>
              <a:fillRect/>
            </a:stretch>
          </p:blipFill>
          <p:spPr bwMode="auto">
            <a:xfrm>
              <a:off x="5410128" y="5188824"/>
              <a:ext cx="832705" cy="832705"/>
            </a:xfrm>
            <a:prstGeom prst="rect">
              <a:avLst/>
            </a:prstGeom>
            <a:noFill/>
          </p:spPr>
        </p:pic>
        <p:grpSp>
          <p:nvGrpSpPr>
            <p:cNvPr id="138" name="组合 232">
              <a:extLst>
                <a:ext uri="{FF2B5EF4-FFF2-40B4-BE49-F238E27FC236}">
                  <a16:creationId xmlns="" xmlns:a16="http://schemas.microsoft.com/office/drawing/2014/main" id="{6765CBAA-368E-467E-AA7E-F1E4514B8BF9}"/>
                </a:ext>
              </a:extLst>
            </p:cNvPr>
            <p:cNvGrpSpPr/>
            <p:nvPr/>
          </p:nvGrpSpPr>
          <p:grpSpPr>
            <a:xfrm>
              <a:off x="5548163" y="5336728"/>
              <a:ext cx="556635" cy="536897"/>
              <a:chOff x="5408814" y="5390612"/>
              <a:chExt cx="771035" cy="771035"/>
            </a:xfrm>
          </p:grpSpPr>
          <p:sp>
            <p:nvSpPr>
              <p:cNvPr id="139" name="椭圆 138">
                <a:extLst>
                  <a:ext uri="{FF2B5EF4-FFF2-40B4-BE49-F238E27FC236}">
                    <a16:creationId xmlns="" xmlns:a16="http://schemas.microsoft.com/office/drawing/2014/main" id="{2B989164-62BF-4C52-B199-3B5FC4C5BDC5}"/>
                  </a:ext>
                </a:extLst>
              </p:cNvPr>
              <p:cNvSpPr/>
              <p:nvPr/>
            </p:nvSpPr>
            <p:spPr>
              <a:xfrm>
                <a:off x="5408814" y="5390612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0" name="Freeform 16">
                <a:extLst>
                  <a:ext uri="{FF2B5EF4-FFF2-40B4-BE49-F238E27FC236}">
                    <a16:creationId xmlns="" xmlns:a16="http://schemas.microsoft.com/office/drawing/2014/main" id="{E2EE69F5-C763-40C9-9EB2-43E77A6640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1831" y="5677207"/>
                <a:ext cx="209522" cy="135516"/>
              </a:xfrm>
              <a:custGeom>
                <a:avLst/>
                <a:gdLst/>
                <a:ahLst/>
                <a:cxnLst>
                  <a:cxn ang="0">
                    <a:pos x="135" y="91"/>
                  </a:cxn>
                  <a:cxn ang="0">
                    <a:pos x="5" y="91"/>
                  </a:cxn>
                  <a:cxn ang="0">
                    <a:pos x="0" y="86"/>
                  </a:cxn>
                  <a:cxn ang="0">
                    <a:pos x="0" y="5"/>
                  </a:cxn>
                  <a:cxn ang="0">
                    <a:pos x="5" y="0"/>
                  </a:cxn>
                  <a:cxn ang="0">
                    <a:pos x="135" y="0"/>
                  </a:cxn>
                  <a:cxn ang="0">
                    <a:pos x="141" y="5"/>
                  </a:cxn>
                  <a:cxn ang="0">
                    <a:pos x="141" y="86"/>
                  </a:cxn>
                  <a:cxn ang="0">
                    <a:pos x="135" y="91"/>
                  </a:cxn>
                  <a:cxn ang="0">
                    <a:pos x="11" y="80"/>
                  </a:cxn>
                  <a:cxn ang="0">
                    <a:pos x="129" y="80"/>
                  </a:cxn>
                  <a:cxn ang="0">
                    <a:pos x="129" y="11"/>
                  </a:cxn>
                  <a:cxn ang="0">
                    <a:pos x="11" y="11"/>
                  </a:cxn>
                  <a:cxn ang="0">
                    <a:pos x="11" y="80"/>
                  </a:cxn>
                </a:cxnLst>
                <a:rect l="0" t="0" r="r" b="b"/>
                <a:pathLst>
                  <a:path w="141" h="91">
                    <a:moveTo>
                      <a:pt x="135" y="91"/>
                    </a:moveTo>
                    <a:cubicBezTo>
                      <a:pt x="5" y="91"/>
                      <a:pt x="5" y="91"/>
                      <a:pt x="5" y="91"/>
                    </a:cubicBezTo>
                    <a:cubicBezTo>
                      <a:pt x="2" y="91"/>
                      <a:pt x="0" y="89"/>
                      <a:pt x="0" y="8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8" y="0"/>
                      <a:pt x="141" y="2"/>
                      <a:pt x="141" y="5"/>
                    </a:cubicBezTo>
                    <a:cubicBezTo>
                      <a:pt x="141" y="86"/>
                      <a:pt x="141" y="86"/>
                      <a:pt x="141" y="86"/>
                    </a:cubicBezTo>
                    <a:cubicBezTo>
                      <a:pt x="141" y="89"/>
                      <a:pt x="138" y="91"/>
                      <a:pt x="135" y="91"/>
                    </a:cubicBezTo>
                    <a:close/>
                    <a:moveTo>
                      <a:pt x="11" y="80"/>
                    </a:moveTo>
                    <a:cubicBezTo>
                      <a:pt x="129" y="80"/>
                      <a:pt x="129" y="80"/>
                      <a:pt x="129" y="80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1" y="11"/>
                      <a:pt x="11" y="11"/>
                      <a:pt x="11" y="11"/>
                    </a:cubicBezTo>
                    <a:lnTo>
                      <a:pt x="11" y="8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1" name="Freeform 17">
                <a:extLst>
                  <a:ext uri="{FF2B5EF4-FFF2-40B4-BE49-F238E27FC236}">
                    <a16:creationId xmlns="" xmlns:a16="http://schemas.microsoft.com/office/drawing/2014/main" id="{7AFADFCB-490D-4FD8-ABB6-79F9F0F3C1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4052" y="5677207"/>
                <a:ext cx="191261" cy="166272"/>
              </a:xfrm>
              <a:custGeom>
                <a:avLst/>
                <a:gdLst/>
                <a:ahLst/>
                <a:cxnLst>
                  <a:cxn ang="0">
                    <a:pos x="123" y="112"/>
                  </a:cxn>
                  <a:cxn ang="0">
                    <a:pos x="122" y="112"/>
                  </a:cxn>
                  <a:cxn ang="0">
                    <a:pos x="5" y="91"/>
                  </a:cxn>
                  <a:cxn ang="0">
                    <a:pos x="0" y="86"/>
                  </a:cxn>
                  <a:cxn ang="0">
                    <a:pos x="0" y="5"/>
                  </a:cxn>
                  <a:cxn ang="0">
                    <a:pos x="2" y="1"/>
                  </a:cxn>
                  <a:cxn ang="0">
                    <a:pos x="7" y="0"/>
                  </a:cxn>
                  <a:cxn ang="0">
                    <a:pos x="124" y="21"/>
                  </a:cxn>
                  <a:cxn ang="0">
                    <a:pos x="129" y="26"/>
                  </a:cxn>
                  <a:cxn ang="0">
                    <a:pos x="129" y="107"/>
                  </a:cxn>
                  <a:cxn ang="0">
                    <a:pos x="127" y="111"/>
                  </a:cxn>
                  <a:cxn ang="0">
                    <a:pos x="123" y="112"/>
                  </a:cxn>
                  <a:cxn ang="0">
                    <a:pos x="12" y="81"/>
                  </a:cxn>
                  <a:cxn ang="0">
                    <a:pos x="117" y="100"/>
                  </a:cxn>
                  <a:cxn ang="0">
                    <a:pos x="117" y="31"/>
                  </a:cxn>
                  <a:cxn ang="0">
                    <a:pos x="12" y="12"/>
                  </a:cxn>
                  <a:cxn ang="0">
                    <a:pos x="12" y="81"/>
                  </a:cxn>
                </a:cxnLst>
                <a:rect l="0" t="0" r="r" b="b"/>
                <a:pathLst>
                  <a:path w="129" h="112">
                    <a:moveTo>
                      <a:pt x="123" y="112"/>
                    </a:moveTo>
                    <a:cubicBezTo>
                      <a:pt x="123" y="112"/>
                      <a:pt x="122" y="112"/>
                      <a:pt x="122" y="112"/>
                    </a:cubicBezTo>
                    <a:cubicBezTo>
                      <a:pt x="5" y="91"/>
                      <a:pt x="5" y="91"/>
                      <a:pt x="5" y="91"/>
                    </a:cubicBezTo>
                    <a:cubicBezTo>
                      <a:pt x="2" y="91"/>
                      <a:pt x="0" y="88"/>
                      <a:pt x="0" y="8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3" y="0"/>
                      <a:pt x="5" y="0"/>
                      <a:pt x="7" y="0"/>
                    </a:cubicBezTo>
                    <a:cubicBezTo>
                      <a:pt x="124" y="21"/>
                      <a:pt x="124" y="21"/>
                      <a:pt x="124" y="21"/>
                    </a:cubicBezTo>
                    <a:cubicBezTo>
                      <a:pt x="127" y="21"/>
                      <a:pt x="129" y="24"/>
                      <a:pt x="129" y="26"/>
                    </a:cubicBezTo>
                    <a:cubicBezTo>
                      <a:pt x="129" y="107"/>
                      <a:pt x="129" y="107"/>
                      <a:pt x="129" y="107"/>
                    </a:cubicBezTo>
                    <a:cubicBezTo>
                      <a:pt x="129" y="108"/>
                      <a:pt x="128" y="110"/>
                      <a:pt x="127" y="111"/>
                    </a:cubicBezTo>
                    <a:cubicBezTo>
                      <a:pt x="126" y="112"/>
                      <a:pt x="124" y="112"/>
                      <a:pt x="123" y="112"/>
                    </a:cubicBezTo>
                    <a:close/>
                    <a:moveTo>
                      <a:pt x="12" y="81"/>
                    </a:move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2" name="Freeform 18">
                <a:extLst>
                  <a:ext uri="{FF2B5EF4-FFF2-40B4-BE49-F238E27FC236}">
                    <a16:creationId xmlns="" xmlns:a16="http://schemas.microsoft.com/office/drawing/2014/main" id="{92BACEC9-792D-4A70-AA69-6C5C4007B6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6909" y="5677207"/>
                <a:ext cx="191261" cy="163388"/>
              </a:xfrm>
              <a:custGeom>
                <a:avLst/>
                <a:gdLst/>
                <a:ahLst/>
                <a:cxnLst>
                  <a:cxn ang="0">
                    <a:pos x="6" y="110"/>
                  </a:cxn>
                  <a:cxn ang="0">
                    <a:pos x="2" y="109"/>
                  </a:cxn>
                  <a:cxn ang="0">
                    <a:pos x="0" y="104"/>
                  </a:cxn>
                  <a:cxn ang="0">
                    <a:pos x="0" y="24"/>
                  </a:cxn>
                  <a:cxn ang="0">
                    <a:pos x="5" y="19"/>
                  </a:cxn>
                  <a:cxn ang="0">
                    <a:pos x="122" y="0"/>
                  </a:cxn>
                  <a:cxn ang="0">
                    <a:pos x="127" y="1"/>
                  </a:cxn>
                  <a:cxn ang="0">
                    <a:pos x="129" y="5"/>
                  </a:cxn>
                  <a:cxn ang="0">
                    <a:pos x="129" y="86"/>
                  </a:cxn>
                  <a:cxn ang="0">
                    <a:pos x="124" y="91"/>
                  </a:cxn>
                  <a:cxn ang="0">
                    <a:pos x="7" y="110"/>
                  </a:cxn>
                  <a:cxn ang="0">
                    <a:pos x="6" y="110"/>
                  </a:cxn>
                  <a:cxn ang="0">
                    <a:pos x="11" y="29"/>
                  </a:cxn>
                  <a:cxn ang="0">
                    <a:pos x="11" y="98"/>
                  </a:cxn>
                  <a:cxn ang="0">
                    <a:pos x="118" y="81"/>
                  </a:cxn>
                  <a:cxn ang="0">
                    <a:pos x="118" y="12"/>
                  </a:cxn>
                  <a:cxn ang="0">
                    <a:pos x="11" y="29"/>
                  </a:cxn>
                </a:cxnLst>
                <a:rect l="0" t="0" r="r" b="b"/>
                <a:pathLst>
                  <a:path w="129" h="110">
                    <a:moveTo>
                      <a:pt x="6" y="110"/>
                    </a:moveTo>
                    <a:cubicBezTo>
                      <a:pt x="4" y="110"/>
                      <a:pt x="3" y="110"/>
                      <a:pt x="2" y="109"/>
                    </a:cubicBezTo>
                    <a:cubicBezTo>
                      <a:pt x="1" y="108"/>
                      <a:pt x="0" y="106"/>
                      <a:pt x="0" y="10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2"/>
                      <a:pt x="2" y="19"/>
                      <a:pt x="5" y="19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0"/>
                      <a:pt x="126" y="0"/>
                      <a:pt x="127" y="1"/>
                    </a:cubicBezTo>
                    <a:cubicBezTo>
                      <a:pt x="128" y="2"/>
                      <a:pt x="129" y="4"/>
                      <a:pt x="129" y="5"/>
                    </a:cubicBezTo>
                    <a:cubicBezTo>
                      <a:pt x="129" y="86"/>
                      <a:pt x="129" y="86"/>
                      <a:pt x="129" y="86"/>
                    </a:cubicBezTo>
                    <a:cubicBezTo>
                      <a:pt x="129" y="88"/>
                      <a:pt x="127" y="91"/>
                      <a:pt x="124" y="91"/>
                    </a:cubicBezTo>
                    <a:cubicBezTo>
                      <a:pt x="7" y="110"/>
                      <a:pt x="7" y="110"/>
                      <a:pt x="7" y="110"/>
                    </a:cubicBezTo>
                    <a:cubicBezTo>
                      <a:pt x="6" y="110"/>
                      <a:pt x="6" y="110"/>
                      <a:pt x="6" y="110"/>
                    </a:cubicBezTo>
                    <a:close/>
                    <a:moveTo>
                      <a:pt x="11" y="29"/>
                    </a:moveTo>
                    <a:cubicBezTo>
                      <a:pt x="11" y="98"/>
                      <a:pt x="11" y="98"/>
                      <a:pt x="11" y="98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8" y="12"/>
                      <a:pt x="118" y="12"/>
                      <a:pt x="118" y="12"/>
                    </a:cubicBezTo>
                    <a:lnTo>
                      <a:pt x="11" y="2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3" name="Freeform 19">
                <a:extLst>
                  <a:ext uri="{FF2B5EF4-FFF2-40B4-BE49-F238E27FC236}">
                    <a16:creationId xmlns="" xmlns:a16="http://schemas.microsoft.com/office/drawing/2014/main" id="{D05AD0A2-86A2-43B1-8847-9341399695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8053" y="5830023"/>
                <a:ext cx="518037" cy="135516"/>
              </a:xfrm>
              <a:custGeom>
                <a:avLst/>
                <a:gdLst/>
                <a:ahLst/>
                <a:cxnLst>
                  <a:cxn ang="0">
                    <a:pos x="174" y="91"/>
                  </a:cxn>
                  <a:cxn ang="0">
                    <a:pos x="0" y="45"/>
                  </a:cxn>
                  <a:cxn ang="0">
                    <a:pos x="174" y="0"/>
                  </a:cxn>
                  <a:cxn ang="0">
                    <a:pos x="349" y="45"/>
                  </a:cxn>
                  <a:cxn ang="0">
                    <a:pos x="174" y="91"/>
                  </a:cxn>
                  <a:cxn ang="0">
                    <a:pos x="174" y="11"/>
                  </a:cxn>
                  <a:cxn ang="0">
                    <a:pos x="11" y="45"/>
                  </a:cxn>
                  <a:cxn ang="0">
                    <a:pos x="174" y="79"/>
                  </a:cxn>
                  <a:cxn ang="0">
                    <a:pos x="337" y="45"/>
                  </a:cxn>
                  <a:cxn ang="0">
                    <a:pos x="174" y="11"/>
                  </a:cxn>
                </a:cxnLst>
                <a:rect l="0" t="0" r="r" b="b"/>
                <a:pathLst>
                  <a:path w="349" h="91">
                    <a:moveTo>
                      <a:pt x="174" y="91"/>
                    </a:moveTo>
                    <a:cubicBezTo>
                      <a:pt x="87" y="91"/>
                      <a:pt x="0" y="75"/>
                      <a:pt x="0" y="45"/>
                    </a:cubicBezTo>
                    <a:cubicBezTo>
                      <a:pt x="0" y="15"/>
                      <a:pt x="87" y="0"/>
                      <a:pt x="174" y="0"/>
                    </a:cubicBezTo>
                    <a:cubicBezTo>
                      <a:pt x="261" y="0"/>
                      <a:pt x="349" y="15"/>
                      <a:pt x="349" y="45"/>
                    </a:cubicBezTo>
                    <a:cubicBezTo>
                      <a:pt x="349" y="75"/>
                      <a:pt x="261" y="91"/>
                      <a:pt x="174" y="91"/>
                    </a:cubicBezTo>
                    <a:close/>
                    <a:moveTo>
                      <a:pt x="174" y="11"/>
                    </a:moveTo>
                    <a:cubicBezTo>
                      <a:pt x="75" y="11"/>
                      <a:pt x="11" y="31"/>
                      <a:pt x="11" y="45"/>
                    </a:cubicBezTo>
                    <a:cubicBezTo>
                      <a:pt x="11" y="59"/>
                      <a:pt x="73" y="79"/>
                      <a:pt x="174" y="79"/>
                    </a:cubicBezTo>
                    <a:cubicBezTo>
                      <a:pt x="275" y="79"/>
                      <a:pt x="337" y="59"/>
                      <a:pt x="337" y="45"/>
                    </a:cubicBezTo>
                    <a:cubicBezTo>
                      <a:pt x="337" y="31"/>
                      <a:pt x="274" y="11"/>
                      <a:pt x="17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4" name="Freeform 20">
                <a:extLst>
                  <a:ext uri="{FF2B5EF4-FFF2-40B4-BE49-F238E27FC236}">
                    <a16:creationId xmlns="" xmlns:a16="http://schemas.microsoft.com/office/drawing/2014/main" id="{1017F237-CDFC-4167-A5F1-1FF2CF95D6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31236" y="5585902"/>
                <a:ext cx="131672" cy="74005"/>
              </a:xfrm>
              <a:custGeom>
                <a:avLst/>
                <a:gdLst/>
                <a:ahLst/>
                <a:cxnLst>
                  <a:cxn ang="0">
                    <a:pos x="83" y="50"/>
                  </a:cxn>
                  <a:cxn ang="0">
                    <a:pos x="5" y="50"/>
                  </a:cxn>
                  <a:cxn ang="0">
                    <a:pos x="0" y="45"/>
                  </a:cxn>
                  <a:cxn ang="0">
                    <a:pos x="44" y="0"/>
                  </a:cxn>
                  <a:cxn ang="0">
                    <a:pos x="89" y="45"/>
                  </a:cxn>
                  <a:cxn ang="0">
                    <a:pos x="83" y="50"/>
                  </a:cxn>
                  <a:cxn ang="0">
                    <a:pos x="11" y="39"/>
                  </a:cxn>
                  <a:cxn ang="0">
                    <a:pos x="77" y="39"/>
                  </a:cxn>
                  <a:cxn ang="0">
                    <a:pos x="44" y="11"/>
                  </a:cxn>
                  <a:cxn ang="0">
                    <a:pos x="11" y="39"/>
                  </a:cxn>
                </a:cxnLst>
                <a:rect l="0" t="0" r="r" b="b"/>
                <a:pathLst>
                  <a:path w="89" h="50">
                    <a:moveTo>
                      <a:pt x="83" y="50"/>
                    </a:moveTo>
                    <a:cubicBezTo>
                      <a:pt x="5" y="50"/>
                      <a:pt x="5" y="50"/>
                      <a:pt x="5" y="50"/>
                    </a:cubicBezTo>
                    <a:cubicBezTo>
                      <a:pt x="2" y="50"/>
                      <a:pt x="0" y="48"/>
                      <a:pt x="0" y="45"/>
                    </a:cubicBezTo>
                    <a:cubicBezTo>
                      <a:pt x="0" y="20"/>
                      <a:pt x="20" y="0"/>
                      <a:pt x="44" y="0"/>
                    </a:cubicBezTo>
                    <a:cubicBezTo>
                      <a:pt x="69" y="0"/>
                      <a:pt x="89" y="20"/>
                      <a:pt x="89" y="45"/>
                    </a:cubicBezTo>
                    <a:cubicBezTo>
                      <a:pt x="89" y="48"/>
                      <a:pt x="86" y="50"/>
                      <a:pt x="83" y="50"/>
                    </a:cubicBezTo>
                    <a:close/>
                    <a:moveTo>
                      <a:pt x="11" y="39"/>
                    </a:moveTo>
                    <a:cubicBezTo>
                      <a:pt x="77" y="39"/>
                      <a:pt x="77" y="39"/>
                      <a:pt x="77" y="39"/>
                    </a:cubicBezTo>
                    <a:cubicBezTo>
                      <a:pt x="74" y="23"/>
                      <a:pt x="61" y="11"/>
                      <a:pt x="44" y="11"/>
                    </a:cubicBezTo>
                    <a:cubicBezTo>
                      <a:pt x="28" y="11"/>
                      <a:pt x="14" y="23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5" name="Freeform 21">
                <a:extLst>
                  <a:ext uri="{FF2B5EF4-FFF2-40B4-BE49-F238E27FC236}">
                    <a16:creationId xmlns="" xmlns:a16="http://schemas.microsoft.com/office/drawing/2014/main" id="{5B414DC0-59B5-4023-BBF8-569DFF601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097" y="5611852"/>
                <a:ext cx="24989" cy="25950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8" y="17"/>
                  </a:cxn>
                  <a:cxn ang="0">
                    <a:pos x="8" y="17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17" y="8"/>
                  </a:cxn>
                </a:cxnLst>
                <a:rect l="0" t="0" r="r" b="b"/>
                <a:pathLst>
                  <a:path w="17" h="17">
                    <a:moveTo>
                      <a:pt x="17" y="8"/>
                    </a:moveTo>
                    <a:cubicBezTo>
                      <a:pt x="17" y="13"/>
                      <a:pt x="13" y="17"/>
                      <a:pt x="8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3" y="17"/>
                      <a:pt x="0" y="13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3" y="0"/>
                      <a:pt x="17" y="4"/>
                      <a:pt x="17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46" name="组合 145">
            <a:extLst>
              <a:ext uri="{FF2B5EF4-FFF2-40B4-BE49-F238E27FC236}">
                <a16:creationId xmlns="" xmlns:a16="http://schemas.microsoft.com/office/drawing/2014/main" id="{9E143DA7-BA8F-4CB7-A9DF-BB5E2496D104}"/>
              </a:ext>
            </a:extLst>
          </p:cNvPr>
          <p:cNvGrpSpPr/>
          <p:nvPr/>
        </p:nvGrpSpPr>
        <p:grpSpPr>
          <a:xfrm>
            <a:off x="4940185" y="4027882"/>
            <a:ext cx="837793" cy="837793"/>
            <a:chOff x="5407475" y="3982115"/>
            <a:chExt cx="838011" cy="838011"/>
          </a:xfrm>
        </p:grpSpPr>
        <p:pic>
          <p:nvPicPr>
            <p:cNvPr id="147" name="图片 146">
              <a:extLst>
                <a:ext uri="{FF2B5EF4-FFF2-40B4-BE49-F238E27FC236}">
                  <a16:creationId xmlns="" xmlns:a16="http://schemas.microsoft.com/office/drawing/2014/main" id="{BB444944-82DF-4EDE-8892-C21575B5F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7475" y="3982115"/>
              <a:ext cx="838011" cy="838011"/>
            </a:xfrm>
            <a:prstGeom prst="rect">
              <a:avLst/>
            </a:prstGeom>
          </p:spPr>
        </p:pic>
        <p:grpSp>
          <p:nvGrpSpPr>
            <p:cNvPr id="148" name="组合 173">
              <a:extLst>
                <a:ext uri="{FF2B5EF4-FFF2-40B4-BE49-F238E27FC236}">
                  <a16:creationId xmlns="" xmlns:a16="http://schemas.microsoft.com/office/drawing/2014/main" id="{D0F3519C-C016-4B4E-914C-5CF307CADB7D}"/>
                </a:ext>
              </a:extLst>
            </p:cNvPr>
            <p:cNvGrpSpPr/>
            <p:nvPr/>
          </p:nvGrpSpPr>
          <p:grpSpPr>
            <a:xfrm>
              <a:off x="5621550" y="4262563"/>
              <a:ext cx="409860" cy="277115"/>
              <a:chOff x="-4491447" y="3955225"/>
              <a:chExt cx="827789" cy="580263"/>
            </a:xfrm>
            <a:solidFill>
              <a:schemeClr val="tx1">
                <a:lumMod val="50000"/>
                <a:lumOff val="50000"/>
              </a:schemeClr>
            </a:solidFill>
          </p:grpSpPr>
          <p:sp>
            <p:nvSpPr>
              <p:cNvPr id="150" name="Freeform 51">
                <a:extLst>
                  <a:ext uri="{FF2B5EF4-FFF2-40B4-BE49-F238E27FC236}">
                    <a16:creationId xmlns="" xmlns:a16="http://schemas.microsoft.com/office/drawing/2014/main" id="{C9066391-4F08-491A-A6E3-553744CD75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491447" y="4369119"/>
                <a:ext cx="580264" cy="166369"/>
              </a:xfrm>
              <a:custGeom>
                <a:avLst/>
                <a:gdLst/>
                <a:ahLst/>
                <a:cxnLst>
                  <a:cxn ang="0">
                    <a:pos x="226" y="14"/>
                  </a:cxn>
                  <a:cxn ang="0">
                    <a:pos x="226" y="14"/>
                  </a:cxn>
                  <a:cxn ang="0">
                    <a:pos x="222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2" y="10"/>
                  </a:cxn>
                  <a:cxn ang="0">
                    <a:pos x="6" y="14"/>
                  </a:cxn>
                  <a:cxn ang="0">
                    <a:pos x="4" y="20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54"/>
                  </a:cxn>
                  <a:cxn ang="0">
                    <a:pos x="4" y="62"/>
                  </a:cxn>
                  <a:cxn ang="0">
                    <a:pos x="6" y="68"/>
                  </a:cxn>
                  <a:cxn ang="0">
                    <a:pos x="12" y="72"/>
                  </a:cxn>
                  <a:cxn ang="0">
                    <a:pos x="18" y="76"/>
                  </a:cxn>
                  <a:cxn ang="0">
                    <a:pos x="24" y="80"/>
                  </a:cxn>
                  <a:cxn ang="0">
                    <a:pos x="32" y="82"/>
                  </a:cxn>
                  <a:cxn ang="0">
                    <a:pos x="40" y="82"/>
                  </a:cxn>
                  <a:cxn ang="0">
                    <a:pos x="282" y="82"/>
                  </a:cxn>
                  <a:cxn ang="0">
                    <a:pos x="282" y="82"/>
                  </a:cxn>
                  <a:cxn ang="0">
                    <a:pos x="286" y="82"/>
                  </a:cxn>
                  <a:cxn ang="0">
                    <a:pos x="286" y="82"/>
                  </a:cxn>
                  <a:cxn ang="0">
                    <a:pos x="266" y="68"/>
                  </a:cxn>
                  <a:cxn ang="0">
                    <a:pos x="250" y="50"/>
                  </a:cxn>
                  <a:cxn ang="0">
                    <a:pos x="238" y="32"/>
                  </a:cxn>
                  <a:cxn ang="0">
                    <a:pos x="226" y="14"/>
                  </a:cxn>
                  <a:cxn ang="0">
                    <a:pos x="226" y="14"/>
                  </a:cxn>
                  <a:cxn ang="0">
                    <a:pos x="48" y="54"/>
                  </a:cxn>
                  <a:cxn ang="0">
                    <a:pos x="48" y="54"/>
                  </a:cxn>
                  <a:cxn ang="0">
                    <a:pos x="44" y="54"/>
                  </a:cxn>
                  <a:cxn ang="0">
                    <a:pos x="40" y="50"/>
                  </a:cxn>
                  <a:cxn ang="0">
                    <a:pos x="36" y="46"/>
                  </a:cxn>
                  <a:cxn ang="0">
                    <a:pos x="36" y="40"/>
                  </a:cxn>
                  <a:cxn ang="0">
                    <a:pos x="36" y="40"/>
                  </a:cxn>
                  <a:cxn ang="0">
                    <a:pos x="36" y="36"/>
                  </a:cxn>
                  <a:cxn ang="0">
                    <a:pos x="40" y="32"/>
                  </a:cxn>
                  <a:cxn ang="0">
                    <a:pos x="44" y="28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54" y="28"/>
                  </a:cxn>
                  <a:cxn ang="0">
                    <a:pos x="58" y="32"/>
                  </a:cxn>
                  <a:cxn ang="0">
                    <a:pos x="62" y="36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46"/>
                  </a:cxn>
                  <a:cxn ang="0">
                    <a:pos x="58" y="50"/>
                  </a:cxn>
                  <a:cxn ang="0">
                    <a:pos x="54" y="54"/>
                  </a:cxn>
                  <a:cxn ang="0">
                    <a:pos x="48" y="54"/>
                  </a:cxn>
                  <a:cxn ang="0">
                    <a:pos x="48" y="54"/>
                  </a:cxn>
                </a:cxnLst>
                <a:rect l="0" t="0" r="r" b="b"/>
                <a:pathLst>
                  <a:path w="286" h="82">
                    <a:moveTo>
                      <a:pt x="226" y="14"/>
                    </a:moveTo>
                    <a:lnTo>
                      <a:pt x="226" y="14"/>
                    </a:lnTo>
                    <a:lnTo>
                      <a:pt x="22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6" y="14"/>
                    </a:lnTo>
                    <a:lnTo>
                      <a:pt x="4" y="20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12" y="72"/>
                    </a:lnTo>
                    <a:lnTo>
                      <a:pt x="18" y="76"/>
                    </a:lnTo>
                    <a:lnTo>
                      <a:pt x="24" y="80"/>
                    </a:lnTo>
                    <a:lnTo>
                      <a:pt x="32" y="82"/>
                    </a:lnTo>
                    <a:lnTo>
                      <a:pt x="40" y="82"/>
                    </a:lnTo>
                    <a:lnTo>
                      <a:pt x="282" y="82"/>
                    </a:lnTo>
                    <a:lnTo>
                      <a:pt x="282" y="82"/>
                    </a:lnTo>
                    <a:lnTo>
                      <a:pt x="286" y="82"/>
                    </a:lnTo>
                    <a:lnTo>
                      <a:pt x="286" y="82"/>
                    </a:lnTo>
                    <a:lnTo>
                      <a:pt x="266" y="68"/>
                    </a:lnTo>
                    <a:lnTo>
                      <a:pt x="250" y="50"/>
                    </a:lnTo>
                    <a:lnTo>
                      <a:pt x="238" y="32"/>
                    </a:lnTo>
                    <a:lnTo>
                      <a:pt x="226" y="14"/>
                    </a:lnTo>
                    <a:lnTo>
                      <a:pt x="226" y="14"/>
                    </a:lnTo>
                    <a:close/>
                    <a:moveTo>
                      <a:pt x="48" y="54"/>
                    </a:moveTo>
                    <a:lnTo>
                      <a:pt x="48" y="54"/>
                    </a:lnTo>
                    <a:lnTo>
                      <a:pt x="44" y="54"/>
                    </a:lnTo>
                    <a:lnTo>
                      <a:pt x="40" y="50"/>
                    </a:lnTo>
                    <a:lnTo>
                      <a:pt x="36" y="4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4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4" y="28"/>
                    </a:lnTo>
                    <a:lnTo>
                      <a:pt x="58" y="32"/>
                    </a:lnTo>
                    <a:lnTo>
                      <a:pt x="62" y="36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6"/>
                    </a:lnTo>
                    <a:lnTo>
                      <a:pt x="58" y="5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54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1" name="Freeform 52">
                <a:extLst>
                  <a:ext uri="{FF2B5EF4-FFF2-40B4-BE49-F238E27FC236}">
                    <a16:creationId xmlns="" xmlns:a16="http://schemas.microsoft.com/office/drawing/2014/main" id="{AEF04096-8BD1-4870-9D6D-E59E6C7AAD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491447" y="4166230"/>
                <a:ext cx="442299" cy="170427"/>
              </a:xfrm>
              <a:custGeom>
                <a:avLst/>
                <a:gdLst/>
                <a:ahLst/>
                <a:cxnLst>
                  <a:cxn ang="0">
                    <a:pos x="212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2" y="10"/>
                  </a:cxn>
                  <a:cxn ang="0">
                    <a:pos x="6" y="16"/>
                  </a:cxn>
                  <a:cxn ang="0">
                    <a:pos x="4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56"/>
                  </a:cxn>
                  <a:cxn ang="0">
                    <a:pos x="4" y="62"/>
                  </a:cxn>
                  <a:cxn ang="0">
                    <a:pos x="6" y="68"/>
                  </a:cxn>
                  <a:cxn ang="0">
                    <a:pos x="12" y="74"/>
                  </a:cxn>
                  <a:cxn ang="0">
                    <a:pos x="18" y="78"/>
                  </a:cxn>
                  <a:cxn ang="0">
                    <a:pos x="24" y="80"/>
                  </a:cxn>
                  <a:cxn ang="0">
                    <a:pos x="32" y="82"/>
                  </a:cxn>
                  <a:cxn ang="0">
                    <a:pos x="40" y="84"/>
                  </a:cxn>
                  <a:cxn ang="0">
                    <a:pos x="218" y="84"/>
                  </a:cxn>
                  <a:cxn ang="0">
                    <a:pos x="218" y="84"/>
                  </a:cxn>
                  <a:cxn ang="0">
                    <a:pos x="214" y="60"/>
                  </a:cxn>
                  <a:cxn ang="0">
                    <a:pos x="212" y="38"/>
                  </a:cxn>
                  <a:cxn ang="0">
                    <a:pos x="212" y="0"/>
                  </a:cxn>
                  <a:cxn ang="0">
                    <a:pos x="212" y="0"/>
                  </a:cxn>
                  <a:cxn ang="0">
                    <a:pos x="48" y="56"/>
                  </a:cxn>
                  <a:cxn ang="0">
                    <a:pos x="48" y="56"/>
                  </a:cxn>
                  <a:cxn ang="0">
                    <a:pos x="44" y="54"/>
                  </a:cxn>
                  <a:cxn ang="0">
                    <a:pos x="40" y="52"/>
                  </a:cxn>
                  <a:cxn ang="0">
                    <a:pos x="36" y="48"/>
                  </a:cxn>
                  <a:cxn ang="0">
                    <a:pos x="36" y="42"/>
                  </a:cxn>
                  <a:cxn ang="0">
                    <a:pos x="36" y="42"/>
                  </a:cxn>
                  <a:cxn ang="0">
                    <a:pos x="36" y="36"/>
                  </a:cxn>
                  <a:cxn ang="0">
                    <a:pos x="40" y="32"/>
                  </a:cxn>
                  <a:cxn ang="0">
                    <a:pos x="44" y="30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54" y="30"/>
                  </a:cxn>
                  <a:cxn ang="0">
                    <a:pos x="58" y="32"/>
                  </a:cxn>
                  <a:cxn ang="0">
                    <a:pos x="62" y="36"/>
                  </a:cxn>
                  <a:cxn ang="0">
                    <a:pos x="62" y="42"/>
                  </a:cxn>
                  <a:cxn ang="0">
                    <a:pos x="62" y="42"/>
                  </a:cxn>
                  <a:cxn ang="0">
                    <a:pos x="62" y="48"/>
                  </a:cxn>
                  <a:cxn ang="0">
                    <a:pos x="58" y="52"/>
                  </a:cxn>
                  <a:cxn ang="0">
                    <a:pos x="54" y="54"/>
                  </a:cxn>
                  <a:cxn ang="0">
                    <a:pos x="48" y="56"/>
                  </a:cxn>
                  <a:cxn ang="0">
                    <a:pos x="48" y="56"/>
                  </a:cxn>
                </a:cxnLst>
                <a:rect l="0" t="0" r="r" b="b"/>
                <a:pathLst>
                  <a:path w="218" h="84">
                    <a:moveTo>
                      <a:pt x="212" y="0"/>
                    </a:move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6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12" y="74"/>
                    </a:lnTo>
                    <a:lnTo>
                      <a:pt x="18" y="78"/>
                    </a:lnTo>
                    <a:lnTo>
                      <a:pt x="24" y="80"/>
                    </a:lnTo>
                    <a:lnTo>
                      <a:pt x="32" y="82"/>
                    </a:lnTo>
                    <a:lnTo>
                      <a:pt x="40" y="84"/>
                    </a:lnTo>
                    <a:lnTo>
                      <a:pt x="218" y="84"/>
                    </a:lnTo>
                    <a:lnTo>
                      <a:pt x="218" y="84"/>
                    </a:lnTo>
                    <a:lnTo>
                      <a:pt x="214" y="60"/>
                    </a:lnTo>
                    <a:lnTo>
                      <a:pt x="212" y="38"/>
                    </a:lnTo>
                    <a:lnTo>
                      <a:pt x="212" y="0"/>
                    </a:lnTo>
                    <a:lnTo>
                      <a:pt x="212" y="0"/>
                    </a:lnTo>
                    <a:close/>
                    <a:moveTo>
                      <a:pt x="48" y="56"/>
                    </a:moveTo>
                    <a:lnTo>
                      <a:pt x="48" y="56"/>
                    </a:lnTo>
                    <a:lnTo>
                      <a:pt x="44" y="54"/>
                    </a:lnTo>
                    <a:lnTo>
                      <a:pt x="40" y="52"/>
                    </a:lnTo>
                    <a:lnTo>
                      <a:pt x="36" y="48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4" y="30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4" y="30"/>
                    </a:lnTo>
                    <a:lnTo>
                      <a:pt x="58" y="32"/>
                    </a:lnTo>
                    <a:lnTo>
                      <a:pt x="62" y="36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48"/>
                    </a:lnTo>
                    <a:lnTo>
                      <a:pt x="58" y="52"/>
                    </a:lnTo>
                    <a:lnTo>
                      <a:pt x="54" y="54"/>
                    </a:lnTo>
                    <a:lnTo>
                      <a:pt x="48" y="56"/>
                    </a:lnTo>
                    <a:lnTo>
                      <a:pt x="48" y="56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2" name="Freeform 53">
                <a:extLst>
                  <a:ext uri="{FF2B5EF4-FFF2-40B4-BE49-F238E27FC236}">
                    <a16:creationId xmlns="" xmlns:a16="http://schemas.microsoft.com/office/drawing/2014/main" id="{EE32B33B-CD8D-4419-AD7E-C710695CCA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491447" y="3955225"/>
                <a:ext cx="649246" cy="170427"/>
              </a:xfrm>
              <a:custGeom>
                <a:avLst/>
                <a:gdLst/>
                <a:ahLst/>
                <a:cxnLst>
                  <a:cxn ang="0">
                    <a:pos x="318" y="56"/>
                  </a:cxn>
                  <a:cxn ang="0">
                    <a:pos x="320" y="58"/>
                  </a:cxn>
                  <a:cxn ang="0">
                    <a:pos x="320" y="58"/>
                  </a:cxn>
                  <a:cxn ang="0">
                    <a:pos x="320" y="48"/>
                  </a:cxn>
                  <a:cxn ang="0">
                    <a:pos x="320" y="36"/>
                  </a:cxn>
                  <a:cxn ang="0">
                    <a:pos x="320" y="36"/>
                  </a:cxn>
                  <a:cxn ang="0">
                    <a:pos x="320" y="28"/>
                  </a:cxn>
                  <a:cxn ang="0">
                    <a:pos x="318" y="22"/>
                  </a:cxn>
                  <a:cxn ang="0">
                    <a:pos x="314" y="16"/>
                  </a:cxn>
                  <a:cxn ang="0">
                    <a:pos x="310" y="10"/>
                  </a:cxn>
                  <a:cxn ang="0">
                    <a:pos x="304" y="6"/>
                  </a:cxn>
                  <a:cxn ang="0">
                    <a:pos x="296" y="4"/>
                  </a:cxn>
                  <a:cxn ang="0">
                    <a:pos x="290" y="2"/>
                  </a:cxn>
                  <a:cxn ang="0">
                    <a:pos x="282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0"/>
                  </a:cxn>
                  <a:cxn ang="0">
                    <a:pos x="6" y="16"/>
                  </a:cxn>
                  <a:cxn ang="0">
                    <a:pos x="4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56"/>
                  </a:cxn>
                  <a:cxn ang="0">
                    <a:pos x="4" y="62"/>
                  </a:cxn>
                  <a:cxn ang="0">
                    <a:pos x="6" y="68"/>
                  </a:cxn>
                  <a:cxn ang="0">
                    <a:pos x="12" y="74"/>
                  </a:cxn>
                  <a:cxn ang="0">
                    <a:pos x="18" y="78"/>
                  </a:cxn>
                  <a:cxn ang="0">
                    <a:pos x="24" y="82"/>
                  </a:cxn>
                  <a:cxn ang="0">
                    <a:pos x="32" y="84"/>
                  </a:cxn>
                  <a:cxn ang="0">
                    <a:pos x="40" y="84"/>
                  </a:cxn>
                  <a:cxn ang="0">
                    <a:pos x="244" y="84"/>
                  </a:cxn>
                  <a:cxn ang="0">
                    <a:pos x="318" y="56"/>
                  </a:cxn>
                  <a:cxn ang="0">
                    <a:pos x="48" y="56"/>
                  </a:cxn>
                  <a:cxn ang="0">
                    <a:pos x="48" y="56"/>
                  </a:cxn>
                  <a:cxn ang="0">
                    <a:pos x="44" y="54"/>
                  </a:cxn>
                  <a:cxn ang="0">
                    <a:pos x="40" y="52"/>
                  </a:cxn>
                  <a:cxn ang="0">
                    <a:pos x="36" y="48"/>
                  </a:cxn>
                  <a:cxn ang="0">
                    <a:pos x="36" y="42"/>
                  </a:cxn>
                  <a:cxn ang="0">
                    <a:pos x="36" y="42"/>
                  </a:cxn>
                  <a:cxn ang="0">
                    <a:pos x="36" y="36"/>
                  </a:cxn>
                  <a:cxn ang="0">
                    <a:pos x="40" y="32"/>
                  </a:cxn>
                  <a:cxn ang="0">
                    <a:pos x="44" y="30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54" y="30"/>
                  </a:cxn>
                  <a:cxn ang="0">
                    <a:pos x="58" y="32"/>
                  </a:cxn>
                  <a:cxn ang="0">
                    <a:pos x="62" y="36"/>
                  </a:cxn>
                  <a:cxn ang="0">
                    <a:pos x="62" y="42"/>
                  </a:cxn>
                  <a:cxn ang="0">
                    <a:pos x="62" y="42"/>
                  </a:cxn>
                  <a:cxn ang="0">
                    <a:pos x="62" y="48"/>
                  </a:cxn>
                  <a:cxn ang="0">
                    <a:pos x="58" y="52"/>
                  </a:cxn>
                  <a:cxn ang="0">
                    <a:pos x="54" y="54"/>
                  </a:cxn>
                  <a:cxn ang="0">
                    <a:pos x="48" y="56"/>
                  </a:cxn>
                  <a:cxn ang="0">
                    <a:pos x="48" y="56"/>
                  </a:cxn>
                </a:cxnLst>
                <a:rect l="0" t="0" r="r" b="b"/>
                <a:pathLst>
                  <a:path w="320" h="84">
                    <a:moveTo>
                      <a:pt x="318" y="56"/>
                    </a:moveTo>
                    <a:lnTo>
                      <a:pt x="320" y="58"/>
                    </a:lnTo>
                    <a:lnTo>
                      <a:pt x="320" y="58"/>
                    </a:lnTo>
                    <a:lnTo>
                      <a:pt x="320" y="48"/>
                    </a:lnTo>
                    <a:lnTo>
                      <a:pt x="320" y="36"/>
                    </a:lnTo>
                    <a:lnTo>
                      <a:pt x="320" y="36"/>
                    </a:lnTo>
                    <a:lnTo>
                      <a:pt x="320" y="28"/>
                    </a:lnTo>
                    <a:lnTo>
                      <a:pt x="318" y="22"/>
                    </a:lnTo>
                    <a:lnTo>
                      <a:pt x="314" y="16"/>
                    </a:lnTo>
                    <a:lnTo>
                      <a:pt x="310" y="10"/>
                    </a:lnTo>
                    <a:lnTo>
                      <a:pt x="304" y="6"/>
                    </a:lnTo>
                    <a:lnTo>
                      <a:pt x="296" y="4"/>
                    </a:lnTo>
                    <a:lnTo>
                      <a:pt x="290" y="2"/>
                    </a:lnTo>
                    <a:lnTo>
                      <a:pt x="28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6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6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12" y="74"/>
                    </a:lnTo>
                    <a:lnTo>
                      <a:pt x="18" y="78"/>
                    </a:lnTo>
                    <a:lnTo>
                      <a:pt x="24" y="82"/>
                    </a:lnTo>
                    <a:lnTo>
                      <a:pt x="32" y="84"/>
                    </a:lnTo>
                    <a:lnTo>
                      <a:pt x="40" y="84"/>
                    </a:lnTo>
                    <a:lnTo>
                      <a:pt x="244" y="84"/>
                    </a:lnTo>
                    <a:lnTo>
                      <a:pt x="318" y="56"/>
                    </a:lnTo>
                    <a:close/>
                    <a:moveTo>
                      <a:pt x="48" y="56"/>
                    </a:moveTo>
                    <a:lnTo>
                      <a:pt x="48" y="56"/>
                    </a:lnTo>
                    <a:lnTo>
                      <a:pt x="44" y="54"/>
                    </a:lnTo>
                    <a:lnTo>
                      <a:pt x="40" y="52"/>
                    </a:lnTo>
                    <a:lnTo>
                      <a:pt x="36" y="48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0" y="32"/>
                    </a:lnTo>
                    <a:lnTo>
                      <a:pt x="44" y="30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4" y="30"/>
                    </a:lnTo>
                    <a:lnTo>
                      <a:pt x="58" y="32"/>
                    </a:lnTo>
                    <a:lnTo>
                      <a:pt x="62" y="36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48"/>
                    </a:lnTo>
                    <a:lnTo>
                      <a:pt x="58" y="52"/>
                    </a:lnTo>
                    <a:lnTo>
                      <a:pt x="54" y="54"/>
                    </a:lnTo>
                    <a:lnTo>
                      <a:pt x="48" y="56"/>
                    </a:lnTo>
                    <a:lnTo>
                      <a:pt x="48" y="56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3" name="Freeform 54">
                <a:extLst>
                  <a:ext uri="{FF2B5EF4-FFF2-40B4-BE49-F238E27FC236}">
                    <a16:creationId xmlns="" xmlns:a16="http://schemas.microsoft.com/office/drawing/2014/main" id="{D7303CFB-8463-4C4C-886C-563983933D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028859" y="4113478"/>
                <a:ext cx="365201" cy="422010"/>
              </a:xfrm>
              <a:custGeom>
                <a:avLst/>
                <a:gdLst/>
                <a:ahLst/>
                <a:cxnLst>
                  <a:cxn ang="0">
                    <a:pos x="180" y="34"/>
                  </a:cxn>
                  <a:cxn ang="0">
                    <a:pos x="180" y="34"/>
                  </a:cxn>
                  <a:cxn ang="0">
                    <a:pos x="90" y="0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54"/>
                  </a:cxn>
                  <a:cxn ang="0">
                    <a:pos x="0" y="82"/>
                  </a:cxn>
                  <a:cxn ang="0">
                    <a:pos x="4" y="110"/>
                  </a:cxn>
                  <a:cxn ang="0">
                    <a:pos x="8" y="122"/>
                  </a:cxn>
                  <a:cxn ang="0">
                    <a:pos x="12" y="134"/>
                  </a:cxn>
                  <a:cxn ang="0">
                    <a:pos x="12" y="134"/>
                  </a:cxn>
                  <a:cxn ang="0">
                    <a:pos x="24" y="156"/>
                  </a:cxn>
                  <a:cxn ang="0">
                    <a:pos x="32" y="168"/>
                  </a:cxn>
                  <a:cxn ang="0">
                    <a:pos x="42" y="178"/>
                  </a:cxn>
                  <a:cxn ang="0">
                    <a:pos x="52" y="186"/>
                  </a:cxn>
                  <a:cxn ang="0">
                    <a:pos x="62" y="194"/>
                  </a:cxn>
                  <a:cxn ang="0">
                    <a:pos x="76" y="202"/>
                  </a:cxn>
                  <a:cxn ang="0">
                    <a:pos x="90" y="208"/>
                  </a:cxn>
                  <a:cxn ang="0">
                    <a:pos x="90" y="208"/>
                  </a:cxn>
                  <a:cxn ang="0">
                    <a:pos x="104" y="202"/>
                  </a:cxn>
                  <a:cxn ang="0">
                    <a:pos x="116" y="194"/>
                  </a:cxn>
                  <a:cxn ang="0">
                    <a:pos x="128" y="186"/>
                  </a:cxn>
                  <a:cxn ang="0">
                    <a:pos x="138" y="178"/>
                  </a:cxn>
                  <a:cxn ang="0">
                    <a:pos x="146" y="168"/>
                  </a:cxn>
                  <a:cxn ang="0">
                    <a:pos x="154" y="156"/>
                  </a:cxn>
                  <a:cxn ang="0">
                    <a:pos x="166" y="134"/>
                  </a:cxn>
                  <a:cxn ang="0">
                    <a:pos x="166" y="134"/>
                  </a:cxn>
                  <a:cxn ang="0">
                    <a:pos x="170" y="122"/>
                  </a:cxn>
                  <a:cxn ang="0">
                    <a:pos x="174" y="110"/>
                  </a:cxn>
                  <a:cxn ang="0">
                    <a:pos x="178" y="82"/>
                  </a:cxn>
                  <a:cxn ang="0">
                    <a:pos x="180" y="54"/>
                  </a:cxn>
                  <a:cxn ang="0">
                    <a:pos x="180" y="34"/>
                  </a:cxn>
                  <a:cxn ang="0">
                    <a:pos x="180" y="34"/>
                  </a:cxn>
                  <a:cxn ang="0">
                    <a:pos x="160" y="48"/>
                  </a:cxn>
                  <a:cxn ang="0">
                    <a:pos x="160" y="48"/>
                  </a:cxn>
                  <a:cxn ang="0">
                    <a:pos x="158" y="88"/>
                  </a:cxn>
                  <a:cxn ang="0">
                    <a:pos x="154" y="110"/>
                  </a:cxn>
                  <a:cxn ang="0">
                    <a:pos x="150" y="126"/>
                  </a:cxn>
                  <a:cxn ang="0">
                    <a:pos x="150" y="126"/>
                  </a:cxn>
                  <a:cxn ang="0">
                    <a:pos x="138" y="146"/>
                  </a:cxn>
                  <a:cxn ang="0">
                    <a:pos x="126" y="162"/>
                  </a:cxn>
                  <a:cxn ang="0">
                    <a:pos x="108" y="178"/>
                  </a:cxn>
                  <a:cxn ang="0">
                    <a:pos x="100" y="184"/>
                  </a:cxn>
                  <a:cxn ang="0">
                    <a:pos x="90" y="188"/>
                  </a:cxn>
                  <a:cxn ang="0">
                    <a:pos x="90" y="188"/>
                  </a:cxn>
                  <a:cxn ang="0">
                    <a:pos x="80" y="184"/>
                  </a:cxn>
                  <a:cxn ang="0">
                    <a:pos x="70" y="178"/>
                  </a:cxn>
                  <a:cxn ang="0">
                    <a:pos x="54" y="162"/>
                  </a:cxn>
                  <a:cxn ang="0">
                    <a:pos x="40" y="146"/>
                  </a:cxn>
                  <a:cxn ang="0">
                    <a:pos x="30" y="126"/>
                  </a:cxn>
                  <a:cxn ang="0">
                    <a:pos x="30" y="126"/>
                  </a:cxn>
                  <a:cxn ang="0">
                    <a:pos x="24" y="110"/>
                  </a:cxn>
                  <a:cxn ang="0">
                    <a:pos x="20" y="88"/>
                  </a:cxn>
                  <a:cxn ang="0">
                    <a:pos x="18" y="48"/>
                  </a:cxn>
                  <a:cxn ang="0">
                    <a:pos x="90" y="20"/>
                  </a:cxn>
                  <a:cxn ang="0">
                    <a:pos x="162" y="48"/>
                  </a:cxn>
                  <a:cxn ang="0">
                    <a:pos x="160" y="48"/>
                  </a:cxn>
                </a:cxnLst>
                <a:rect l="0" t="0" r="r" b="b"/>
                <a:pathLst>
                  <a:path w="180" h="208">
                    <a:moveTo>
                      <a:pt x="180" y="34"/>
                    </a:moveTo>
                    <a:lnTo>
                      <a:pt x="180" y="34"/>
                    </a:lnTo>
                    <a:lnTo>
                      <a:pt x="90" y="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54"/>
                    </a:lnTo>
                    <a:lnTo>
                      <a:pt x="0" y="82"/>
                    </a:lnTo>
                    <a:lnTo>
                      <a:pt x="4" y="110"/>
                    </a:lnTo>
                    <a:lnTo>
                      <a:pt x="8" y="122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24" y="156"/>
                    </a:lnTo>
                    <a:lnTo>
                      <a:pt x="32" y="168"/>
                    </a:lnTo>
                    <a:lnTo>
                      <a:pt x="42" y="178"/>
                    </a:lnTo>
                    <a:lnTo>
                      <a:pt x="52" y="186"/>
                    </a:lnTo>
                    <a:lnTo>
                      <a:pt x="62" y="194"/>
                    </a:lnTo>
                    <a:lnTo>
                      <a:pt x="76" y="202"/>
                    </a:lnTo>
                    <a:lnTo>
                      <a:pt x="90" y="208"/>
                    </a:lnTo>
                    <a:lnTo>
                      <a:pt x="90" y="208"/>
                    </a:lnTo>
                    <a:lnTo>
                      <a:pt x="104" y="202"/>
                    </a:lnTo>
                    <a:lnTo>
                      <a:pt x="116" y="194"/>
                    </a:lnTo>
                    <a:lnTo>
                      <a:pt x="128" y="186"/>
                    </a:lnTo>
                    <a:lnTo>
                      <a:pt x="138" y="178"/>
                    </a:lnTo>
                    <a:lnTo>
                      <a:pt x="146" y="168"/>
                    </a:lnTo>
                    <a:lnTo>
                      <a:pt x="154" y="156"/>
                    </a:lnTo>
                    <a:lnTo>
                      <a:pt x="166" y="134"/>
                    </a:lnTo>
                    <a:lnTo>
                      <a:pt x="166" y="134"/>
                    </a:lnTo>
                    <a:lnTo>
                      <a:pt x="170" y="122"/>
                    </a:lnTo>
                    <a:lnTo>
                      <a:pt x="174" y="110"/>
                    </a:lnTo>
                    <a:lnTo>
                      <a:pt x="178" y="82"/>
                    </a:lnTo>
                    <a:lnTo>
                      <a:pt x="180" y="54"/>
                    </a:lnTo>
                    <a:lnTo>
                      <a:pt x="180" y="34"/>
                    </a:lnTo>
                    <a:lnTo>
                      <a:pt x="180" y="34"/>
                    </a:lnTo>
                    <a:close/>
                    <a:moveTo>
                      <a:pt x="160" y="48"/>
                    </a:moveTo>
                    <a:lnTo>
                      <a:pt x="160" y="48"/>
                    </a:lnTo>
                    <a:lnTo>
                      <a:pt x="158" y="88"/>
                    </a:lnTo>
                    <a:lnTo>
                      <a:pt x="154" y="110"/>
                    </a:lnTo>
                    <a:lnTo>
                      <a:pt x="150" y="126"/>
                    </a:lnTo>
                    <a:lnTo>
                      <a:pt x="150" y="126"/>
                    </a:lnTo>
                    <a:lnTo>
                      <a:pt x="138" y="146"/>
                    </a:lnTo>
                    <a:lnTo>
                      <a:pt x="126" y="162"/>
                    </a:lnTo>
                    <a:lnTo>
                      <a:pt x="108" y="178"/>
                    </a:lnTo>
                    <a:lnTo>
                      <a:pt x="100" y="184"/>
                    </a:lnTo>
                    <a:lnTo>
                      <a:pt x="90" y="188"/>
                    </a:lnTo>
                    <a:lnTo>
                      <a:pt x="90" y="188"/>
                    </a:lnTo>
                    <a:lnTo>
                      <a:pt x="80" y="184"/>
                    </a:lnTo>
                    <a:lnTo>
                      <a:pt x="70" y="178"/>
                    </a:lnTo>
                    <a:lnTo>
                      <a:pt x="54" y="162"/>
                    </a:lnTo>
                    <a:lnTo>
                      <a:pt x="40" y="146"/>
                    </a:lnTo>
                    <a:lnTo>
                      <a:pt x="30" y="126"/>
                    </a:lnTo>
                    <a:lnTo>
                      <a:pt x="30" y="126"/>
                    </a:lnTo>
                    <a:lnTo>
                      <a:pt x="24" y="110"/>
                    </a:lnTo>
                    <a:lnTo>
                      <a:pt x="20" y="88"/>
                    </a:lnTo>
                    <a:lnTo>
                      <a:pt x="18" y="48"/>
                    </a:lnTo>
                    <a:lnTo>
                      <a:pt x="90" y="20"/>
                    </a:lnTo>
                    <a:lnTo>
                      <a:pt x="162" y="48"/>
                    </a:lnTo>
                    <a:lnTo>
                      <a:pt x="160" y="48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4" name="Freeform 55">
                <a:extLst>
                  <a:ext uri="{FF2B5EF4-FFF2-40B4-BE49-F238E27FC236}">
                    <a16:creationId xmlns="" xmlns:a16="http://schemas.microsoft.com/office/drawing/2014/main" id="{0AA52D31-322E-454C-B8DF-C6EF9C958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27415" y="4247385"/>
                <a:ext cx="198832" cy="223178"/>
              </a:xfrm>
              <a:custGeom>
                <a:avLst/>
                <a:gdLst/>
                <a:ahLst/>
                <a:cxnLst>
                  <a:cxn ang="0">
                    <a:pos x="0" y="74"/>
                  </a:cxn>
                  <a:cxn ang="0">
                    <a:pos x="0" y="74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28" y="102"/>
                  </a:cxn>
                  <a:cxn ang="0">
                    <a:pos x="40" y="110"/>
                  </a:cxn>
                  <a:cxn ang="0">
                    <a:pos x="40" y="110"/>
                  </a:cxn>
                  <a:cxn ang="0">
                    <a:pos x="56" y="100"/>
                  </a:cxn>
                  <a:cxn ang="0">
                    <a:pos x="70" y="88"/>
                  </a:cxn>
                  <a:cxn ang="0">
                    <a:pos x="80" y="72"/>
                  </a:cxn>
                  <a:cxn ang="0">
                    <a:pos x="90" y="56"/>
                  </a:cxn>
                  <a:cxn ang="0">
                    <a:pos x="90" y="56"/>
                  </a:cxn>
                  <a:cxn ang="0">
                    <a:pos x="94" y="44"/>
                  </a:cxn>
                  <a:cxn ang="0">
                    <a:pos x="96" y="30"/>
                  </a:cxn>
                  <a:cxn ang="0">
                    <a:pos x="98" y="0"/>
                  </a:cxn>
                  <a:cxn ang="0">
                    <a:pos x="0" y="74"/>
                  </a:cxn>
                </a:cxnLst>
                <a:rect l="0" t="0" r="r" b="b"/>
                <a:pathLst>
                  <a:path w="98" h="110">
                    <a:moveTo>
                      <a:pt x="0" y="74"/>
                    </a:moveTo>
                    <a:lnTo>
                      <a:pt x="0" y="74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28" y="102"/>
                    </a:lnTo>
                    <a:lnTo>
                      <a:pt x="40" y="110"/>
                    </a:lnTo>
                    <a:lnTo>
                      <a:pt x="40" y="110"/>
                    </a:lnTo>
                    <a:lnTo>
                      <a:pt x="56" y="100"/>
                    </a:lnTo>
                    <a:lnTo>
                      <a:pt x="70" y="88"/>
                    </a:lnTo>
                    <a:lnTo>
                      <a:pt x="80" y="72"/>
                    </a:lnTo>
                    <a:lnTo>
                      <a:pt x="90" y="56"/>
                    </a:lnTo>
                    <a:lnTo>
                      <a:pt x="90" y="56"/>
                    </a:lnTo>
                    <a:lnTo>
                      <a:pt x="94" y="44"/>
                    </a:lnTo>
                    <a:lnTo>
                      <a:pt x="96" y="30"/>
                    </a:lnTo>
                    <a:lnTo>
                      <a:pt x="98" y="0"/>
                    </a:lnTo>
                    <a:lnTo>
                      <a:pt x="0" y="74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5" name="Freeform 56">
                <a:extLst>
                  <a:ext uri="{FF2B5EF4-FFF2-40B4-BE49-F238E27FC236}">
                    <a16:creationId xmlns="" xmlns:a16="http://schemas.microsoft.com/office/drawing/2014/main" id="{55645F53-77D2-4207-956A-7E26CE7346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67993" y="4178403"/>
                <a:ext cx="227236" cy="194774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58"/>
                  </a:cxn>
                  <a:cxn ang="0">
                    <a:pos x="4" y="76"/>
                  </a:cxn>
                  <a:cxn ang="0">
                    <a:pos x="10" y="90"/>
                  </a:cxn>
                  <a:cxn ang="0">
                    <a:pos x="10" y="90"/>
                  </a:cxn>
                  <a:cxn ang="0">
                    <a:pos x="12" y="96"/>
                  </a:cxn>
                  <a:cxn ang="0">
                    <a:pos x="112" y="20"/>
                  </a:cxn>
                  <a:cxn ang="0">
                    <a:pos x="60" y="0"/>
                  </a:cxn>
                </a:cxnLst>
                <a:rect l="0" t="0" r="r" b="b"/>
                <a:pathLst>
                  <a:path w="112" h="96">
                    <a:moveTo>
                      <a:pt x="60" y="0"/>
                    </a:moveTo>
                    <a:lnTo>
                      <a:pt x="0" y="24"/>
                    </a:lnTo>
                    <a:lnTo>
                      <a:pt x="0" y="24"/>
                    </a:lnTo>
                    <a:lnTo>
                      <a:pt x="2" y="58"/>
                    </a:lnTo>
                    <a:lnTo>
                      <a:pt x="4" y="76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2" y="96"/>
                    </a:lnTo>
                    <a:lnTo>
                      <a:pt x="112" y="20"/>
                    </a:lnTo>
                    <a:lnTo>
                      <a:pt x="60" y="0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4397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49" name="椭圆 148">
              <a:extLst>
                <a:ext uri="{FF2B5EF4-FFF2-40B4-BE49-F238E27FC236}">
                  <a16:creationId xmlns="" xmlns:a16="http://schemas.microsoft.com/office/drawing/2014/main" id="{2AF5ED19-501F-42BC-A75C-158B4A4F5B62}"/>
                </a:ext>
              </a:extLst>
            </p:cNvPr>
            <p:cNvSpPr/>
            <p:nvPr/>
          </p:nvSpPr>
          <p:spPr>
            <a:xfrm>
              <a:off x="5548163" y="4132672"/>
              <a:ext cx="556635" cy="536897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8288" fontAlgn="ctr"/>
              <a:endParaRPr lang="en-US" altLang="zh-CN" sz="2397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cxnSp>
        <p:nvCxnSpPr>
          <p:cNvPr id="156" name="直接连接符 155">
            <a:extLst>
              <a:ext uri="{FF2B5EF4-FFF2-40B4-BE49-F238E27FC236}">
                <a16:creationId xmlns="" xmlns:a16="http://schemas.microsoft.com/office/drawing/2014/main" id="{9AABEE21-68D3-4CC8-B6B2-0E209038E39A}"/>
              </a:ext>
            </a:extLst>
          </p:cNvPr>
          <p:cNvCxnSpPr/>
          <p:nvPr/>
        </p:nvCxnSpPr>
        <p:spPr>
          <a:xfrm>
            <a:off x="4795440" y="2961295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cxnSp>
        <p:nvCxnSpPr>
          <p:cNvPr id="157" name="直接连接符 156">
            <a:extLst>
              <a:ext uri="{FF2B5EF4-FFF2-40B4-BE49-F238E27FC236}">
                <a16:creationId xmlns="" xmlns:a16="http://schemas.microsoft.com/office/drawing/2014/main" id="{5B6C399C-1E43-484E-8AB9-DB3B229AD35F}"/>
              </a:ext>
            </a:extLst>
          </p:cNvPr>
          <p:cNvCxnSpPr/>
          <p:nvPr/>
        </p:nvCxnSpPr>
        <p:spPr>
          <a:xfrm>
            <a:off x="4795440" y="4197590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cxnSp>
        <p:nvCxnSpPr>
          <p:cNvPr id="158" name="直接连接符 157">
            <a:extLst>
              <a:ext uri="{FF2B5EF4-FFF2-40B4-BE49-F238E27FC236}">
                <a16:creationId xmlns="" xmlns:a16="http://schemas.microsoft.com/office/drawing/2014/main" id="{A88C5324-0A36-4482-9E11-E0060E8BF763}"/>
              </a:ext>
            </a:extLst>
          </p:cNvPr>
          <p:cNvCxnSpPr/>
          <p:nvPr/>
        </p:nvCxnSpPr>
        <p:spPr>
          <a:xfrm>
            <a:off x="4795440" y="5481281"/>
            <a:ext cx="0" cy="467878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rgbClr val="00B0F0">
                    <a:alpha val="0"/>
                  </a:srgbClr>
                </a:gs>
                <a:gs pos="5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13200000" scaled="0"/>
              <a:tileRect/>
            </a:gradFill>
            <a:prstDash val="solid"/>
            <a:round/>
            <a:headEnd/>
            <a:tailEnd/>
          </a:ln>
          <a:effectLst>
            <a:glow>
              <a:schemeClr val="accent1">
                <a:satMod val="175000"/>
              </a:schemeClr>
            </a:glow>
          </a:effectLst>
        </p:spPr>
      </p:cxnSp>
      <p:grpSp>
        <p:nvGrpSpPr>
          <p:cNvPr id="159" name="组合 158">
            <a:extLst>
              <a:ext uri="{FF2B5EF4-FFF2-40B4-BE49-F238E27FC236}">
                <a16:creationId xmlns="" xmlns:a16="http://schemas.microsoft.com/office/drawing/2014/main" id="{E4CA1274-1DAE-476F-AD75-A2BFC124BF1F}"/>
              </a:ext>
            </a:extLst>
          </p:cNvPr>
          <p:cNvGrpSpPr/>
          <p:nvPr/>
        </p:nvGrpSpPr>
        <p:grpSpPr>
          <a:xfrm>
            <a:off x="8362312" y="2809595"/>
            <a:ext cx="832489" cy="832488"/>
            <a:chOff x="8636436" y="2905869"/>
            <a:chExt cx="832706" cy="832705"/>
          </a:xfrm>
        </p:grpSpPr>
        <p:pic>
          <p:nvPicPr>
            <p:cNvPr id="160" name="Picture 8" descr="E:\01 日常工作\04 展厅相关设计\2015年\PPT\主打胶片\源文件\images\10_03.png">
              <a:extLst>
                <a:ext uri="{FF2B5EF4-FFF2-40B4-BE49-F238E27FC236}">
                  <a16:creationId xmlns="" xmlns:a16="http://schemas.microsoft.com/office/drawing/2014/main" id="{7B836145-CAD1-46B4-9BA5-01F2220C16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tretch>
              <a:fillRect/>
            </a:stretch>
          </p:blipFill>
          <p:spPr bwMode="auto">
            <a:xfrm>
              <a:off x="8636436" y="2905869"/>
              <a:ext cx="832706" cy="832705"/>
            </a:xfrm>
            <a:prstGeom prst="rect">
              <a:avLst/>
            </a:prstGeom>
            <a:noFill/>
          </p:spPr>
        </p:pic>
        <p:grpSp>
          <p:nvGrpSpPr>
            <p:cNvPr id="161" name="组合 236">
              <a:extLst>
                <a:ext uri="{FF2B5EF4-FFF2-40B4-BE49-F238E27FC236}">
                  <a16:creationId xmlns="" xmlns:a16="http://schemas.microsoft.com/office/drawing/2014/main" id="{73CF687A-8D29-458B-A6A6-C494213A1F3D}"/>
                </a:ext>
              </a:extLst>
            </p:cNvPr>
            <p:cNvGrpSpPr/>
            <p:nvPr/>
          </p:nvGrpSpPr>
          <p:grpSpPr>
            <a:xfrm>
              <a:off x="8774472" y="3053773"/>
              <a:ext cx="556635" cy="536897"/>
              <a:chOff x="8697178" y="2936850"/>
              <a:chExt cx="771035" cy="771035"/>
            </a:xfrm>
          </p:grpSpPr>
          <p:sp>
            <p:nvSpPr>
              <p:cNvPr id="162" name="椭圆 161">
                <a:extLst>
                  <a:ext uri="{FF2B5EF4-FFF2-40B4-BE49-F238E27FC236}">
                    <a16:creationId xmlns="" xmlns:a16="http://schemas.microsoft.com/office/drawing/2014/main" id="{A3B9C587-6372-4379-B9CA-37FC6669DE09}"/>
                  </a:ext>
                </a:extLst>
              </p:cNvPr>
              <p:cNvSpPr/>
              <p:nvPr/>
            </p:nvSpPr>
            <p:spPr>
              <a:xfrm>
                <a:off x="8697178" y="2936850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3" name="Freeform 19">
                <a:extLst>
                  <a:ext uri="{FF2B5EF4-FFF2-40B4-BE49-F238E27FC236}">
                    <a16:creationId xmlns="" xmlns:a16="http://schemas.microsoft.com/office/drawing/2014/main" id="{24B565C0-743F-44FE-A9AC-88BC709D15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49966" y="3098258"/>
                <a:ext cx="465460" cy="448221"/>
              </a:xfrm>
              <a:custGeom>
                <a:avLst/>
                <a:gdLst/>
                <a:ahLst/>
                <a:cxnLst>
                  <a:cxn ang="0">
                    <a:pos x="206" y="128"/>
                  </a:cxn>
                  <a:cxn ang="0">
                    <a:pos x="179" y="108"/>
                  </a:cxn>
                  <a:cxn ang="0">
                    <a:pos x="22" y="221"/>
                  </a:cxn>
                  <a:cxn ang="0">
                    <a:pos x="22" y="355"/>
                  </a:cxn>
                  <a:cxn ang="0">
                    <a:pos x="40" y="383"/>
                  </a:cxn>
                  <a:cxn ang="0">
                    <a:pos x="99" y="383"/>
                  </a:cxn>
                  <a:cxn ang="0">
                    <a:pos x="298" y="355"/>
                  </a:cxn>
                  <a:cxn ang="0">
                    <a:pos x="305" y="385"/>
                  </a:cxn>
                  <a:cxn ang="0">
                    <a:pos x="361" y="379"/>
                  </a:cxn>
                  <a:cxn ang="0">
                    <a:pos x="400" y="333"/>
                  </a:cxn>
                  <a:cxn ang="0">
                    <a:pos x="192" y="108"/>
                  </a:cxn>
                  <a:cxn ang="0">
                    <a:pos x="200" y="116"/>
                  </a:cxn>
                  <a:cxn ang="0">
                    <a:pos x="192" y="108"/>
                  </a:cxn>
                  <a:cxn ang="0">
                    <a:pos x="51" y="355"/>
                  </a:cxn>
                  <a:cxn ang="0">
                    <a:pos x="348" y="373"/>
                  </a:cxn>
                  <a:cxn ang="0">
                    <a:pos x="348" y="355"/>
                  </a:cxn>
                  <a:cxn ang="0">
                    <a:pos x="377" y="343"/>
                  </a:cxn>
                  <a:cxn ang="0">
                    <a:pos x="12" y="243"/>
                  </a:cxn>
                  <a:cxn ang="0">
                    <a:pos x="387" y="243"/>
                  </a:cxn>
                  <a:cxn ang="0">
                    <a:pos x="49" y="287"/>
                  </a:cxn>
                  <a:cxn ang="0">
                    <a:pos x="83" y="253"/>
                  </a:cxn>
                  <a:cxn ang="0">
                    <a:pos x="83" y="266"/>
                  </a:cxn>
                  <a:cxn ang="0">
                    <a:pos x="338" y="265"/>
                  </a:cxn>
                  <a:cxn ang="0">
                    <a:pos x="338" y="252"/>
                  </a:cxn>
                  <a:cxn ang="0">
                    <a:pos x="223" y="265"/>
                  </a:cxn>
                  <a:cxn ang="0">
                    <a:pos x="197" y="265"/>
                  </a:cxn>
                  <a:cxn ang="0">
                    <a:pos x="270" y="252"/>
                  </a:cxn>
                  <a:cxn ang="0">
                    <a:pos x="291" y="265"/>
                  </a:cxn>
                  <a:cxn ang="0">
                    <a:pos x="291" y="252"/>
                  </a:cxn>
                  <a:cxn ang="0">
                    <a:pos x="317" y="303"/>
                  </a:cxn>
                  <a:cxn ang="0">
                    <a:pos x="291" y="303"/>
                  </a:cxn>
                  <a:cxn ang="0">
                    <a:pos x="223" y="291"/>
                  </a:cxn>
                  <a:cxn ang="0">
                    <a:pos x="338" y="303"/>
                  </a:cxn>
                  <a:cxn ang="0">
                    <a:pos x="338" y="291"/>
                  </a:cxn>
                  <a:cxn ang="0">
                    <a:pos x="270" y="303"/>
                  </a:cxn>
                  <a:cxn ang="0">
                    <a:pos x="244" y="303"/>
                  </a:cxn>
                  <a:cxn ang="0">
                    <a:pos x="255" y="163"/>
                  </a:cxn>
                  <a:cxn ang="0">
                    <a:pos x="246" y="53"/>
                  </a:cxn>
                  <a:cxn ang="0">
                    <a:pos x="246" y="154"/>
                  </a:cxn>
                  <a:cxn ang="0">
                    <a:pos x="271" y="179"/>
                  </a:cxn>
                  <a:cxn ang="0">
                    <a:pos x="280" y="188"/>
                  </a:cxn>
                  <a:cxn ang="0">
                    <a:pos x="271" y="28"/>
                  </a:cxn>
                  <a:cxn ang="0">
                    <a:pos x="296" y="12"/>
                  </a:cxn>
                  <a:cxn ang="0">
                    <a:pos x="296" y="213"/>
                  </a:cxn>
                  <a:cxn ang="0">
                    <a:pos x="349" y="108"/>
                  </a:cxn>
                  <a:cxn ang="0">
                    <a:pos x="296" y="12"/>
                  </a:cxn>
                  <a:cxn ang="0">
                    <a:pos x="154" y="163"/>
                  </a:cxn>
                  <a:cxn ang="0">
                    <a:pos x="154" y="62"/>
                  </a:cxn>
                  <a:cxn ang="0">
                    <a:pos x="122" y="108"/>
                  </a:cxn>
                  <a:cxn ang="0">
                    <a:pos x="103" y="213"/>
                  </a:cxn>
                  <a:cxn ang="0">
                    <a:pos x="103" y="12"/>
                  </a:cxn>
                  <a:cxn ang="0">
                    <a:pos x="51" y="109"/>
                  </a:cxn>
                  <a:cxn ang="0">
                    <a:pos x="120" y="188"/>
                  </a:cxn>
                  <a:cxn ang="0">
                    <a:pos x="129" y="179"/>
                  </a:cxn>
                  <a:cxn ang="0">
                    <a:pos x="129" y="37"/>
                  </a:cxn>
                  <a:cxn ang="0">
                    <a:pos x="86" y="108"/>
                  </a:cxn>
                </a:cxnLst>
                <a:rect l="0" t="0" r="r" b="b"/>
                <a:pathLst>
                  <a:path w="400" h="385">
                    <a:moveTo>
                      <a:pt x="377" y="221"/>
                    </a:moveTo>
                    <a:cubicBezTo>
                      <a:pt x="206" y="221"/>
                      <a:pt x="206" y="221"/>
                      <a:pt x="206" y="221"/>
                    </a:cubicBezTo>
                    <a:cubicBezTo>
                      <a:pt x="206" y="128"/>
                      <a:pt x="206" y="128"/>
                      <a:pt x="206" y="128"/>
                    </a:cubicBezTo>
                    <a:cubicBezTo>
                      <a:pt x="215" y="125"/>
                      <a:pt x="221" y="117"/>
                      <a:pt x="221" y="108"/>
                    </a:cubicBezTo>
                    <a:cubicBezTo>
                      <a:pt x="221" y="96"/>
                      <a:pt x="211" y="87"/>
                      <a:pt x="200" y="87"/>
                    </a:cubicBezTo>
                    <a:cubicBezTo>
                      <a:pt x="189" y="87"/>
                      <a:pt x="179" y="96"/>
                      <a:pt x="179" y="108"/>
                    </a:cubicBezTo>
                    <a:cubicBezTo>
                      <a:pt x="179" y="117"/>
                      <a:pt x="185" y="125"/>
                      <a:pt x="194" y="128"/>
                    </a:cubicBezTo>
                    <a:cubicBezTo>
                      <a:pt x="194" y="221"/>
                      <a:pt x="194" y="221"/>
                      <a:pt x="194" y="221"/>
                    </a:cubicBezTo>
                    <a:cubicBezTo>
                      <a:pt x="22" y="221"/>
                      <a:pt x="22" y="221"/>
                      <a:pt x="22" y="221"/>
                    </a:cubicBezTo>
                    <a:cubicBezTo>
                      <a:pt x="10" y="221"/>
                      <a:pt x="0" y="231"/>
                      <a:pt x="0" y="243"/>
                    </a:cubicBezTo>
                    <a:cubicBezTo>
                      <a:pt x="0" y="333"/>
                      <a:pt x="0" y="333"/>
                      <a:pt x="0" y="333"/>
                    </a:cubicBezTo>
                    <a:cubicBezTo>
                      <a:pt x="0" y="345"/>
                      <a:pt x="10" y="355"/>
                      <a:pt x="22" y="355"/>
                    </a:cubicBezTo>
                    <a:cubicBezTo>
                      <a:pt x="38" y="355"/>
                      <a:pt x="38" y="355"/>
                      <a:pt x="38" y="355"/>
                    </a:cubicBezTo>
                    <a:cubicBezTo>
                      <a:pt x="38" y="379"/>
                      <a:pt x="38" y="379"/>
                      <a:pt x="38" y="379"/>
                    </a:cubicBezTo>
                    <a:cubicBezTo>
                      <a:pt x="38" y="381"/>
                      <a:pt x="39" y="382"/>
                      <a:pt x="40" y="383"/>
                    </a:cubicBezTo>
                    <a:cubicBezTo>
                      <a:pt x="41" y="385"/>
                      <a:pt x="43" y="385"/>
                      <a:pt x="44" y="385"/>
                    </a:cubicBezTo>
                    <a:cubicBezTo>
                      <a:pt x="95" y="385"/>
                      <a:pt x="95" y="385"/>
                      <a:pt x="95" y="385"/>
                    </a:cubicBezTo>
                    <a:cubicBezTo>
                      <a:pt x="96" y="385"/>
                      <a:pt x="98" y="385"/>
                      <a:pt x="99" y="383"/>
                    </a:cubicBezTo>
                    <a:cubicBezTo>
                      <a:pt x="100" y="382"/>
                      <a:pt x="101" y="381"/>
                      <a:pt x="101" y="379"/>
                    </a:cubicBezTo>
                    <a:cubicBezTo>
                      <a:pt x="101" y="355"/>
                      <a:pt x="101" y="355"/>
                      <a:pt x="101" y="355"/>
                    </a:cubicBezTo>
                    <a:cubicBezTo>
                      <a:pt x="298" y="355"/>
                      <a:pt x="298" y="355"/>
                      <a:pt x="298" y="355"/>
                    </a:cubicBezTo>
                    <a:cubicBezTo>
                      <a:pt x="298" y="379"/>
                      <a:pt x="298" y="379"/>
                      <a:pt x="298" y="379"/>
                    </a:cubicBezTo>
                    <a:cubicBezTo>
                      <a:pt x="298" y="381"/>
                      <a:pt x="299" y="382"/>
                      <a:pt x="300" y="383"/>
                    </a:cubicBezTo>
                    <a:cubicBezTo>
                      <a:pt x="301" y="385"/>
                      <a:pt x="303" y="385"/>
                      <a:pt x="305" y="385"/>
                    </a:cubicBezTo>
                    <a:cubicBezTo>
                      <a:pt x="355" y="385"/>
                      <a:pt x="355" y="385"/>
                      <a:pt x="355" y="385"/>
                    </a:cubicBezTo>
                    <a:cubicBezTo>
                      <a:pt x="356" y="385"/>
                      <a:pt x="358" y="385"/>
                      <a:pt x="359" y="383"/>
                    </a:cubicBezTo>
                    <a:cubicBezTo>
                      <a:pt x="360" y="382"/>
                      <a:pt x="361" y="381"/>
                      <a:pt x="361" y="379"/>
                    </a:cubicBezTo>
                    <a:cubicBezTo>
                      <a:pt x="361" y="355"/>
                      <a:pt x="361" y="355"/>
                      <a:pt x="361" y="355"/>
                    </a:cubicBezTo>
                    <a:cubicBezTo>
                      <a:pt x="377" y="355"/>
                      <a:pt x="377" y="355"/>
                      <a:pt x="377" y="355"/>
                    </a:cubicBezTo>
                    <a:cubicBezTo>
                      <a:pt x="390" y="355"/>
                      <a:pt x="400" y="345"/>
                      <a:pt x="400" y="333"/>
                    </a:cubicBezTo>
                    <a:cubicBezTo>
                      <a:pt x="400" y="243"/>
                      <a:pt x="400" y="243"/>
                      <a:pt x="400" y="243"/>
                    </a:cubicBezTo>
                    <a:cubicBezTo>
                      <a:pt x="400" y="231"/>
                      <a:pt x="390" y="221"/>
                      <a:pt x="377" y="221"/>
                    </a:cubicBezTo>
                    <a:close/>
                    <a:moveTo>
                      <a:pt x="192" y="108"/>
                    </a:moveTo>
                    <a:cubicBezTo>
                      <a:pt x="192" y="103"/>
                      <a:pt x="196" y="100"/>
                      <a:pt x="200" y="100"/>
                    </a:cubicBezTo>
                    <a:cubicBezTo>
                      <a:pt x="204" y="100"/>
                      <a:pt x="208" y="103"/>
                      <a:pt x="208" y="108"/>
                    </a:cubicBezTo>
                    <a:cubicBezTo>
                      <a:pt x="208" y="112"/>
                      <a:pt x="204" y="116"/>
                      <a:pt x="200" y="116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196" y="116"/>
                      <a:pt x="192" y="112"/>
                      <a:pt x="192" y="108"/>
                    </a:cubicBezTo>
                    <a:close/>
                    <a:moveTo>
                      <a:pt x="88" y="373"/>
                    </a:moveTo>
                    <a:cubicBezTo>
                      <a:pt x="51" y="373"/>
                      <a:pt x="51" y="373"/>
                      <a:pt x="51" y="373"/>
                    </a:cubicBezTo>
                    <a:cubicBezTo>
                      <a:pt x="51" y="355"/>
                      <a:pt x="51" y="355"/>
                      <a:pt x="51" y="355"/>
                    </a:cubicBezTo>
                    <a:cubicBezTo>
                      <a:pt x="88" y="355"/>
                      <a:pt x="88" y="355"/>
                      <a:pt x="88" y="355"/>
                    </a:cubicBezTo>
                    <a:lnTo>
                      <a:pt x="88" y="373"/>
                    </a:lnTo>
                    <a:close/>
                    <a:moveTo>
                      <a:pt x="348" y="373"/>
                    </a:moveTo>
                    <a:cubicBezTo>
                      <a:pt x="311" y="373"/>
                      <a:pt x="311" y="373"/>
                      <a:pt x="311" y="373"/>
                    </a:cubicBezTo>
                    <a:cubicBezTo>
                      <a:pt x="311" y="355"/>
                      <a:pt x="311" y="355"/>
                      <a:pt x="311" y="355"/>
                    </a:cubicBezTo>
                    <a:cubicBezTo>
                      <a:pt x="348" y="355"/>
                      <a:pt x="348" y="355"/>
                      <a:pt x="348" y="355"/>
                    </a:cubicBezTo>
                    <a:lnTo>
                      <a:pt x="348" y="373"/>
                    </a:lnTo>
                    <a:close/>
                    <a:moveTo>
                      <a:pt x="387" y="333"/>
                    </a:moveTo>
                    <a:cubicBezTo>
                      <a:pt x="387" y="338"/>
                      <a:pt x="383" y="343"/>
                      <a:pt x="377" y="343"/>
                    </a:cubicBezTo>
                    <a:cubicBezTo>
                      <a:pt x="22" y="343"/>
                      <a:pt x="22" y="343"/>
                      <a:pt x="22" y="343"/>
                    </a:cubicBezTo>
                    <a:cubicBezTo>
                      <a:pt x="17" y="343"/>
                      <a:pt x="12" y="338"/>
                      <a:pt x="12" y="333"/>
                    </a:cubicBezTo>
                    <a:cubicBezTo>
                      <a:pt x="12" y="243"/>
                      <a:pt x="12" y="243"/>
                      <a:pt x="12" y="243"/>
                    </a:cubicBezTo>
                    <a:cubicBezTo>
                      <a:pt x="12" y="238"/>
                      <a:pt x="17" y="233"/>
                      <a:pt x="22" y="233"/>
                    </a:cubicBezTo>
                    <a:cubicBezTo>
                      <a:pt x="377" y="233"/>
                      <a:pt x="377" y="233"/>
                      <a:pt x="377" y="233"/>
                    </a:cubicBezTo>
                    <a:cubicBezTo>
                      <a:pt x="383" y="233"/>
                      <a:pt x="387" y="238"/>
                      <a:pt x="387" y="243"/>
                    </a:cubicBezTo>
                    <a:lnTo>
                      <a:pt x="387" y="333"/>
                    </a:lnTo>
                    <a:close/>
                    <a:moveTo>
                      <a:pt x="83" y="253"/>
                    </a:moveTo>
                    <a:cubicBezTo>
                      <a:pt x="64" y="253"/>
                      <a:pt x="49" y="268"/>
                      <a:pt x="49" y="287"/>
                    </a:cubicBezTo>
                    <a:cubicBezTo>
                      <a:pt x="49" y="306"/>
                      <a:pt x="64" y="321"/>
                      <a:pt x="83" y="321"/>
                    </a:cubicBezTo>
                    <a:cubicBezTo>
                      <a:pt x="102" y="321"/>
                      <a:pt x="117" y="306"/>
                      <a:pt x="117" y="287"/>
                    </a:cubicBezTo>
                    <a:cubicBezTo>
                      <a:pt x="117" y="268"/>
                      <a:pt x="102" y="253"/>
                      <a:pt x="83" y="253"/>
                    </a:cubicBezTo>
                    <a:close/>
                    <a:moveTo>
                      <a:pt x="83" y="308"/>
                    </a:moveTo>
                    <a:cubicBezTo>
                      <a:pt x="71" y="308"/>
                      <a:pt x="62" y="299"/>
                      <a:pt x="62" y="287"/>
                    </a:cubicBezTo>
                    <a:cubicBezTo>
                      <a:pt x="62" y="275"/>
                      <a:pt x="71" y="266"/>
                      <a:pt x="83" y="266"/>
                    </a:cubicBezTo>
                    <a:cubicBezTo>
                      <a:pt x="95" y="266"/>
                      <a:pt x="104" y="275"/>
                      <a:pt x="104" y="287"/>
                    </a:cubicBezTo>
                    <a:cubicBezTo>
                      <a:pt x="104" y="299"/>
                      <a:pt x="95" y="308"/>
                      <a:pt x="83" y="308"/>
                    </a:cubicBezTo>
                    <a:close/>
                    <a:moveTo>
                      <a:pt x="338" y="265"/>
                    </a:moveTo>
                    <a:cubicBezTo>
                      <a:pt x="364" y="265"/>
                      <a:pt x="364" y="265"/>
                      <a:pt x="364" y="265"/>
                    </a:cubicBezTo>
                    <a:cubicBezTo>
                      <a:pt x="364" y="252"/>
                      <a:pt x="364" y="252"/>
                      <a:pt x="364" y="252"/>
                    </a:cubicBezTo>
                    <a:cubicBezTo>
                      <a:pt x="338" y="252"/>
                      <a:pt x="338" y="252"/>
                      <a:pt x="338" y="252"/>
                    </a:cubicBezTo>
                    <a:lnTo>
                      <a:pt x="338" y="265"/>
                    </a:lnTo>
                    <a:close/>
                    <a:moveTo>
                      <a:pt x="197" y="265"/>
                    </a:moveTo>
                    <a:cubicBezTo>
                      <a:pt x="223" y="265"/>
                      <a:pt x="223" y="265"/>
                      <a:pt x="223" y="265"/>
                    </a:cubicBezTo>
                    <a:cubicBezTo>
                      <a:pt x="223" y="252"/>
                      <a:pt x="223" y="252"/>
                      <a:pt x="223" y="252"/>
                    </a:cubicBezTo>
                    <a:cubicBezTo>
                      <a:pt x="197" y="252"/>
                      <a:pt x="197" y="252"/>
                      <a:pt x="197" y="252"/>
                    </a:cubicBezTo>
                    <a:lnTo>
                      <a:pt x="197" y="265"/>
                    </a:lnTo>
                    <a:close/>
                    <a:moveTo>
                      <a:pt x="244" y="265"/>
                    </a:moveTo>
                    <a:cubicBezTo>
                      <a:pt x="270" y="265"/>
                      <a:pt x="270" y="265"/>
                      <a:pt x="270" y="265"/>
                    </a:cubicBezTo>
                    <a:cubicBezTo>
                      <a:pt x="270" y="252"/>
                      <a:pt x="270" y="252"/>
                      <a:pt x="270" y="252"/>
                    </a:cubicBezTo>
                    <a:cubicBezTo>
                      <a:pt x="244" y="252"/>
                      <a:pt x="244" y="252"/>
                      <a:pt x="244" y="252"/>
                    </a:cubicBezTo>
                    <a:lnTo>
                      <a:pt x="244" y="265"/>
                    </a:lnTo>
                    <a:close/>
                    <a:moveTo>
                      <a:pt x="291" y="265"/>
                    </a:moveTo>
                    <a:cubicBezTo>
                      <a:pt x="317" y="265"/>
                      <a:pt x="317" y="265"/>
                      <a:pt x="317" y="265"/>
                    </a:cubicBezTo>
                    <a:cubicBezTo>
                      <a:pt x="317" y="252"/>
                      <a:pt x="317" y="252"/>
                      <a:pt x="317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lnTo>
                      <a:pt x="291" y="265"/>
                    </a:lnTo>
                    <a:close/>
                    <a:moveTo>
                      <a:pt x="291" y="303"/>
                    </a:moveTo>
                    <a:cubicBezTo>
                      <a:pt x="317" y="303"/>
                      <a:pt x="317" y="303"/>
                      <a:pt x="317" y="303"/>
                    </a:cubicBezTo>
                    <a:cubicBezTo>
                      <a:pt x="317" y="291"/>
                      <a:pt x="317" y="291"/>
                      <a:pt x="317" y="291"/>
                    </a:cubicBezTo>
                    <a:cubicBezTo>
                      <a:pt x="291" y="291"/>
                      <a:pt x="291" y="291"/>
                      <a:pt x="291" y="291"/>
                    </a:cubicBezTo>
                    <a:lnTo>
                      <a:pt x="291" y="303"/>
                    </a:lnTo>
                    <a:close/>
                    <a:moveTo>
                      <a:pt x="197" y="303"/>
                    </a:moveTo>
                    <a:cubicBezTo>
                      <a:pt x="223" y="303"/>
                      <a:pt x="223" y="303"/>
                      <a:pt x="223" y="303"/>
                    </a:cubicBezTo>
                    <a:cubicBezTo>
                      <a:pt x="223" y="291"/>
                      <a:pt x="223" y="291"/>
                      <a:pt x="223" y="291"/>
                    </a:cubicBezTo>
                    <a:cubicBezTo>
                      <a:pt x="197" y="291"/>
                      <a:pt x="197" y="291"/>
                      <a:pt x="197" y="291"/>
                    </a:cubicBezTo>
                    <a:lnTo>
                      <a:pt x="197" y="303"/>
                    </a:lnTo>
                    <a:close/>
                    <a:moveTo>
                      <a:pt x="338" y="303"/>
                    </a:moveTo>
                    <a:cubicBezTo>
                      <a:pt x="364" y="303"/>
                      <a:pt x="364" y="303"/>
                      <a:pt x="364" y="303"/>
                    </a:cubicBezTo>
                    <a:cubicBezTo>
                      <a:pt x="364" y="291"/>
                      <a:pt x="364" y="291"/>
                      <a:pt x="364" y="291"/>
                    </a:cubicBezTo>
                    <a:cubicBezTo>
                      <a:pt x="338" y="291"/>
                      <a:pt x="338" y="291"/>
                      <a:pt x="338" y="291"/>
                    </a:cubicBezTo>
                    <a:lnTo>
                      <a:pt x="338" y="303"/>
                    </a:lnTo>
                    <a:close/>
                    <a:moveTo>
                      <a:pt x="244" y="303"/>
                    </a:moveTo>
                    <a:cubicBezTo>
                      <a:pt x="270" y="303"/>
                      <a:pt x="270" y="303"/>
                      <a:pt x="270" y="303"/>
                    </a:cubicBezTo>
                    <a:cubicBezTo>
                      <a:pt x="270" y="291"/>
                      <a:pt x="270" y="291"/>
                      <a:pt x="270" y="291"/>
                    </a:cubicBezTo>
                    <a:cubicBezTo>
                      <a:pt x="244" y="291"/>
                      <a:pt x="244" y="291"/>
                      <a:pt x="244" y="291"/>
                    </a:cubicBezTo>
                    <a:lnTo>
                      <a:pt x="244" y="303"/>
                    </a:lnTo>
                    <a:close/>
                    <a:moveTo>
                      <a:pt x="246" y="163"/>
                    </a:moveTo>
                    <a:cubicBezTo>
                      <a:pt x="247" y="164"/>
                      <a:pt x="249" y="165"/>
                      <a:pt x="250" y="165"/>
                    </a:cubicBezTo>
                    <a:cubicBezTo>
                      <a:pt x="252" y="165"/>
                      <a:pt x="254" y="164"/>
                      <a:pt x="255" y="163"/>
                    </a:cubicBezTo>
                    <a:cubicBezTo>
                      <a:pt x="270" y="148"/>
                      <a:pt x="278" y="128"/>
                      <a:pt x="278" y="108"/>
                    </a:cubicBezTo>
                    <a:cubicBezTo>
                      <a:pt x="278" y="88"/>
                      <a:pt x="270" y="68"/>
                      <a:pt x="255" y="53"/>
                    </a:cubicBezTo>
                    <a:cubicBezTo>
                      <a:pt x="252" y="51"/>
                      <a:pt x="248" y="51"/>
                      <a:pt x="246" y="53"/>
                    </a:cubicBezTo>
                    <a:cubicBezTo>
                      <a:pt x="244" y="56"/>
                      <a:pt x="244" y="60"/>
                      <a:pt x="246" y="62"/>
                    </a:cubicBezTo>
                    <a:cubicBezTo>
                      <a:pt x="259" y="75"/>
                      <a:pt x="265" y="91"/>
                      <a:pt x="265" y="108"/>
                    </a:cubicBezTo>
                    <a:cubicBezTo>
                      <a:pt x="265" y="125"/>
                      <a:pt x="259" y="141"/>
                      <a:pt x="246" y="154"/>
                    </a:cubicBezTo>
                    <a:cubicBezTo>
                      <a:pt x="244" y="156"/>
                      <a:pt x="244" y="160"/>
                      <a:pt x="246" y="163"/>
                    </a:cubicBezTo>
                    <a:close/>
                    <a:moveTo>
                      <a:pt x="301" y="108"/>
                    </a:moveTo>
                    <a:cubicBezTo>
                      <a:pt x="301" y="134"/>
                      <a:pt x="291" y="159"/>
                      <a:pt x="271" y="179"/>
                    </a:cubicBezTo>
                    <a:cubicBezTo>
                      <a:pt x="269" y="181"/>
                      <a:pt x="269" y="185"/>
                      <a:pt x="271" y="188"/>
                    </a:cubicBezTo>
                    <a:cubicBezTo>
                      <a:pt x="272" y="189"/>
                      <a:pt x="274" y="190"/>
                      <a:pt x="276" y="190"/>
                    </a:cubicBezTo>
                    <a:cubicBezTo>
                      <a:pt x="277" y="190"/>
                      <a:pt x="279" y="189"/>
                      <a:pt x="280" y="188"/>
                    </a:cubicBezTo>
                    <a:cubicBezTo>
                      <a:pt x="302" y="166"/>
                      <a:pt x="313" y="137"/>
                      <a:pt x="313" y="108"/>
                    </a:cubicBezTo>
                    <a:cubicBezTo>
                      <a:pt x="313" y="79"/>
                      <a:pt x="302" y="50"/>
                      <a:pt x="280" y="28"/>
                    </a:cubicBezTo>
                    <a:cubicBezTo>
                      <a:pt x="278" y="25"/>
                      <a:pt x="274" y="25"/>
                      <a:pt x="271" y="28"/>
                    </a:cubicBezTo>
                    <a:cubicBezTo>
                      <a:pt x="269" y="30"/>
                      <a:pt x="269" y="34"/>
                      <a:pt x="271" y="37"/>
                    </a:cubicBezTo>
                    <a:cubicBezTo>
                      <a:pt x="291" y="56"/>
                      <a:pt x="301" y="82"/>
                      <a:pt x="301" y="108"/>
                    </a:cubicBezTo>
                    <a:close/>
                    <a:moveTo>
                      <a:pt x="296" y="12"/>
                    </a:moveTo>
                    <a:cubicBezTo>
                      <a:pt x="323" y="38"/>
                      <a:pt x="336" y="73"/>
                      <a:pt x="336" y="108"/>
                    </a:cubicBezTo>
                    <a:cubicBezTo>
                      <a:pt x="336" y="143"/>
                      <a:pt x="323" y="178"/>
                      <a:pt x="296" y="204"/>
                    </a:cubicBezTo>
                    <a:cubicBezTo>
                      <a:pt x="294" y="207"/>
                      <a:pt x="294" y="211"/>
                      <a:pt x="296" y="213"/>
                    </a:cubicBezTo>
                    <a:cubicBezTo>
                      <a:pt x="298" y="214"/>
                      <a:pt x="299" y="215"/>
                      <a:pt x="301" y="215"/>
                    </a:cubicBezTo>
                    <a:cubicBezTo>
                      <a:pt x="303" y="215"/>
                      <a:pt x="304" y="214"/>
                      <a:pt x="305" y="213"/>
                    </a:cubicBezTo>
                    <a:cubicBezTo>
                      <a:pt x="335" y="184"/>
                      <a:pt x="349" y="146"/>
                      <a:pt x="349" y="108"/>
                    </a:cubicBezTo>
                    <a:cubicBezTo>
                      <a:pt x="349" y="70"/>
                      <a:pt x="335" y="32"/>
                      <a:pt x="305" y="3"/>
                    </a:cubicBezTo>
                    <a:cubicBezTo>
                      <a:pt x="303" y="0"/>
                      <a:pt x="299" y="0"/>
                      <a:pt x="296" y="3"/>
                    </a:cubicBezTo>
                    <a:cubicBezTo>
                      <a:pt x="294" y="5"/>
                      <a:pt x="294" y="9"/>
                      <a:pt x="296" y="12"/>
                    </a:cubicBezTo>
                    <a:close/>
                    <a:moveTo>
                      <a:pt x="145" y="163"/>
                    </a:moveTo>
                    <a:cubicBezTo>
                      <a:pt x="146" y="164"/>
                      <a:pt x="148" y="165"/>
                      <a:pt x="149" y="165"/>
                    </a:cubicBezTo>
                    <a:cubicBezTo>
                      <a:pt x="151" y="165"/>
                      <a:pt x="153" y="164"/>
                      <a:pt x="154" y="163"/>
                    </a:cubicBezTo>
                    <a:cubicBezTo>
                      <a:pt x="156" y="160"/>
                      <a:pt x="156" y="156"/>
                      <a:pt x="154" y="154"/>
                    </a:cubicBezTo>
                    <a:cubicBezTo>
                      <a:pt x="141" y="141"/>
                      <a:pt x="135" y="125"/>
                      <a:pt x="135" y="108"/>
                    </a:cubicBezTo>
                    <a:cubicBezTo>
                      <a:pt x="135" y="92"/>
                      <a:pt x="141" y="75"/>
                      <a:pt x="154" y="62"/>
                    </a:cubicBezTo>
                    <a:cubicBezTo>
                      <a:pt x="156" y="60"/>
                      <a:pt x="156" y="56"/>
                      <a:pt x="154" y="53"/>
                    </a:cubicBezTo>
                    <a:cubicBezTo>
                      <a:pt x="151" y="51"/>
                      <a:pt x="147" y="51"/>
                      <a:pt x="145" y="53"/>
                    </a:cubicBezTo>
                    <a:cubicBezTo>
                      <a:pt x="130" y="68"/>
                      <a:pt x="122" y="88"/>
                      <a:pt x="122" y="108"/>
                    </a:cubicBezTo>
                    <a:cubicBezTo>
                      <a:pt x="122" y="128"/>
                      <a:pt x="130" y="148"/>
                      <a:pt x="145" y="163"/>
                    </a:cubicBezTo>
                    <a:close/>
                    <a:moveTo>
                      <a:pt x="99" y="215"/>
                    </a:moveTo>
                    <a:cubicBezTo>
                      <a:pt x="101" y="215"/>
                      <a:pt x="102" y="214"/>
                      <a:pt x="103" y="213"/>
                    </a:cubicBezTo>
                    <a:cubicBezTo>
                      <a:pt x="106" y="211"/>
                      <a:pt x="106" y="207"/>
                      <a:pt x="103" y="204"/>
                    </a:cubicBezTo>
                    <a:cubicBezTo>
                      <a:pt x="77" y="178"/>
                      <a:pt x="63" y="143"/>
                      <a:pt x="63" y="109"/>
                    </a:cubicBezTo>
                    <a:cubicBezTo>
                      <a:pt x="64" y="73"/>
                      <a:pt x="77" y="38"/>
                      <a:pt x="103" y="12"/>
                    </a:cubicBezTo>
                    <a:cubicBezTo>
                      <a:pt x="106" y="9"/>
                      <a:pt x="106" y="5"/>
                      <a:pt x="103" y="3"/>
                    </a:cubicBezTo>
                    <a:cubicBezTo>
                      <a:pt x="101" y="0"/>
                      <a:pt x="97" y="0"/>
                      <a:pt x="94" y="3"/>
                    </a:cubicBezTo>
                    <a:cubicBezTo>
                      <a:pt x="65" y="32"/>
                      <a:pt x="51" y="70"/>
                      <a:pt x="51" y="109"/>
                    </a:cubicBezTo>
                    <a:cubicBezTo>
                      <a:pt x="51" y="146"/>
                      <a:pt x="66" y="184"/>
                      <a:pt x="94" y="213"/>
                    </a:cubicBezTo>
                    <a:cubicBezTo>
                      <a:pt x="96" y="214"/>
                      <a:pt x="97" y="215"/>
                      <a:pt x="99" y="215"/>
                    </a:cubicBezTo>
                    <a:close/>
                    <a:moveTo>
                      <a:pt x="120" y="188"/>
                    </a:moveTo>
                    <a:cubicBezTo>
                      <a:pt x="121" y="189"/>
                      <a:pt x="123" y="190"/>
                      <a:pt x="124" y="190"/>
                    </a:cubicBezTo>
                    <a:cubicBezTo>
                      <a:pt x="126" y="190"/>
                      <a:pt x="127" y="189"/>
                      <a:pt x="129" y="188"/>
                    </a:cubicBezTo>
                    <a:cubicBezTo>
                      <a:pt x="131" y="185"/>
                      <a:pt x="131" y="181"/>
                      <a:pt x="129" y="179"/>
                    </a:cubicBezTo>
                    <a:cubicBezTo>
                      <a:pt x="129" y="179"/>
                      <a:pt x="129" y="179"/>
                      <a:pt x="129" y="179"/>
                    </a:cubicBezTo>
                    <a:cubicBezTo>
                      <a:pt x="109" y="159"/>
                      <a:pt x="99" y="134"/>
                      <a:pt x="99" y="108"/>
                    </a:cubicBezTo>
                    <a:cubicBezTo>
                      <a:pt x="99" y="82"/>
                      <a:pt x="109" y="56"/>
                      <a:pt x="129" y="37"/>
                    </a:cubicBezTo>
                    <a:cubicBezTo>
                      <a:pt x="131" y="34"/>
                      <a:pt x="131" y="30"/>
                      <a:pt x="129" y="28"/>
                    </a:cubicBezTo>
                    <a:cubicBezTo>
                      <a:pt x="126" y="25"/>
                      <a:pt x="122" y="25"/>
                      <a:pt x="120" y="28"/>
                    </a:cubicBezTo>
                    <a:cubicBezTo>
                      <a:pt x="98" y="50"/>
                      <a:pt x="86" y="79"/>
                      <a:pt x="86" y="108"/>
                    </a:cubicBezTo>
                    <a:cubicBezTo>
                      <a:pt x="86" y="137"/>
                      <a:pt x="98" y="166"/>
                      <a:pt x="120" y="18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64" name="组合 163">
            <a:extLst>
              <a:ext uri="{FF2B5EF4-FFF2-40B4-BE49-F238E27FC236}">
                <a16:creationId xmlns="" xmlns:a16="http://schemas.microsoft.com/office/drawing/2014/main" id="{B6F9D792-EB2E-4D44-8214-BDF4D4BDD486}"/>
              </a:ext>
            </a:extLst>
          </p:cNvPr>
          <p:cNvGrpSpPr/>
          <p:nvPr/>
        </p:nvGrpSpPr>
        <p:grpSpPr>
          <a:xfrm>
            <a:off x="8362312" y="4033186"/>
            <a:ext cx="832489" cy="832489"/>
            <a:chOff x="8636436" y="3984767"/>
            <a:chExt cx="832706" cy="832706"/>
          </a:xfrm>
        </p:grpSpPr>
        <p:pic>
          <p:nvPicPr>
            <p:cNvPr id="165" name="Picture 4" descr="E:\01 日常工作\04 展厅相关设计\2015年\PPT\主打胶片\源文件\images\10_15.png">
              <a:extLst>
                <a:ext uri="{FF2B5EF4-FFF2-40B4-BE49-F238E27FC236}">
                  <a16:creationId xmlns="" xmlns:a16="http://schemas.microsoft.com/office/drawing/2014/main" id="{7AD0F459-75A7-4984-AEB9-AC0B7ED113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tretch>
              <a:fillRect/>
            </a:stretch>
          </p:blipFill>
          <p:spPr bwMode="auto">
            <a:xfrm>
              <a:off x="8636436" y="3984767"/>
              <a:ext cx="832706" cy="832706"/>
            </a:xfrm>
            <a:prstGeom prst="rect">
              <a:avLst/>
            </a:prstGeom>
            <a:noFill/>
          </p:spPr>
        </p:pic>
        <p:grpSp>
          <p:nvGrpSpPr>
            <p:cNvPr id="166" name="组合 235">
              <a:extLst>
                <a:ext uri="{FF2B5EF4-FFF2-40B4-BE49-F238E27FC236}">
                  <a16:creationId xmlns="" xmlns:a16="http://schemas.microsoft.com/office/drawing/2014/main" id="{3F3B3ACA-C96F-45E1-AC66-EF79798FF969}"/>
                </a:ext>
              </a:extLst>
            </p:cNvPr>
            <p:cNvGrpSpPr/>
            <p:nvPr/>
          </p:nvGrpSpPr>
          <p:grpSpPr>
            <a:xfrm>
              <a:off x="8774472" y="4132671"/>
              <a:ext cx="556635" cy="536898"/>
              <a:chOff x="8710720" y="4154172"/>
              <a:chExt cx="771035" cy="771036"/>
            </a:xfrm>
          </p:grpSpPr>
          <p:sp>
            <p:nvSpPr>
              <p:cNvPr id="167" name="椭圆 166">
                <a:extLst>
                  <a:ext uri="{FF2B5EF4-FFF2-40B4-BE49-F238E27FC236}">
                    <a16:creationId xmlns="" xmlns:a16="http://schemas.microsoft.com/office/drawing/2014/main" id="{9A1B1E5F-9824-42F9-96A5-ECC1DCB2BD6B}"/>
                  </a:ext>
                </a:extLst>
              </p:cNvPr>
              <p:cNvSpPr/>
              <p:nvPr/>
            </p:nvSpPr>
            <p:spPr>
              <a:xfrm>
                <a:off x="8710720" y="4154172"/>
                <a:ext cx="771035" cy="771036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grpSp>
            <p:nvGrpSpPr>
              <p:cNvPr id="168" name="组合 159">
                <a:extLst>
                  <a:ext uri="{FF2B5EF4-FFF2-40B4-BE49-F238E27FC236}">
                    <a16:creationId xmlns="" xmlns:a16="http://schemas.microsoft.com/office/drawing/2014/main" id="{9FF3635D-EA9F-4B00-BB04-D78D5E4F905E}"/>
                  </a:ext>
                </a:extLst>
              </p:cNvPr>
              <p:cNvGrpSpPr/>
              <p:nvPr/>
            </p:nvGrpSpPr>
            <p:grpSpPr>
              <a:xfrm>
                <a:off x="8854739" y="4349462"/>
                <a:ext cx="486920" cy="416175"/>
                <a:chOff x="-1348014" y="8323944"/>
                <a:chExt cx="1398588" cy="1195387"/>
              </a:xfrm>
              <a:solidFill>
                <a:schemeClr val="bg1"/>
              </a:solidFill>
            </p:grpSpPr>
            <p:sp>
              <p:nvSpPr>
                <p:cNvPr id="169" name="Freeform 55">
                  <a:extLst>
                    <a:ext uri="{FF2B5EF4-FFF2-40B4-BE49-F238E27FC236}">
                      <a16:creationId xmlns="" xmlns:a16="http://schemas.microsoft.com/office/drawing/2014/main" id="{9FCFB450-111E-48AF-B586-BAC4BD5CD5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08264" y="9201831"/>
                  <a:ext cx="319088" cy="317500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0" y="43"/>
                    </a:cxn>
                    <a:cxn ang="0">
                      <a:pos x="43" y="85"/>
                    </a:cxn>
                    <a:cxn ang="0">
                      <a:pos x="85" y="43"/>
                    </a:cxn>
                    <a:cxn ang="0">
                      <a:pos x="43" y="0"/>
                    </a:cxn>
                    <a:cxn ang="0">
                      <a:pos x="43" y="73"/>
                    </a:cxn>
                    <a:cxn ang="0">
                      <a:pos x="12" y="43"/>
                    </a:cxn>
                    <a:cxn ang="0">
                      <a:pos x="43" y="12"/>
                    </a:cxn>
                    <a:cxn ang="0">
                      <a:pos x="73" y="43"/>
                    </a:cxn>
                    <a:cxn ang="0">
                      <a:pos x="43" y="73"/>
                    </a:cxn>
                  </a:cxnLst>
                  <a:rect l="0" t="0" r="r" b="b"/>
                  <a:pathLst>
                    <a:path w="85" h="85">
                      <a:moveTo>
                        <a:pt x="43" y="0"/>
                      </a:move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6"/>
                        <a:pt x="19" y="85"/>
                        <a:pt x="43" y="85"/>
                      </a:cubicBezTo>
                      <a:cubicBezTo>
                        <a:pt x="66" y="85"/>
                        <a:pt x="85" y="66"/>
                        <a:pt x="85" y="43"/>
                      </a:cubicBezTo>
                      <a:cubicBezTo>
                        <a:pt x="85" y="19"/>
                        <a:pt x="66" y="0"/>
                        <a:pt x="43" y="0"/>
                      </a:cubicBezTo>
                      <a:close/>
                      <a:moveTo>
                        <a:pt x="43" y="73"/>
                      </a:moveTo>
                      <a:cubicBezTo>
                        <a:pt x="26" y="73"/>
                        <a:pt x="12" y="59"/>
                        <a:pt x="12" y="43"/>
                      </a:cubicBezTo>
                      <a:cubicBezTo>
                        <a:pt x="12" y="26"/>
                        <a:pt x="26" y="12"/>
                        <a:pt x="43" y="12"/>
                      </a:cubicBezTo>
                      <a:cubicBezTo>
                        <a:pt x="59" y="12"/>
                        <a:pt x="73" y="26"/>
                        <a:pt x="73" y="43"/>
                      </a:cubicBezTo>
                      <a:cubicBezTo>
                        <a:pt x="73" y="59"/>
                        <a:pt x="59" y="73"/>
                        <a:pt x="43" y="7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0" name="Freeform 56">
                  <a:extLst>
                    <a:ext uri="{FF2B5EF4-FFF2-40B4-BE49-F238E27FC236}">
                      <a16:creationId xmlns="" xmlns:a16="http://schemas.microsoft.com/office/drawing/2014/main" id="{961512B5-A333-4072-8CAA-F4A21471FA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68602" y="8946244"/>
                  <a:ext cx="639763" cy="184150"/>
                </a:xfrm>
                <a:custGeom>
                  <a:avLst/>
                  <a:gdLst/>
                  <a:ahLst/>
                  <a:cxnLst>
                    <a:cxn ang="0">
                      <a:pos x="86" y="0"/>
                    </a:cxn>
                    <a:cxn ang="0">
                      <a:pos x="2" y="38"/>
                    </a:cxn>
                    <a:cxn ang="0">
                      <a:pos x="3" y="47"/>
                    </a:cxn>
                    <a:cxn ang="0">
                      <a:pos x="12" y="46"/>
                    </a:cxn>
                    <a:cxn ang="0">
                      <a:pos x="86" y="13"/>
                    </a:cxn>
                    <a:cxn ang="0">
                      <a:pos x="160" y="46"/>
                    </a:cxn>
                    <a:cxn ang="0">
                      <a:pos x="164" y="48"/>
                    </a:cxn>
                    <a:cxn ang="0">
                      <a:pos x="168" y="47"/>
                    </a:cxn>
                    <a:cxn ang="0">
                      <a:pos x="169" y="38"/>
                    </a:cxn>
                    <a:cxn ang="0">
                      <a:pos x="86" y="0"/>
                    </a:cxn>
                  </a:cxnLst>
                  <a:rect l="0" t="0" r="r" b="b"/>
                  <a:pathLst>
                    <a:path w="171" h="49">
                      <a:moveTo>
                        <a:pt x="86" y="0"/>
                      </a:moveTo>
                      <a:cubicBezTo>
                        <a:pt x="54" y="0"/>
                        <a:pt x="23" y="14"/>
                        <a:pt x="2" y="38"/>
                      </a:cubicBezTo>
                      <a:cubicBezTo>
                        <a:pt x="0" y="41"/>
                        <a:pt x="0" y="45"/>
                        <a:pt x="3" y="47"/>
                      </a:cubicBezTo>
                      <a:cubicBezTo>
                        <a:pt x="5" y="49"/>
                        <a:pt x="9" y="49"/>
                        <a:pt x="12" y="46"/>
                      </a:cubicBezTo>
                      <a:cubicBezTo>
                        <a:pt x="30" y="25"/>
                        <a:pt x="57" y="13"/>
                        <a:pt x="86" y="13"/>
                      </a:cubicBezTo>
                      <a:cubicBezTo>
                        <a:pt x="114" y="13"/>
                        <a:pt x="141" y="25"/>
                        <a:pt x="160" y="46"/>
                      </a:cubicBezTo>
                      <a:cubicBezTo>
                        <a:pt x="161" y="48"/>
                        <a:pt x="163" y="48"/>
                        <a:pt x="164" y="48"/>
                      </a:cubicBezTo>
                      <a:cubicBezTo>
                        <a:pt x="166" y="48"/>
                        <a:pt x="167" y="48"/>
                        <a:pt x="168" y="47"/>
                      </a:cubicBezTo>
                      <a:cubicBezTo>
                        <a:pt x="171" y="45"/>
                        <a:pt x="171" y="41"/>
                        <a:pt x="169" y="38"/>
                      </a:cubicBezTo>
                      <a:cubicBezTo>
                        <a:pt x="148" y="14"/>
                        <a:pt x="118" y="0"/>
                        <a:pt x="8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1" name="Freeform 57">
                  <a:extLst>
                    <a:ext uri="{FF2B5EF4-FFF2-40B4-BE49-F238E27FC236}">
                      <a16:creationId xmlns="" xmlns:a16="http://schemas.microsoft.com/office/drawing/2014/main" id="{4E98F916-4376-446B-A969-56598C8C0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60689" y="8635094"/>
                  <a:ext cx="1023938" cy="242888"/>
                </a:xfrm>
                <a:custGeom>
                  <a:avLst/>
                  <a:gdLst/>
                  <a:ahLst/>
                  <a:cxnLst>
                    <a:cxn ang="0">
                      <a:pos x="137" y="0"/>
                    </a:cxn>
                    <a:cxn ang="0">
                      <a:pos x="3" y="53"/>
                    </a:cxn>
                    <a:cxn ang="0">
                      <a:pos x="3" y="62"/>
                    </a:cxn>
                    <a:cxn ang="0">
                      <a:pos x="11" y="62"/>
                    </a:cxn>
                    <a:cxn ang="0">
                      <a:pos x="137" y="12"/>
                    </a:cxn>
                    <a:cxn ang="0">
                      <a:pos x="262" y="62"/>
                    </a:cxn>
                    <a:cxn ang="0">
                      <a:pos x="266" y="64"/>
                    </a:cxn>
                    <a:cxn ang="0">
                      <a:pos x="271" y="62"/>
                    </a:cxn>
                    <a:cxn ang="0">
                      <a:pos x="270" y="53"/>
                    </a:cxn>
                    <a:cxn ang="0">
                      <a:pos x="137" y="0"/>
                    </a:cxn>
                  </a:cxnLst>
                  <a:rect l="0" t="0" r="r" b="b"/>
                  <a:pathLst>
                    <a:path w="273" h="65">
                      <a:moveTo>
                        <a:pt x="137" y="0"/>
                      </a:moveTo>
                      <a:cubicBezTo>
                        <a:pt x="87" y="0"/>
                        <a:pt x="39" y="19"/>
                        <a:pt x="3" y="53"/>
                      </a:cubicBezTo>
                      <a:cubicBezTo>
                        <a:pt x="1" y="56"/>
                        <a:pt x="0" y="60"/>
                        <a:pt x="3" y="62"/>
                      </a:cubicBezTo>
                      <a:cubicBezTo>
                        <a:pt x="5" y="65"/>
                        <a:pt x="9" y="65"/>
                        <a:pt x="11" y="62"/>
                      </a:cubicBezTo>
                      <a:cubicBezTo>
                        <a:pt x="45" y="30"/>
                        <a:pt x="90" y="12"/>
                        <a:pt x="137" y="12"/>
                      </a:cubicBezTo>
                      <a:cubicBezTo>
                        <a:pt x="183" y="12"/>
                        <a:pt x="228" y="30"/>
                        <a:pt x="262" y="62"/>
                      </a:cubicBezTo>
                      <a:cubicBezTo>
                        <a:pt x="263" y="63"/>
                        <a:pt x="265" y="64"/>
                        <a:pt x="266" y="64"/>
                      </a:cubicBezTo>
                      <a:cubicBezTo>
                        <a:pt x="268" y="64"/>
                        <a:pt x="269" y="63"/>
                        <a:pt x="271" y="62"/>
                      </a:cubicBezTo>
                      <a:cubicBezTo>
                        <a:pt x="273" y="60"/>
                        <a:pt x="273" y="56"/>
                        <a:pt x="270" y="53"/>
                      </a:cubicBezTo>
                      <a:cubicBezTo>
                        <a:pt x="234" y="19"/>
                        <a:pt x="187" y="0"/>
                        <a:pt x="13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2" name="Freeform 58">
                  <a:extLst>
                    <a:ext uri="{FF2B5EF4-FFF2-40B4-BE49-F238E27FC236}">
                      <a16:creationId xmlns="" xmlns:a16="http://schemas.microsoft.com/office/drawing/2014/main" id="{0DFC93F3-87DB-41CA-AABC-9376E67A4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348014" y="8323944"/>
                  <a:ext cx="1398588" cy="303213"/>
                </a:xfrm>
                <a:custGeom>
                  <a:avLst/>
                  <a:gdLst/>
                  <a:ahLst/>
                  <a:cxnLst>
                    <a:cxn ang="0">
                      <a:pos x="371" y="69"/>
                    </a:cxn>
                    <a:cxn ang="0">
                      <a:pos x="187" y="0"/>
                    </a:cxn>
                    <a:cxn ang="0">
                      <a:pos x="3" y="69"/>
                    </a:cxn>
                    <a:cxn ang="0">
                      <a:pos x="2" y="78"/>
                    </a:cxn>
                    <a:cxn ang="0">
                      <a:pos x="7" y="80"/>
                    </a:cxn>
                    <a:cxn ang="0">
                      <a:pos x="11" y="78"/>
                    </a:cxn>
                    <a:cxn ang="0">
                      <a:pos x="187" y="12"/>
                    </a:cxn>
                    <a:cxn ang="0">
                      <a:pos x="363" y="78"/>
                    </a:cxn>
                    <a:cxn ang="0">
                      <a:pos x="371" y="78"/>
                    </a:cxn>
                    <a:cxn ang="0">
                      <a:pos x="371" y="69"/>
                    </a:cxn>
                  </a:cxnLst>
                  <a:rect l="0" t="0" r="r" b="b"/>
                  <a:pathLst>
                    <a:path w="373" h="81">
                      <a:moveTo>
                        <a:pt x="371" y="69"/>
                      </a:moveTo>
                      <a:cubicBezTo>
                        <a:pt x="320" y="24"/>
                        <a:pt x="254" y="0"/>
                        <a:pt x="187" y="0"/>
                      </a:cubicBezTo>
                      <a:cubicBezTo>
                        <a:pt x="119" y="0"/>
                        <a:pt x="54" y="24"/>
                        <a:pt x="3" y="69"/>
                      </a:cubicBezTo>
                      <a:cubicBezTo>
                        <a:pt x="0" y="71"/>
                        <a:pt x="0" y="75"/>
                        <a:pt x="2" y="78"/>
                      </a:cubicBezTo>
                      <a:cubicBezTo>
                        <a:pt x="3" y="79"/>
                        <a:pt x="5" y="80"/>
                        <a:pt x="7" y="80"/>
                      </a:cubicBezTo>
                      <a:cubicBezTo>
                        <a:pt x="8" y="80"/>
                        <a:pt x="10" y="79"/>
                        <a:pt x="11" y="78"/>
                      </a:cubicBezTo>
                      <a:cubicBezTo>
                        <a:pt x="59" y="35"/>
                        <a:pt x="122" y="12"/>
                        <a:pt x="187" y="12"/>
                      </a:cubicBezTo>
                      <a:cubicBezTo>
                        <a:pt x="252" y="12"/>
                        <a:pt x="314" y="35"/>
                        <a:pt x="363" y="78"/>
                      </a:cubicBezTo>
                      <a:cubicBezTo>
                        <a:pt x="365" y="81"/>
                        <a:pt x="369" y="80"/>
                        <a:pt x="371" y="78"/>
                      </a:cubicBezTo>
                      <a:cubicBezTo>
                        <a:pt x="373" y="75"/>
                        <a:pt x="373" y="71"/>
                        <a:pt x="371" y="6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78" tIns="45689" rIns="91378" bIns="4568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288" fontAlgn="ctr"/>
                  <a:endParaRPr lang="en-US" altLang="zh-CN" sz="1997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173" name="组合 172">
            <a:extLst>
              <a:ext uri="{FF2B5EF4-FFF2-40B4-BE49-F238E27FC236}">
                <a16:creationId xmlns="" xmlns:a16="http://schemas.microsoft.com/office/drawing/2014/main" id="{D07D161F-F860-41B1-86FE-4E34A520C238}"/>
              </a:ext>
            </a:extLst>
          </p:cNvPr>
          <p:cNvGrpSpPr/>
          <p:nvPr/>
        </p:nvGrpSpPr>
        <p:grpSpPr>
          <a:xfrm>
            <a:off x="8362312" y="5346398"/>
            <a:ext cx="832488" cy="802968"/>
            <a:chOff x="8501565" y="5154516"/>
            <a:chExt cx="1163181" cy="1163181"/>
          </a:xfrm>
        </p:grpSpPr>
        <p:pic>
          <p:nvPicPr>
            <p:cNvPr id="174" name="Picture 3" descr="E:\01 日常工作\04 展厅相关设计\2015年\PPT\主打胶片\源文件\images\10_14.png">
              <a:extLst>
                <a:ext uri="{FF2B5EF4-FFF2-40B4-BE49-F238E27FC236}">
                  <a16:creationId xmlns="" xmlns:a16="http://schemas.microsoft.com/office/drawing/2014/main" id="{E2FD50BB-91C5-4894-B7B2-1AC41AF1CB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tretch>
              <a:fillRect/>
            </a:stretch>
          </p:blipFill>
          <p:spPr bwMode="auto">
            <a:xfrm>
              <a:off x="8501565" y="5154516"/>
              <a:ext cx="1163181" cy="1163181"/>
            </a:xfrm>
            <a:prstGeom prst="rect">
              <a:avLst/>
            </a:prstGeom>
            <a:noFill/>
          </p:spPr>
        </p:pic>
        <p:grpSp>
          <p:nvGrpSpPr>
            <p:cNvPr id="175" name="组合 234">
              <a:extLst>
                <a:ext uri="{FF2B5EF4-FFF2-40B4-BE49-F238E27FC236}">
                  <a16:creationId xmlns="" xmlns:a16="http://schemas.microsoft.com/office/drawing/2014/main" id="{A96E51E4-8069-40E5-9826-7A0982340412}"/>
                </a:ext>
              </a:extLst>
            </p:cNvPr>
            <p:cNvGrpSpPr/>
            <p:nvPr/>
          </p:nvGrpSpPr>
          <p:grpSpPr>
            <a:xfrm>
              <a:off x="8694382" y="5347333"/>
              <a:ext cx="777547" cy="777547"/>
              <a:chOff x="8739701" y="5371814"/>
              <a:chExt cx="771035" cy="771035"/>
            </a:xfrm>
          </p:grpSpPr>
          <p:sp>
            <p:nvSpPr>
              <p:cNvPr id="176" name="椭圆 175">
                <a:extLst>
                  <a:ext uri="{FF2B5EF4-FFF2-40B4-BE49-F238E27FC236}">
                    <a16:creationId xmlns="" xmlns:a16="http://schemas.microsoft.com/office/drawing/2014/main" id="{88061858-13E3-4459-8490-40BF252B7EC3}"/>
                  </a:ext>
                </a:extLst>
              </p:cNvPr>
              <p:cNvSpPr/>
              <p:nvPr/>
            </p:nvSpPr>
            <p:spPr>
              <a:xfrm>
                <a:off x="8739701" y="5371814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1218288" fontAlgn="ctr"/>
                <a:endParaRPr lang="en-US" altLang="zh-CN" sz="23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="" xmlns:a16="http://schemas.microsoft.com/office/drawing/2014/main" id="{72DAA918-DE30-4C78-9661-705E9D2EBA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82087" y="5572156"/>
                <a:ext cx="502920" cy="384587"/>
              </a:xfrm>
              <a:custGeom>
                <a:avLst/>
                <a:gdLst/>
                <a:ahLst/>
                <a:cxnLst>
                  <a:cxn ang="0">
                    <a:pos x="296" y="119"/>
                  </a:cxn>
                  <a:cxn ang="0">
                    <a:pos x="296" y="12"/>
                  </a:cxn>
                  <a:cxn ang="0">
                    <a:pos x="284" y="0"/>
                  </a:cxn>
                  <a:cxn ang="0">
                    <a:pos x="120" y="0"/>
                  </a:cxn>
                  <a:cxn ang="0">
                    <a:pos x="108" y="12"/>
                  </a:cxn>
                  <a:cxn ang="0">
                    <a:pos x="108" y="29"/>
                  </a:cxn>
                  <a:cxn ang="0">
                    <a:pos x="114" y="36"/>
                  </a:cxn>
                  <a:cxn ang="0">
                    <a:pos x="120" y="29"/>
                  </a:cxn>
                  <a:cxn ang="0">
                    <a:pos x="120" y="12"/>
                  </a:cxn>
                  <a:cxn ang="0">
                    <a:pos x="278" y="12"/>
                  </a:cxn>
                  <a:cxn ang="0">
                    <a:pos x="284" y="17"/>
                  </a:cxn>
                  <a:cxn ang="0">
                    <a:pos x="284" y="113"/>
                  </a:cxn>
                  <a:cxn ang="0">
                    <a:pos x="278" y="120"/>
                  </a:cxn>
                  <a:cxn ang="0">
                    <a:pos x="228" y="120"/>
                  </a:cxn>
                  <a:cxn ang="0">
                    <a:pos x="216" y="132"/>
                  </a:cxn>
                  <a:cxn ang="0">
                    <a:pos x="216" y="155"/>
                  </a:cxn>
                  <a:cxn ang="0">
                    <a:pos x="228" y="168"/>
                  </a:cxn>
                  <a:cxn ang="0">
                    <a:pos x="272" y="168"/>
                  </a:cxn>
                  <a:cxn ang="0">
                    <a:pos x="272" y="193"/>
                  </a:cxn>
                  <a:cxn ang="0">
                    <a:pos x="261" y="204"/>
                  </a:cxn>
                  <a:cxn ang="0">
                    <a:pos x="195" y="204"/>
                  </a:cxn>
                  <a:cxn ang="0">
                    <a:pos x="188" y="197"/>
                  </a:cxn>
                  <a:cxn ang="0">
                    <a:pos x="182" y="192"/>
                  </a:cxn>
                  <a:cxn ang="0">
                    <a:pos x="127" y="192"/>
                  </a:cxn>
                  <a:cxn ang="0">
                    <a:pos x="120" y="186"/>
                  </a:cxn>
                  <a:cxn ang="0">
                    <a:pos x="127" y="180"/>
                  </a:cxn>
                  <a:cxn ang="0">
                    <a:pos x="176" y="180"/>
                  </a:cxn>
                  <a:cxn ang="0">
                    <a:pos x="188" y="167"/>
                  </a:cxn>
                  <a:cxn ang="0">
                    <a:pos x="188" y="60"/>
                  </a:cxn>
                  <a:cxn ang="0">
                    <a:pos x="177" y="48"/>
                  </a:cxn>
                  <a:cxn ang="0">
                    <a:pos x="12" y="48"/>
                  </a:cxn>
                  <a:cxn ang="0">
                    <a:pos x="0" y="60"/>
                  </a:cxn>
                  <a:cxn ang="0">
                    <a:pos x="0" y="168"/>
                  </a:cxn>
                  <a:cxn ang="0">
                    <a:pos x="12" y="180"/>
                  </a:cxn>
                  <a:cxn ang="0">
                    <a:pos x="62" y="180"/>
                  </a:cxn>
                  <a:cxn ang="0">
                    <a:pos x="68" y="185"/>
                  </a:cxn>
                  <a:cxn ang="0">
                    <a:pos x="62" y="192"/>
                  </a:cxn>
                  <a:cxn ang="0">
                    <a:pos x="7" y="192"/>
                  </a:cxn>
                  <a:cxn ang="0">
                    <a:pos x="0" y="198"/>
                  </a:cxn>
                  <a:cxn ang="0">
                    <a:pos x="0" y="210"/>
                  </a:cxn>
                  <a:cxn ang="0">
                    <a:pos x="7" y="216"/>
                  </a:cxn>
                  <a:cxn ang="0">
                    <a:pos x="261" y="216"/>
                  </a:cxn>
                  <a:cxn ang="0">
                    <a:pos x="278" y="228"/>
                  </a:cxn>
                  <a:cxn ang="0">
                    <a:pos x="296" y="210"/>
                  </a:cxn>
                  <a:cxn ang="0">
                    <a:pos x="284" y="193"/>
                  </a:cxn>
                  <a:cxn ang="0">
                    <a:pos x="284" y="168"/>
                  </a:cxn>
                  <a:cxn ang="0">
                    <a:pos x="296" y="156"/>
                  </a:cxn>
                  <a:cxn ang="0">
                    <a:pos x="284" y="144"/>
                  </a:cxn>
                  <a:cxn ang="0">
                    <a:pos x="236" y="144"/>
                  </a:cxn>
                  <a:cxn ang="0">
                    <a:pos x="228" y="137"/>
                  </a:cxn>
                  <a:cxn ang="0">
                    <a:pos x="235" y="132"/>
                  </a:cxn>
                  <a:cxn ang="0">
                    <a:pos x="284" y="132"/>
                  </a:cxn>
                  <a:cxn ang="0">
                    <a:pos x="296" y="119"/>
                  </a:cxn>
                  <a:cxn ang="0">
                    <a:pos x="12" y="161"/>
                  </a:cxn>
                  <a:cxn ang="0">
                    <a:pos x="12" y="65"/>
                  </a:cxn>
                  <a:cxn ang="0">
                    <a:pos x="18" y="60"/>
                  </a:cxn>
                  <a:cxn ang="0">
                    <a:pos x="170" y="60"/>
                  </a:cxn>
                  <a:cxn ang="0">
                    <a:pos x="176" y="66"/>
                  </a:cxn>
                  <a:cxn ang="0">
                    <a:pos x="176" y="161"/>
                  </a:cxn>
                  <a:cxn ang="0">
                    <a:pos x="170" y="168"/>
                  </a:cxn>
                  <a:cxn ang="0">
                    <a:pos x="19" y="168"/>
                  </a:cxn>
                  <a:cxn ang="0">
                    <a:pos x="12" y="161"/>
                  </a:cxn>
                </a:cxnLst>
                <a:rect l="0" t="0" r="r" b="b"/>
                <a:pathLst>
                  <a:path w="297" h="228">
                    <a:moveTo>
                      <a:pt x="296" y="119"/>
                    </a:moveTo>
                    <a:cubicBezTo>
                      <a:pt x="296" y="12"/>
                      <a:pt x="296" y="12"/>
                      <a:pt x="296" y="12"/>
                    </a:cubicBezTo>
                    <a:cubicBezTo>
                      <a:pt x="296" y="12"/>
                      <a:pt x="297" y="0"/>
                      <a:pt x="284" y="0"/>
                    </a:cubicBezTo>
                    <a:cubicBezTo>
                      <a:pt x="256" y="0"/>
                      <a:pt x="130" y="0"/>
                      <a:pt x="120" y="0"/>
                    </a:cubicBezTo>
                    <a:cubicBezTo>
                      <a:pt x="109" y="0"/>
                      <a:pt x="108" y="12"/>
                      <a:pt x="108" y="12"/>
                    </a:cubicBezTo>
                    <a:cubicBezTo>
                      <a:pt x="108" y="29"/>
                      <a:pt x="108" y="29"/>
                      <a:pt x="108" y="29"/>
                    </a:cubicBezTo>
                    <a:cubicBezTo>
                      <a:pt x="108" y="29"/>
                      <a:pt x="108" y="36"/>
                      <a:pt x="114" y="36"/>
                    </a:cubicBezTo>
                    <a:cubicBezTo>
                      <a:pt x="120" y="36"/>
                      <a:pt x="120" y="29"/>
                      <a:pt x="120" y="29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2"/>
                      <a:pt x="272" y="12"/>
                      <a:pt x="278" y="12"/>
                    </a:cubicBezTo>
                    <a:cubicBezTo>
                      <a:pt x="285" y="12"/>
                      <a:pt x="284" y="17"/>
                      <a:pt x="284" y="17"/>
                    </a:cubicBezTo>
                    <a:cubicBezTo>
                      <a:pt x="284" y="113"/>
                      <a:pt x="284" y="113"/>
                      <a:pt x="284" y="113"/>
                    </a:cubicBezTo>
                    <a:cubicBezTo>
                      <a:pt x="284" y="113"/>
                      <a:pt x="284" y="120"/>
                      <a:pt x="278" y="120"/>
                    </a:cubicBezTo>
                    <a:cubicBezTo>
                      <a:pt x="275" y="120"/>
                      <a:pt x="235" y="120"/>
                      <a:pt x="228" y="120"/>
                    </a:cubicBezTo>
                    <a:cubicBezTo>
                      <a:pt x="216" y="120"/>
                      <a:pt x="216" y="132"/>
                      <a:pt x="216" y="132"/>
                    </a:cubicBezTo>
                    <a:cubicBezTo>
                      <a:pt x="216" y="155"/>
                      <a:pt x="216" y="155"/>
                      <a:pt x="216" y="155"/>
                    </a:cubicBezTo>
                    <a:cubicBezTo>
                      <a:pt x="216" y="155"/>
                      <a:pt x="216" y="168"/>
                      <a:pt x="228" y="168"/>
                    </a:cubicBezTo>
                    <a:cubicBezTo>
                      <a:pt x="240" y="168"/>
                      <a:pt x="272" y="168"/>
                      <a:pt x="272" y="168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67" y="195"/>
                      <a:pt x="263" y="199"/>
                      <a:pt x="261" y="204"/>
                    </a:cubicBezTo>
                    <a:cubicBezTo>
                      <a:pt x="261" y="204"/>
                      <a:pt x="202" y="204"/>
                      <a:pt x="195" y="204"/>
                    </a:cubicBezTo>
                    <a:cubicBezTo>
                      <a:pt x="189" y="204"/>
                      <a:pt x="188" y="197"/>
                      <a:pt x="188" y="197"/>
                    </a:cubicBezTo>
                    <a:cubicBezTo>
                      <a:pt x="188" y="197"/>
                      <a:pt x="189" y="192"/>
                      <a:pt x="182" y="192"/>
                    </a:cubicBezTo>
                    <a:cubicBezTo>
                      <a:pt x="175" y="192"/>
                      <a:pt x="127" y="192"/>
                      <a:pt x="127" y="192"/>
                    </a:cubicBezTo>
                    <a:cubicBezTo>
                      <a:pt x="127" y="192"/>
                      <a:pt x="120" y="192"/>
                      <a:pt x="120" y="186"/>
                    </a:cubicBezTo>
                    <a:cubicBezTo>
                      <a:pt x="120" y="179"/>
                      <a:pt x="127" y="180"/>
                      <a:pt x="127" y="180"/>
                    </a:cubicBezTo>
                    <a:cubicBezTo>
                      <a:pt x="127" y="180"/>
                      <a:pt x="170" y="180"/>
                      <a:pt x="176" y="180"/>
                    </a:cubicBezTo>
                    <a:cubicBezTo>
                      <a:pt x="188" y="180"/>
                      <a:pt x="188" y="167"/>
                      <a:pt x="188" y="167"/>
                    </a:cubicBezTo>
                    <a:cubicBezTo>
                      <a:pt x="188" y="60"/>
                      <a:pt x="188" y="60"/>
                      <a:pt x="188" y="60"/>
                    </a:cubicBezTo>
                    <a:cubicBezTo>
                      <a:pt x="188" y="60"/>
                      <a:pt x="189" y="48"/>
                      <a:pt x="177" y="48"/>
                    </a:cubicBezTo>
                    <a:cubicBezTo>
                      <a:pt x="164" y="48"/>
                      <a:pt x="24" y="48"/>
                      <a:pt x="12" y="48"/>
                    </a:cubicBezTo>
                    <a:cubicBezTo>
                      <a:pt x="0" y="48"/>
                      <a:pt x="0" y="60"/>
                      <a:pt x="0" y="60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80"/>
                      <a:pt x="12" y="180"/>
                    </a:cubicBezTo>
                    <a:cubicBezTo>
                      <a:pt x="19" y="180"/>
                      <a:pt x="62" y="180"/>
                      <a:pt x="62" y="180"/>
                    </a:cubicBezTo>
                    <a:cubicBezTo>
                      <a:pt x="62" y="180"/>
                      <a:pt x="68" y="179"/>
                      <a:pt x="68" y="185"/>
                    </a:cubicBezTo>
                    <a:cubicBezTo>
                      <a:pt x="68" y="191"/>
                      <a:pt x="62" y="192"/>
                      <a:pt x="62" y="192"/>
                    </a:cubicBezTo>
                    <a:cubicBezTo>
                      <a:pt x="62" y="192"/>
                      <a:pt x="14" y="192"/>
                      <a:pt x="7" y="192"/>
                    </a:cubicBezTo>
                    <a:cubicBezTo>
                      <a:pt x="0" y="192"/>
                      <a:pt x="0" y="198"/>
                      <a:pt x="0" y="198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0" y="210"/>
                      <a:pt x="0" y="216"/>
                      <a:pt x="7" y="216"/>
                    </a:cubicBezTo>
                    <a:cubicBezTo>
                      <a:pt x="13" y="216"/>
                      <a:pt x="261" y="216"/>
                      <a:pt x="261" y="216"/>
                    </a:cubicBezTo>
                    <a:cubicBezTo>
                      <a:pt x="264" y="223"/>
                      <a:pt x="270" y="228"/>
                      <a:pt x="278" y="228"/>
                    </a:cubicBezTo>
                    <a:cubicBezTo>
                      <a:pt x="288" y="228"/>
                      <a:pt x="296" y="220"/>
                      <a:pt x="296" y="210"/>
                    </a:cubicBezTo>
                    <a:cubicBezTo>
                      <a:pt x="296" y="202"/>
                      <a:pt x="291" y="195"/>
                      <a:pt x="284" y="193"/>
                    </a:cubicBezTo>
                    <a:cubicBezTo>
                      <a:pt x="284" y="168"/>
                      <a:pt x="284" y="168"/>
                      <a:pt x="284" y="168"/>
                    </a:cubicBezTo>
                    <a:cubicBezTo>
                      <a:pt x="284" y="168"/>
                      <a:pt x="296" y="168"/>
                      <a:pt x="296" y="156"/>
                    </a:cubicBezTo>
                    <a:cubicBezTo>
                      <a:pt x="296" y="144"/>
                      <a:pt x="284" y="144"/>
                      <a:pt x="284" y="144"/>
                    </a:cubicBezTo>
                    <a:cubicBezTo>
                      <a:pt x="236" y="144"/>
                      <a:pt x="236" y="144"/>
                      <a:pt x="236" y="144"/>
                    </a:cubicBezTo>
                    <a:cubicBezTo>
                      <a:pt x="236" y="144"/>
                      <a:pt x="228" y="144"/>
                      <a:pt x="228" y="137"/>
                    </a:cubicBezTo>
                    <a:cubicBezTo>
                      <a:pt x="228" y="131"/>
                      <a:pt x="235" y="132"/>
                      <a:pt x="235" y="132"/>
                    </a:cubicBezTo>
                    <a:cubicBezTo>
                      <a:pt x="235" y="132"/>
                      <a:pt x="278" y="132"/>
                      <a:pt x="284" y="132"/>
                    </a:cubicBezTo>
                    <a:cubicBezTo>
                      <a:pt x="296" y="132"/>
                      <a:pt x="296" y="119"/>
                      <a:pt x="296" y="119"/>
                    </a:cubicBezTo>
                    <a:close/>
                    <a:moveTo>
                      <a:pt x="12" y="161"/>
                    </a:moveTo>
                    <a:cubicBezTo>
                      <a:pt x="12" y="65"/>
                      <a:pt x="12" y="65"/>
                      <a:pt x="12" y="65"/>
                    </a:cubicBezTo>
                    <a:cubicBezTo>
                      <a:pt x="12" y="65"/>
                      <a:pt x="12" y="60"/>
                      <a:pt x="18" y="60"/>
                    </a:cubicBezTo>
                    <a:cubicBezTo>
                      <a:pt x="24" y="60"/>
                      <a:pt x="148" y="60"/>
                      <a:pt x="170" y="60"/>
                    </a:cubicBezTo>
                    <a:cubicBezTo>
                      <a:pt x="176" y="60"/>
                      <a:pt x="176" y="66"/>
                      <a:pt x="176" y="66"/>
                    </a:cubicBezTo>
                    <a:cubicBezTo>
                      <a:pt x="176" y="161"/>
                      <a:pt x="176" y="161"/>
                      <a:pt x="176" y="161"/>
                    </a:cubicBezTo>
                    <a:cubicBezTo>
                      <a:pt x="176" y="161"/>
                      <a:pt x="176" y="168"/>
                      <a:pt x="170" y="168"/>
                    </a:cubicBezTo>
                    <a:cubicBezTo>
                      <a:pt x="149" y="168"/>
                      <a:pt x="24" y="168"/>
                      <a:pt x="19" y="168"/>
                    </a:cubicBezTo>
                    <a:cubicBezTo>
                      <a:pt x="13" y="168"/>
                      <a:pt x="12" y="161"/>
                      <a:pt x="12" y="16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78" tIns="45689" rIns="91378" bIns="4568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8288" fontAlgn="ctr"/>
                <a:endParaRPr lang="en-US" altLang="zh-CN" sz="1997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189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梯形 27">
            <a:extLst>
              <a:ext uri="{FF2B5EF4-FFF2-40B4-BE49-F238E27FC236}">
                <a16:creationId xmlns="" xmlns:a16="http://schemas.microsoft.com/office/drawing/2014/main" id="{B8A6DF3E-38A6-4CA7-80F5-B80E8A39DFB7}"/>
              </a:ext>
            </a:extLst>
          </p:cNvPr>
          <p:cNvSpPr/>
          <p:nvPr/>
        </p:nvSpPr>
        <p:spPr>
          <a:xfrm>
            <a:off x="552307" y="3926069"/>
            <a:ext cx="11087388" cy="251243"/>
          </a:xfrm>
          <a:prstGeom prst="trapezoid">
            <a:avLst>
              <a:gd name="adj" fmla="val 239771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/>
          <a:p>
            <a:pPr defTabSz="2310707" fontAlgn="ctr"/>
            <a:endParaRPr lang="en-US" altLang="zh-CN" sz="3199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AutoShape 4">
            <a:extLst>
              <a:ext uri="{FF2B5EF4-FFF2-40B4-BE49-F238E27FC236}">
                <a16:creationId xmlns="" xmlns:a16="http://schemas.microsoft.com/office/drawing/2014/main" id="{02AC4C03-EC8A-407C-92DE-822949F155A5}"/>
              </a:ext>
            </a:extLst>
          </p:cNvPr>
          <p:cNvSpPr>
            <a:spLocks/>
          </p:cNvSpPr>
          <p:nvPr/>
        </p:nvSpPr>
        <p:spPr bwMode="auto">
          <a:xfrm>
            <a:off x="552305" y="4177311"/>
            <a:ext cx="11087388" cy="155534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16200000" scaled="0"/>
          </a:gradFill>
          <a:ln w="9525">
            <a:gradFill>
              <a:gsLst>
                <a:gs pos="0">
                  <a:srgbClr val="002060">
                    <a:alpha val="0"/>
                  </a:srgbClr>
                </a:gs>
                <a:gs pos="50000">
                  <a:srgbClr val="4F81BD">
                    <a:tint val="44500"/>
                    <a:satMod val="160000"/>
                    <a:alpha val="37000"/>
                  </a:srgb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</a:ln>
        </p:spPr>
        <p:txBody>
          <a:bodyPr wrap="square" anchor="ctr" anchorCtr="1">
            <a:noAutofit/>
          </a:bodyPr>
          <a:lstStyle>
            <a:lvl1pPr defTabSz="2311400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 defTabSz="2311400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 defTabSz="2311400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 defTabSz="2311400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 defTabSz="2311400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2311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2311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2311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2311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fontAlgn="ctr"/>
            <a:endParaRPr lang="en-US" altLang="zh-CN" sz="3199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7F8754D-A659-47A4-88EE-98F7B601B85D}"/>
              </a:ext>
            </a:extLst>
          </p:cNvPr>
          <p:cNvSpPr txBox="1"/>
          <p:nvPr/>
        </p:nvSpPr>
        <p:spPr>
          <a:xfrm>
            <a:off x="541281" y="581063"/>
            <a:ext cx="10827144" cy="4307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pen Digital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latform, Enabl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Applications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41" descr="Picture 11">
            <a:extLst>
              <a:ext uri="{FF2B5EF4-FFF2-40B4-BE49-F238E27FC236}">
                <a16:creationId xmlns="" xmlns:a16="http://schemas.microsoft.com/office/drawing/2014/main" id="{C7DDE6C5-1D9B-42B2-B724-40316024167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720" y="4561119"/>
            <a:ext cx="951270" cy="918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grpSp>
        <p:nvGrpSpPr>
          <p:cNvPr id="30" name="组合 29">
            <a:extLst>
              <a:ext uri="{FF2B5EF4-FFF2-40B4-BE49-F238E27FC236}">
                <a16:creationId xmlns="" xmlns:a16="http://schemas.microsoft.com/office/drawing/2014/main" id="{9679EC15-3EBB-4C89-BABB-3A0E81F706BA}"/>
              </a:ext>
            </a:extLst>
          </p:cNvPr>
          <p:cNvGrpSpPr/>
          <p:nvPr/>
        </p:nvGrpSpPr>
        <p:grpSpPr>
          <a:xfrm>
            <a:off x="2380299" y="4301841"/>
            <a:ext cx="9050985" cy="1306286"/>
            <a:chOff x="2502747" y="4368066"/>
            <a:chExt cx="9053336" cy="1306626"/>
          </a:xfrm>
        </p:grpSpPr>
        <p:sp>
          <p:nvSpPr>
            <p:cNvPr id="6" name="AutoShape 7">
              <a:extLst>
                <a:ext uri="{FF2B5EF4-FFF2-40B4-BE49-F238E27FC236}">
                  <a16:creationId xmlns="" xmlns:a16="http://schemas.microsoft.com/office/drawing/2014/main" id="{48FCD426-750D-49F9-897F-77641EDF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429" y="4368066"/>
              <a:ext cx="7361654" cy="415882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002060">
                      <a:alpha val="0"/>
                    </a:srgbClr>
                  </a:gs>
                  <a:gs pos="50000">
                    <a:srgbClr val="4F81BD">
                      <a:tint val="44500"/>
                      <a:satMod val="160000"/>
                      <a:alpha val="37000"/>
                    </a:srgb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</a:ln>
          </p:spPr>
          <p:txBody>
            <a:bodyPr wrap="square" anchor="ctr" anchorCtr="1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AutoShape 7">
              <a:extLst>
                <a:ext uri="{FF2B5EF4-FFF2-40B4-BE49-F238E27FC236}">
                  <a16:creationId xmlns="" xmlns:a16="http://schemas.microsoft.com/office/drawing/2014/main" id="{88C11A3B-39AF-468A-8F6F-CBFBF45C6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429" y="4813438"/>
              <a:ext cx="7361654" cy="415882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002060">
                      <a:alpha val="0"/>
                    </a:srgbClr>
                  </a:gs>
                  <a:gs pos="50000">
                    <a:srgbClr val="4F81BD">
                      <a:tint val="44500"/>
                      <a:satMod val="160000"/>
                      <a:alpha val="37000"/>
                    </a:srgb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</a:ln>
          </p:spPr>
          <p:txBody>
            <a:bodyPr wrap="square" anchor="ctr" anchorCtr="1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AutoShape 7">
              <a:extLst>
                <a:ext uri="{FF2B5EF4-FFF2-40B4-BE49-F238E27FC236}">
                  <a16:creationId xmlns="" xmlns:a16="http://schemas.microsoft.com/office/drawing/2014/main" id="{49FD25C6-25DA-4FE5-9388-E7690983F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427" y="5258810"/>
              <a:ext cx="7361655" cy="415882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16200000" scaled="0"/>
            </a:gradFill>
            <a:ln w="9525">
              <a:gradFill>
                <a:gsLst>
                  <a:gs pos="0">
                    <a:srgbClr val="002060">
                      <a:alpha val="0"/>
                    </a:srgbClr>
                  </a:gs>
                  <a:gs pos="50000">
                    <a:srgbClr val="4F81BD">
                      <a:tint val="44500"/>
                      <a:satMod val="160000"/>
                      <a:alpha val="37000"/>
                    </a:srgb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</a:ln>
          </p:spPr>
          <p:txBody>
            <a:bodyPr wrap="square" anchor="ctr" anchorCtr="1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Rectangle 18">
              <a:extLst>
                <a:ext uri="{FF2B5EF4-FFF2-40B4-BE49-F238E27FC236}">
                  <a16:creationId xmlns="" xmlns:a16="http://schemas.microsoft.com/office/drawing/2014/main" id="{A2A502A6-E405-4A5F-9E1A-A93A8CC00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028" y="4841415"/>
              <a:ext cx="1016365" cy="350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1770" tIns="21770" rIns="21770" bIns="21770" anchor="ctr">
              <a:noAutofit/>
            </a:bodyPr>
            <a:lstStyle>
              <a:lvl1pPr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defTabSz="1219078" fontAlgn="ctr">
                <a:lnSpc>
                  <a:spcPct val="120000"/>
                </a:lnSpc>
              </a:pPr>
              <a:r>
                <a:rPr lang="en-US" sz="1286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One cloud</a:t>
              </a:r>
              <a:endParaRPr lang="en-US" sz="1286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Rectangle 18">
              <a:extLst>
                <a:ext uri="{FF2B5EF4-FFF2-40B4-BE49-F238E27FC236}">
                  <a16:creationId xmlns="" xmlns:a16="http://schemas.microsoft.com/office/drawing/2014/main" id="{64CE6E20-B781-4F60-B6E7-5F5027031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747" y="5286031"/>
              <a:ext cx="1458931" cy="350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1770" tIns="21770" rIns="21770" bIns="21770" anchor="ctr">
              <a:noAutofit/>
            </a:bodyPr>
            <a:lstStyle>
              <a:lvl1pPr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defTabSz="1219078" fontAlgn="ctr">
                <a:lnSpc>
                  <a:spcPct val="120000"/>
                </a:lnSpc>
              </a:pPr>
              <a:r>
                <a:rPr lang="en-US" sz="1286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Two networks</a:t>
              </a:r>
              <a:endParaRPr lang="en-US" sz="1286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Rectangle 18">
              <a:extLst>
                <a:ext uri="{FF2B5EF4-FFF2-40B4-BE49-F238E27FC236}">
                  <a16:creationId xmlns="" xmlns:a16="http://schemas.microsoft.com/office/drawing/2014/main" id="{4CF2D303-8AEF-4B25-810F-3C7F88929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747" y="4396800"/>
              <a:ext cx="1458931" cy="350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1770" tIns="21770" rIns="21770" bIns="21770" anchor="ctr">
              <a:noAutofit/>
            </a:bodyPr>
            <a:lstStyle>
              <a:lvl1pPr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defTabSz="1219078" fontAlgn="ctr">
                <a:lnSpc>
                  <a:spcPct val="120000"/>
                </a:lnSpc>
              </a:pPr>
              <a:r>
                <a:rPr lang="en-US" sz="1286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Three platforms</a:t>
              </a:r>
              <a:endParaRPr lang="en-US" sz="1286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243" name="组合 242">
              <a:extLst>
                <a:ext uri="{FF2B5EF4-FFF2-40B4-BE49-F238E27FC236}">
                  <a16:creationId xmlns="" xmlns:a16="http://schemas.microsoft.com/office/drawing/2014/main" id="{F8C04C6B-8313-490D-9ED9-B2E3ED85FB29}"/>
                </a:ext>
              </a:extLst>
            </p:cNvPr>
            <p:cNvGrpSpPr/>
            <p:nvPr/>
          </p:nvGrpSpPr>
          <p:grpSpPr>
            <a:xfrm>
              <a:off x="6528205" y="5281116"/>
              <a:ext cx="3276334" cy="355768"/>
              <a:chOff x="5609201" y="5281116"/>
              <a:chExt cx="3276334" cy="355768"/>
            </a:xfrm>
          </p:grpSpPr>
          <p:sp>
            <p:nvSpPr>
              <p:cNvPr id="13" name="Rectangle 18">
                <a:extLst>
                  <a:ext uri="{FF2B5EF4-FFF2-40B4-BE49-F238E27FC236}">
                    <a16:creationId xmlns="" xmlns:a16="http://schemas.microsoft.com/office/drawing/2014/main" id="{B923CEFE-665E-4465-A391-058FA78F3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0446" y="5286031"/>
                <a:ext cx="1898214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21770" tIns="21770" rIns="21770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12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City communication network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" name="Rectangle 18">
                <a:extLst>
                  <a:ext uri="{FF2B5EF4-FFF2-40B4-BE49-F238E27FC236}">
                    <a16:creationId xmlns="" xmlns:a16="http://schemas.microsoft.com/office/drawing/2014/main" id="{A43C066B-0125-46F6-81A4-BF4CF7A8F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0956" y="5286031"/>
                <a:ext cx="624579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21770" tIns="21770" rIns="21770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12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City IoT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15" name="组合 277">
                <a:extLst>
                  <a:ext uri="{FF2B5EF4-FFF2-40B4-BE49-F238E27FC236}">
                    <a16:creationId xmlns="" xmlns:a16="http://schemas.microsoft.com/office/drawing/2014/main" id="{32D4871E-0283-421C-875A-CC3F4FA7A7E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09201" y="5306241"/>
                <a:ext cx="191245" cy="316389"/>
                <a:chOff x="5245100" y="4913313"/>
                <a:chExt cx="201613" cy="323850"/>
              </a:xfrm>
              <a:solidFill>
                <a:schemeClr val="bg1"/>
              </a:solidFill>
            </p:grpSpPr>
            <p:sp>
              <p:nvSpPr>
                <p:cNvPr id="16" name="Freeform 440">
                  <a:extLst>
                    <a:ext uri="{FF2B5EF4-FFF2-40B4-BE49-F238E27FC236}">
                      <a16:creationId xmlns="" xmlns:a16="http://schemas.microsoft.com/office/drawing/2014/main" id="{8F506CEB-6051-4DA4-B7AF-278D236BE6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72088" y="4967288"/>
                  <a:ext cx="150813" cy="269875"/>
                </a:xfrm>
                <a:custGeom>
                  <a:avLst/>
                  <a:gdLst/>
                  <a:ahLst/>
                  <a:cxnLst>
                    <a:cxn ang="0">
                      <a:pos x="25" y="10"/>
                    </a:cxn>
                    <a:cxn ang="0">
                      <a:pos x="28" y="6"/>
                    </a:cxn>
                    <a:cxn ang="0">
                      <a:pos x="22" y="0"/>
                    </a:cxn>
                    <a:cxn ang="0">
                      <a:pos x="16" y="6"/>
                    </a:cxn>
                    <a:cxn ang="0">
                      <a:pos x="19" y="10"/>
                    </a:cxn>
                    <a:cxn ang="0">
                      <a:pos x="0" y="77"/>
                    </a:cxn>
                    <a:cxn ang="0">
                      <a:pos x="1" y="80"/>
                    </a:cxn>
                    <a:cxn ang="0">
                      <a:pos x="4" y="79"/>
                    </a:cxn>
                    <a:cxn ang="0">
                      <a:pos x="7" y="68"/>
                    </a:cxn>
                    <a:cxn ang="0">
                      <a:pos x="38" y="68"/>
                    </a:cxn>
                    <a:cxn ang="0">
                      <a:pos x="41" y="79"/>
                    </a:cxn>
                    <a:cxn ang="0">
                      <a:pos x="43" y="80"/>
                    </a:cxn>
                    <a:cxn ang="0">
                      <a:pos x="43" y="80"/>
                    </a:cxn>
                    <a:cxn ang="0">
                      <a:pos x="44" y="77"/>
                    </a:cxn>
                    <a:cxn ang="0">
                      <a:pos x="25" y="10"/>
                    </a:cxn>
                    <a:cxn ang="0">
                      <a:pos x="14" y="44"/>
                    </a:cxn>
                    <a:cxn ang="0">
                      <a:pos x="31" y="44"/>
                    </a:cxn>
                    <a:cxn ang="0">
                      <a:pos x="33" y="52"/>
                    </a:cxn>
                    <a:cxn ang="0">
                      <a:pos x="11" y="52"/>
                    </a:cxn>
                    <a:cxn ang="0">
                      <a:pos x="14" y="44"/>
                    </a:cxn>
                    <a:cxn ang="0">
                      <a:pos x="17" y="32"/>
                    </a:cxn>
                    <a:cxn ang="0">
                      <a:pos x="27" y="32"/>
                    </a:cxn>
                    <a:cxn ang="0">
                      <a:pos x="30" y="40"/>
                    </a:cxn>
                    <a:cxn ang="0">
                      <a:pos x="15" y="40"/>
                    </a:cxn>
                    <a:cxn ang="0">
                      <a:pos x="17" y="32"/>
                    </a:cxn>
                    <a:cxn ang="0">
                      <a:pos x="18" y="28"/>
                    </a:cxn>
                    <a:cxn ang="0">
                      <a:pos x="22" y="13"/>
                    </a:cxn>
                    <a:cxn ang="0">
                      <a:pos x="26" y="28"/>
                    </a:cxn>
                    <a:cxn ang="0">
                      <a:pos x="18" y="28"/>
                    </a:cxn>
                    <a:cxn ang="0">
                      <a:pos x="8" y="64"/>
                    </a:cxn>
                    <a:cxn ang="0">
                      <a:pos x="10" y="56"/>
                    </a:cxn>
                    <a:cxn ang="0">
                      <a:pos x="34" y="56"/>
                    </a:cxn>
                    <a:cxn ang="0">
                      <a:pos x="34" y="56"/>
                    </a:cxn>
                    <a:cxn ang="0">
                      <a:pos x="37" y="64"/>
                    </a:cxn>
                    <a:cxn ang="0">
                      <a:pos x="8" y="64"/>
                    </a:cxn>
                  </a:cxnLst>
                  <a:rect l="0" t="0" r="r" b="b"/>
                  <a:pathLst>
                    <a:path w="45" h="80">
                      <a:moveTo>
                        <a:pt x="25" y="10"/>
                      </a:moveTo>
                      <a:cubicBezTo>
                        <a:pt x="27" y="9"/>
                        <a:pt x="28" y="8"/>
                        <a:pt x="28" y="6"/>
                      </a:cubicBezTo>
                      <a:cubicBezTo>
                        <a:pt x="28" y="3"/>
                        <a:pt x="25" y="0"/>
                        <a:pt x="22" y="0"/>
                      </a:cubicBezTo>
                      <a:cubicBezTo>
                        <a:pt x="19" y="0"/>
                        <a:pt x="16" y="3"/>
                        <a:pt x="16" y="6"/>
                      </a:cubicBezTo>
                      <a:cubicBezTo>
                        <a:pt x="16" y="8"/>
                        <a:pt x="17" y="9"/>
                        <a:pt x="19" y="10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9"/>
                        <a:pt x="0" y="80"/>
                        <a:pt x="1" y="80"/>
                      </a:cubicBezTo>
                      <a:cubicBezTo>
                        <a:pt x="2" y="80"/>
                        <a:pt x="3" y="80"/>
                        <a:pt x="4" y="79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41" y="79"/>
                        <a:pt x="41" y="79"/>
                        <a:pt x="41" y="79"/>
                      </a:cubicBezTo>
                      <a:cubicBezTo>
                        <a:pt x="41" y="79"/>
                        <a:pt x="42" y="80"/>
                        <a:pt x="43" y="80"/>
                      </a:cubicBezTo>
                      <a:cubicBezTo>
                        <a:pt x="43" y="80"/>
                        <a:pt x="43" y="80"/>
                        <a:pt x="43" y="80"/>
                      </a:cubicBezTo>
                      <a:cubicBezTo>
                        <a:pt x="44" y="80"/>
                        <a:pt x="45" y="79"/>
                        <a:pt x="44" y="77"/>
                      </a:cubicBezTo>
                      <a:lnTo>
                        <a:pt x="25" y="10"/>
                      </a:lnTo>
                      <a:close/>
                      <a:moveTo>
                        <a:pt x="14" y="44"/>
                      </a:moveTo>
                      <a:cubicBezTo>
                        <a:pt x="31" y="44"/>
                        <a:pt x="31" y="44"/>
                        <a:pt x="31" y="44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11" y="52"/>
                        <a:pt x="11" y="52"/>
                        <a:pt x="11" y="52"/>
                      </a:cubicBezTo>
                      <a:lnTo>
                        <a:pt x="14" y="44"/>
                      </a:lnTo>
                      <a:close/>
                      <a:moveTo>
                        <a:pt x="17" y="32"/>
                      </a:move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30" y="40"/>
                        <a:pt x="30" y="40"/>
                        <a:pt x="30" y="40"/>
                      </a:cubicBezTo>
                      <a:cubicBezTo>
                        <a:pt x="15" y="40"/>
                        <a:pt x="15" y="40"/>
                        <a:pt x="15" y="40"/>
                      </a:cubicBezTo>
                      <a:lnTo>
                        <a:pt x="17" y="32"/>
                      </a:lnTo>
                      <a:close/>
                      <a:moveTo>
                        <a:pt x="18" y="28"/>
                      </a:move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6" y="28"/>
                        <a:pt x="26" y="28"/>
                        <a:pt x="26" y="28"/>
                      </a:cubicBezTo>
                      <a:lnTo>
                        <a:pt x="18" y="28"/>
                      </a:lnTo>
                      <a:close/>
                      <a:moveTo>
                        <a:pt x="8" y="64"/>
                      </a:move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34" y="56"/>
                        <a:pt x="34" y="56"/>
                        <a:pt x="34" y="56"/>
                      </a:cubicBezTo>
                      <a:cubicBezTo>
                        <a:pt x="34" y="56"/>
                        <a:pt x="34" y="56"/>
                        <a:pt x="34" y="56"/>
                      </a:cubicBezTo>
                      <a:cubicBezTo>
                        <a:pt x="37" y="64"/>
                        <a:pt x="37" y="64"/>
                        <a:pt x="37" y="64"/>
                      </a:cubicBezTo>
                      <a:lnTo>
                        <a:pt x="8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defTabSz="1219078" fontAlgn="ctr">
                    <a:defRPr/>
                  </a:pPr>
                  <a:endParaRPr lang="en-US" altLang="zh-CN" sz="572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" name="Freeform 441">
                  <a:extLst>
                    <a:ext uri="{FF2B5EF4-FFF2-40B4-BE49-F238E27FC236}">
                      <a16:creationId xmlns="" xmlns:a16="http://schemas.microsoft.com/office/drawing/2014/main" id="{807075C2-650D-4639-8160-D4BFA67D99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0038" y="4940300"/>
                  <a:ext cx="30163" cy="95250"/>
                </a:xfrm>
                <a:custGeom>
                  <a:avLst/>
                  <a:gdLst/>
                  <a:ahLst/>
                  <a:cxnLst>
                    <a:cxn ang="0">
                      <a:pos x="1" y="27"/>
                    </a:cxn>
                    <a:cxn ang="0">
                      <a:pos x="2" y="28"/>
                    </a:cxn>
                    <a:cxn ang="0">
                      <a:pos x="3" y="27"/>
                    </a:cxn>
                    <a:cxn ang="0">
                      <a:pos x="9" y="14"/>
                    </a:cxn>
                    <a:cxn ang="0">
                      <a:pos x="4" y="0"/>
                    </a:cxn>
                    <a:cxn ang="0">
                      <a:pos x="1" y="0"/>
                    </a:cxn>
                    <a:cxn ang="0">
                      <a:pos x="1" y="3"/>
                    </a:cxn>
                    <a:cxn ang="0">
                      <a:pos x="5" y="14"/>
                    </a:cxn>
                    <a:cxn ang="0">
                      <a:pos x="1" y="24"/>
                    </a:cxn>
                    <a:cxn ang="0">
                      <a:pos x="1" y="27"/>
                    </a:cxn>
                  </a:cxnLst>
                  <a:rect l="0" t="0" r="r" b="b"/>
                  <a:pathLst>
                    <a:path w="9" h="28">
                      <a:moveTo>
                        <a:pt x="1" y="27"/>
                      </a:moveTo>
                      <a:cubicBezTo>
                        <a:pt x="1" y="28"/>
                        <a:pt x="1" y="28"/>
                        <a:pt x="2" y="28"/>
                      </a:cubicBezTo>
                      <a:cubicBezTo>
                        <a:pt x="2" y="28"/>
                        <a:pt x="3" y="28"/>
                        <a:pt x="3" y="27"/>
                      </a:cubicBezTo>
                      <a:cubicBezTo>
                        <a:pt x="7" y="24"/>
                        <a:pt x="9" y="19"/>
                        <a:pt x="9" y="14"/>
                      </a:cubicBezTo>
                      <a:cubicBezTo>
                        <a:pt x="9" y="9"/>
                        <a:pt x="7" y="4"/>
                        <a:pt x="4" y="0"/>
                      </a:cubicBezTo>
                      <a:cubicBezTo>
                        <a:pt x="3" y="0"/>
                        <a:pt x="1" y="0"/>
                        <a:pt x="1" y="0"/>
                      </a:cubicBezTo>
                      <a:cubicBezTo>
                        <a:pt x="0" y="1"/>
                        <a:pt x="0" y="2"/>
                        <a:pt x="1" y="3"/>
                      </a:cubicBezTo>
                      <a:cubicBezTo>
                        <a:pt x="3" y="6"/>
                        <a:pt x="5" y="10"/>
                        <a:pt x="5" y="14"/>
                      </a:cubicBezTo>
                      <a:cubicBezTo>
                        <a:pt x="5" y="18"/>
                        <a:pt x="3" y="21"/>
                        <a:pt x="1" y="24"/>
                      </a:cubicBezTo>
                      <a:cubicBezTo>
                        <a:pt x="0" y="25"/>
                        <a:pt x="0" y="26"/>
                        <a:pt x="1" y="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defTabSz="1219078" fontAlgn="ctr">
                    <a:defRPr/>
                  </a:pPr>
                  <a:endParaRPr lang="en-US" altLang="zh-CN" sz="572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" name="Freeform 442">
                  <a:extLst>
                    <a:ext uri="{FF2B5EF4-FFF2-40B4-BE49-F238E27FC236}">
                      <a16:creationId xmlns="" xmlns:a16="http://schemas.microsoft.com/office/drawing/2014/main" id="{26D46FBD-5877-42DF-8738-979D805D8A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1613" y="4940300"/>
                  <a:ext cx="30163" cy="95250"/>
                </a:xfrm>
                <a:custGeom>
                  <a:avLst/>
                  <a:gdLst/>
                  <a:ahLst/>
                  <a:cxnLst>
                    <a:cxn ang="0">
                      <a:pos x="6" y="27"/>
                    </a:cxn>
                    <a:cxn ang="0">
                      <a:pos x="7" y="28"/>
                    </a:cxn>
                    <a:cxn ang="0">
                      <a:pos x="8" y="27"/>
                    </a:cxn>
                    <a:cxn ang="0">
                      <a:pos x="8" y="24"/>
                    </a:cxn>
                    <a:cxn ang="0">
                      <a:pos x="4" y="14"/>
                    </a:cxn>
                    <a:cxn ang="0">
                      <a:pos x="8" y="3"/>
                    </a:cxn>
                    <a:cxn ang="0">
                      <a:pos x="8" y="0"/>
                    </a:cxn>
                    <a:cxn ang="0">
                      <a:pos x="5" y="0"/>
                    </a:cxn>
                    <a:cxn ang="0">
                      <a:pos x="0" y="14"/>
                    </a:cxn>
                    <a:cxn ang="0">
                      <a:pos x="6" y="27"/>
                    </a:cxn>
                  </a:cxnLst>
                  <a:rect l="0" t="0" r="r" b="b"/>
                  <a:pathLst>
                    <a:path w="9" h="28">
                      <a:moveTo>
                        <a:pt x="6" y="27"/>
                      </a:moveTo>
                      <a:cubicBezTo>
                        <a:pt x="6" y="28"/>
                        <a:pt x="7" y="28"/>
                        <a:pt x="7" y="28"/>
                      </a:cubicBezTo>
                      <a:cubicBezTo>
                        <a:pt x="8" y="28"/>
                        <a:pt x="8" y="28"/>
                        <a:pt x="8" y="27"/>
                      </a:cubicBezTo>
                      <a:cubicBezTo>
                        <a:pt x="9" y="26"/>
                        <a:pt x="9" y="25"/>
                        <a:pt x="8" y="24"/>
                      </a:cubicBezTo>
                      <a:cubicBezTo>
                        <a:pt x="6" y="21"/>
                        <a:pt x="4" y="18"/>
                        <a:pt x="4" y="14"/>
                      </a:cubicBezTo>
                      <a:cubicBezTo>
                        <a:pt x="4" y="10"/>
                        <a:pt x="6" y="6"/>
                        <a:pt x="8" y="3"/>
                      </a:cubicBezTo>
                      <a:cubicBezTo>
                        <a:pt x="9" y="2"/>
                        <a:pt x="9" y="1"/>
                        <a:pt x="8" y="0"/>
                      </a:cubicBezTo>
                      <a:cubicBezTo>
                        <a:pt x="8" y="0"/>
                        <a:pt x="6" y="0"/>
                        <a:pt x="5" y="0"/>
                      </a:cubicBezTo>
                      <a:cubicBezTo>
                        <a:pt x="2" y="4"/>
                        <a:pt x="0" y="9"/>
                        <a:pt x="0" y="14"/>
                      </a:cubicBezTo>
                      <a:cubicBezTo>
                        <a:pt x="0" y="19"/>
                        <a:pt x="2" y="24"/>
                        <a:pt x="6" y="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defTabSz="1219078" fontAlgn="ctr">
                    <a:defRPr/>
                  </a:pPr>
                  <a:endParaRPr lang="en-US" altLang="zh-CN" sz="572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" name="Freeform 443">
                  <a:extLst>
                    <a:ext uri="{FF2B5EF4-FFF2-40B4-BE49-F238E27FC236}">
                      <a16:creationId xmlns="" xmlns:a16="http://schemas.microsoft.com/office/drawing/2014/main" id="{E7A4D3CD-1C0E-4777-BBA7-0CD0F12A88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7025" y="4913313"/>
                  <a:ext cx="39688" cy="149225"/>
                </a:xfrm>
                <a:custGeom>
                  <a:avLst/>
                  <a:gdLst/>
                  <a:ahLst/>
                  <a:cxnLst>
                    <a:cxn ang="0">
                      <a:pos x="8" y="22"/>
                    </a:cxn>
                    <a:cxn ang="0">
                      <a:pos x="1" y="40"/>
                    </a:cxn>
                    <a:cxn ang="0">
                      <a:pos x="1" y="43"/>
                    </a:cxn>
                    <a:cxn ang="0">
                      <a:pos x="2" y="44"/>
                    </a:cxn>
                    <a:cxn ang="0">
                      <a:pos x="3" y="43"/>
                    </a:cxn>
                    <a:cxn ang="0">
                      <a:pos x="12" y="22"/>
                    </a:cxn>
                    <a:cxn ang="0">
                      <a:pos x="4" y="0"/>
                    </a:cxn>
                    <a:cxn ang="0">
                      <a:pos x="1" y="0"/>
                    </a:cxn>
                    <a:cxn ang="0">
                      <a:pos x="1" y="3"/>
                    </a:cxn>
                    <a:cxn ang="0">
                      <a:pos x="8" y="22"/>
                    </a:cxn>
                  </a:cxnLst>
                  <a:rect l="0" t="0" r="r" b="b"/>
                  <a:pathLst>
                    <a:path w="12" h="44">
                      <a:moveTo>
                        <a:pt x="8" y="22"/>
                      </a:moveTo>
                      <a:cubicBezTo>
                        <a:pt x="8" y="29"/>
                        <a:pt x="6" y="35"/>
                        <a:pt x="1" y="40"/>
                      </a:cubicBezTo>
                      <a:cubicBezTo>
                        <a:pt x="0" y="41"/>
                        <a:pt x="0" y="42"/>
                        <a:pt x="1" y="43"/>
                      </a:cubicBezTo>
                      <a:cubicBezTo>
                        <a:pt x="1" y="44"/>
                        <a:pt x="1" y="44"/>
                        <a:pt x="2" y="44"/>
                      </a:cubicBezTo>
                      <a:cubicBezTo>
                        <a:pt x="2" y="44"/>
                        <a:pt x="3" y="44"/>
                        <a:pt x="3" y="43"/>
                      </a:cubicBezTo>
                      <a:cubicBezTo>
                        <a:pt x="9" y="37"/>
                        <a:pt x="12" y="30"/>
                        <a:pt x="12" y="22"/>
                      </a:cubicBezTo>
                      <a:cubicBezTo>
                        <a:pt x="12" y="14"/>
                        <a:pt x="9" y="6"/>
                        <a:pt x="4" y="0"/>
                      </a:cubicBezTo>
                      <a:cubicBezTo>
                        <a:pt x="3" y="0"/>
                        <a:pt x="1" y="0"/>
                        <a:pt x="1" y="0"/>
                      </a:cubicBezTo>
                      <a:cubicBezTo>
                        <a:pt x="0" y="1"/>
                        <a:pt x="0" y="2"/>
                        <a:pt x="1" y="3"/>
                      </a:cubicBezTo>
                      <a:cubicBezTo>
                        <a:pt x="6" y="8"/>
                        <a:pt x="8" y="15"/>
                        <a:pt x="8" y="2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defTabSz="1219078" fontAlgn="ctr">
                    <a:defRPr/>
                  </a:pPr>
                  <a:endParaRPr lang="en-US" altLang="zh-CN" sz="572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" name="Freeform 444">
                  <a:extLst>
                    <a:ext uri="{FF2B5EF4-FFF2-40B4-BE49-F238E27FC236}">
                      <a16:creationId xmlns="" xmlns:a16="http://schemas.microsoft.com/office/drawing/2014/main" id="{68EC7052-88D4-4D47-BB2D-EFDA121337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5100" y="4913313"/>
                  <a:ext cx="39688" cy="149225"/>
                </a:xfrm>
                <a:custGeom>
                  <a:avLst/>
                  <a:gdLst/>
                  <a:ahLst/>
                  <a:cxnLst>
                    <a:cxn ang="0">
                      <a:pos x="10" y="44"/>
                    </a:cxn>
                    <a:cxn ang="0">
                      <a:pos x="11" y="43"/>
                    </a:cxn>
                    <a:cxn ang="0">
                      <a:pos x="11" y="40"/>
                    </a:cxn>
                    <a:cxn ang="0">
                      <a:pos x="4" y="22"/>
                    </a:cxn>
                    <a:cxn ang="0">
                      <a:pos x="11" y="3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0" y="22"/>
                    </a:cxn>
                    <a:cxn ang="0">
                      <a:pos x="9" y="43"/>
                    </a:cxn>
                    <a:cxn ang="0">
                      <a:pos x="10" y="44"/>
                    </a:cxn>
                  </a:cxnLst>
                  <a:rect l="0" t="0" r="r" b="b"/>
                  <a:pathLst>
                    <a:path w="12" h="44">
                      <a:moveTo>
                        <a:pt x="10" y="44"/>
                      </a:moveTo>
                      <a:cubicBezTo>
                        <a:pt x="11" y="44"/>
                        <a:pt x="11" y="44"/>
                        <a:pt x="11" y="43"/>
                      </a:cubicBezTo>
                      <a:cubicBezTo>
                        <a:pt x="12" y="42"/>
                        <a:pt x="12" y="41"/>
                        <a:pt x="11" y="40"/>
                      </a:cubicBezTo>
                      <a:cubicBezTo>
                        <a:pt x="6" y="35"/>
                        <a:pt x="4" y="29"/>
                        <a:pt x="4" y="22"/>
                      </a:cubicBezTo>
                      <a:cubicBezTo>
                        <a:pt x="4" y="15"/>
                        <a:pt x="6" y="8"/>
                        <a:pt x="11" y="3"/>
                      </a:cubicBezTo>
                      <a:cubicBezTo>
                        <a:pt x="12" y="2"/>
                        <a:pt x="12" y="1"/>
                        <a:pt x="11" y="0"/>
                      </a:cubicBezTo>
                      <a:cubicBezTo>
                        <a:pt x="11" y="0"/>
                        <a:pt x="9" y="0"/>
                        <a:pt x="9" y="0"/>
                      </a:cubicBezTo>
                      <a:cubicBezTo>
                        <a:pt x="3" y="6"/>
                        <a:pt x="0" y="14"/>
                        <a:pt x="0" y="22"/>
                      </a:cubicBezTo>
                      <a:cubicBezTo>
                        <a:pt x="0" y="30"/>
                        <a:pt x="3" y="37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defTabSz="1219078" fontAlgn="ctr">
                    <a:defRPr/>
                  </a:pPr>
                  <a:endParaRPr lang="en-US" altLang="zh-CN" sz="572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21" name="Freeform 18">
                <a:extLst>
                  <a:ext uri="{FF2B5EF4-FFF2-40B4-BE49-F238E27FC236}">
                    <a16:creationId xmlns="" xmlns:a16="http://schemas.microsoft.com/office/drawing/2014/main" id="{8330B68C-C1EF-4C97-9B44-C3E9491F9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2258" y="5281116"/>
                <a:ext cx="295276" cy="313046"/>
              </a:xfrm>
              <a:custGeom>
                <a:avLst/>
                <a:gdLst>
                  <a:gd name="T0" fmla="*/ 2147483647 w 148"/>
                  <a:gd name="T1" fmla="*/ 2147483647 h 157"/>
                  <a:gd name="T2" fmla="*/ 2147483647 w 148"/>
                  <a:gd name="T3" fmla="*/ 2147483647 h 157"/>
                  <a:gd name="T4" fmla="*/ 2147483647 w 148"/>
                  <a:gd name="T5" fmla="*/ 2147483647 h 157"/>
                  <a:gd name="T6" fmla="*/ 2147483647 w 148"/>
                  <a:gd name="T7" fmla="*/ 2147483647 h 157"/>
                  <a:gd name="T8" fmla="*/ 2147483647 w 148"/>
                  <a:gd name="T9" fmla="*/ 2147483647 h 157"/>
                  <a:gd name="T10" fmla="*/ 2147483647 w 148"/>
                  <a:gd name="T11" fmla="*/ 2147483647 h 157"/>
                  <a:gd name="T12" fmla="*/ 2147483647 w 148"/>
                  <a:gd name="T13" fmla="*/ 2147483647 h 157"/>
                  <a:gd name="T14" fmla="*/ 2147483647 w 148"/>
                  <a:gd name="T15" fmla="*/ 2147483647 h 157"/>
                  <a:gd name="T16" fmla="*/ 2147483647 w 148"/>
                  <a:gd name="T17" fmla="*/ 2147483647 h 157"/>
                  <a:gd name="T18" fmla="*/ 2147483647 w 148"/>
                  <a:gd name="T19" fmla="*/ 2147483647 h 157"/>
                  <a:gd name="T20" fmla="*/ 2147483647 w 148"/>
                  <a:gd name="T21" fmla="*/ 2147483647 h 157"/>
                  <a:gd name="T22" fmla="*/ 2147483647 w 148"/>
                  <a:gd name="T23" fmla="*/ 2147483647 h 157"/>
                  <a:gd name="T24" fmla="*/ 2147483647 w 148"/>
                  <a:gd name="T25" fmla="*/ 2147483647 h 157"/>
                  <a:gd name="T26" fmla="*/ 2147483647 w 148"/>
                  <a:gd name="T27" fmla="*/ 2147483647 h 157"/>
                  <a:gd name="T28" fmla="*/ 2147483647 w 148"/>
                  <a:gd name="T29" fmla="*/ 2147483647 h 157"/>
                  <a:gd name="T30" fmla="*/ 2147483647 w 148"/>
                  <a:gd name="T31" fmla="*/ 0 h 157"/>
                  <a:gd name="T32" fmla="*/ 2147483647 w 148"/>
                  <a:gd name="T33" fmla="*/ 2147483647 h 157"/>
                  <a:gd name="T34" fmla="*/ 2147483647 w 148"/>
                  <a:gd name="T35" fmla="*/ 2147483647 h 157"/>
                  <a:gd name="T36" fmla="*/ 2147483647 w 148"/>
                  <a:gd name="T37" fmla="*/ 2147483647 h 157"/>
                  <a:gd name="T38" fmla="*/ 2147483647 w 148"/>
                  <a:gd name="T39" fmla="*/ 2147483647 h 157"/>
                  <a:gd name="T40" fmla="*/ 2147483647 w 148"/>
                  <a:gd name="T41" fmla="*/ 2147483647 h 157"/>
                  <a:gd name="T42" fmla="*/ 2147483647 w 148"/>
                  <a:gd name="T43" fmla="*/ 2147483647 h 157"/>
                  <a:gd name="T44" fmla="*/ 2147483647 w 148"/>
                  <a:gd name="T45" fmla="*/ 2147483647 h 157"/>
                  <a:gd name="T46" fmla="*/ 0 w 148"/>
                  <a:gd name="T47" fmla="*/ 2147483647 h 157"/>
                  <a:gd name="T48" fmla="*/ 2147483647 w 148"/>
                  <a:gd name="T49" fmla="*/ 2147483647 h 157"/>
                  <a:gd name="T50" fmla="*/ 2147483647 w 148"/>
                  <a:gd name="T51" fmla="*/ 2147483647 h 157"/>
                  <a:gd name="T52" fmla="*/ 2147483647 w 148"/>
                  <a:gd name="T53" fmla="*/ 2147483647 h 157"/>
                  <a:gd name="T54" fmla="*/ 2147483647 w 148"/>
                  <a:gd name="T55" fmla="*/ 2147483647 h 157"/>
                  <a:gd name="T56" fmla="*/ 2147483647 w 148"/>
                  <a:gd name="T57" fmla="*/ 2147483647 h 157"/>
                  <a:gd name="T58" fmla="*/ 2147483647 w 148"/>
                  <a:gd name="T59" fmla="*/ 2147483647 h 157"/>
                  <a:gd name="T60" fmla="*/ 2147483647 w 148"/>
                  <a:gd name="T61" fmla="*/ 2147483647 h 157"/>
                  <a:gd name="T62" fmla="*/ 0 w 148"/>
                  <a:gd name="T63" fmla="*/ 2147483647 h 157"/>
                  <a:gd name="T64" fmla="*/ 2147483647 w 148"/>
                  <a:gd name="T65" fmla="*/ 2147483647 h 157"/>
                  <a:gd name="T66" fmla="*/ 2147483647 w 148"/>
                  <a:gd name="T67" fmla="*/ 2147483647 h 157"/>
                  <a:gd name="T68" fmla="*/ 2147483647 w 148"/>
                  <a:gd name="T69" fmla="*/ 2147483647 h 157"/>
                  <a:gd name="T70" fmla="*/ 2147483647 w 148"/>
                  <a:gd name="T71" fmla="*/ 2147483647 h 157"/>
                  <a:gd name="T72" fmla="*/ 2147483647 w 148"/>
                  <a:gd name="T73" fmla="*/ 2147483647 h 157"/>
                  <a:gd name="T74" fmla="*/ 2147483647 w 148"/>
                  <a:gd name="T75" fmla="*/ 2147483647 h 157"/>
                  <a:gd name="T76" fmla="*/ 2147483647 w 148"/>
                  <a:gd name="T77" fmla="*/ 2147483647 h 157"/>
                  <a:gd name="T78" fmla="*/ 2147483647 w 148"/>
                  <a:gd name="T79" fmla="*/ 2147483647 h 157"/>
                  <a:gd name="T80" fmla="*/ 2147483647 w 148"/>
                  <a:gd name="T81" fmla="*/ 2147483647 h 157"/>
                  <a:gd name="T82" fmla="*/ 2147483647 w 148"/>
                  <a:gd name="T83" fmla="*/ 2147483647 h 157"/>
                  <a:gd name="T84" fmla="*/ 2147483647 w 148"/>
                  <a:gd name="T85" fmla="*/ 2147483647 h 157"/>
                  <a:gd name="T86" fmla="*/ 2147483647 w 148"/>
                  <a:gd name="T87" fmla="*/ 2147483647 h 157"/>
                  <a:gd name="T88" fmla="*/ 2147483647 w 148"/>
                  <a:gd name="T89" fmla="*/ 2147483647 h 157"/>
                  <a:gd name="T90" fmla="*/ 2147483647 w 148"/>
                  <a:gd name="T91" fmla="*/ 2147483647 h 157"/>
                  <a:gd name="T92" fmla="*/ 2147483647 w 148"/>
                  <a:gd name="T93" fmla="*/ 2147483647 h 157"/>
                  <a:gd name="T94" fmla="*/ 2147483647 w 148"/>
                  <a:gd name="T95" fmla="*/ 2147483647 h 157"/>
                  <a:gd name="T96" fmla="*/ 2147483647 w 148"/>
                  <a:gd name="T97" fmla="*/ 2147483647 h 1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48"/>
                  <a:gd name="T148" fmla="*/ 0 h 157"/>
                  <a:gd name="T149" fmla="*/ 148 w 148"/>
                  <a:gd name="T150" fmla="*/ 157 h 15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48" h="157">
                    <a:moveTo>
                      <a:pt x="132" y="124"/>
                    </a:moveTo>
                    <a:cubicBezTo>
                      <a:pt x="129" y="124"/>
                      <a:pt x="126" y="124"/>
                      <a:pt x="124" y="126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90" y="88"/>
                      <a:pt x="91" y="85"/>
                      <a:pt x="91" y="82"/>
                    </a:cubicBezTo>
                    <a:cubicBezTo>
                      <a:pt x="91" y="82"/>
                      <a:pt x="91" y="81"/>
                      <a:pt x="91" y="80"/>
                    </a:cubicBezTo>
                    <a:cubicBezTo>
                      <a:pt x="119" y="68"/>
                      <a:pt x="119" y="68"/>
                      <a:pt x="119" y="68"/>
                    </a:cubicBezTo>
                    <a:cubicBezTo>
                      <a:pt x="122" y="72"/>
                      <a:pt x="127" y="74"/>
                      <a:pt x="132" y="74"/>
                    </a:cubicBezTo>
                    <a:cubicBezTo>
                      <a:pt x="141" y="74"/>
                      <a:pt x="148" y="67"/>
                      <a:pt x="148" y="58"/>
                    </a:cubicBezTo>
                    <a:cubicBezTo>
                      <a:pt x="148" y="49"/>
                      <a:pt x="141" y="41"/>
                      <a:pt x="132" y="41"/>
                    </a:cubicBezTo>
                    <a:cubicBezTo>
                      <a:pt x="123" y="41"/>
                      <a:pt x="115" y="49"/>
                      <a:pt x="115" y="58"/>
                    </a:cubicBezTo>
                    <a:cubicBezTo>
                      <a:pt x="115" y="59"/>
                      <a:pt x="116" y="59"/>
                      <a:pt x="116" y="60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85" y="70"/>
                      <a:pt x="82" y="67"/>
                      <a:pt x="78" y="66"/>
                    </a:cubicBezTo>
                    <a:cubicBezTo>
                      <a:pt x="78" y="32"/>
                      <a:pt x="78" y="32"/>
                      <a:pt x="78" y="32"/>
                    </a:cubicBezTo>
                    <a:cubicBezTo>
                      <a:pt x="85" y="31"/>
                      <a:pt x="91" y="24"/>
                      <a:pt x="91" y="16"/>
                    </a:cubicBezTo>
                    <a:cubicBezTo>
                      <a:pt x="91" y="7"/>
                      <a:pt x="83" y="0"/>
                      <a:pt x="74" y="0"/>
                    </a:cubicBezTo>
                    <a:cubicBezTo>
                      <a:pt x="65" y="0"/>
                      <a:pt x="58" y="7"/>
                      <a:pt x="58" y="16"/>
                    </a:cubicBezTo>
                    <a:cubicBezTo>
                      <a:pt x="58" y="24"/>
                      <a:pt x="63" y="31"/>
                      <a:pt x="70" y="32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67" y="67"/>
                      <a:pt x="64" y="70"/>
                      <a:pt x="61" y="72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33" y="59"/>
                      <a:pt x="33" y="59"/>
                      <a:pt x="33" y="58"/>
                    </a:cubicBezTo>
                    <a:cubicBezTo>
                      <a:pt x="33" y="49"/>
                      <a:pt x="26" y="41"/>
                      <a:pt x="17" y="41"/>
                    </a:cubicBezTo>
                    <a:cubicBezTo>
                      <a:pt x="8" y="41"/>
                      <a:pt x="0" y="49"/>
                      <a:pt x="0" y="58"/>
                    </a:cubicBezTo>
                    <a:cubicBezTo>
                      <a:pt x="0" y="67"/>
                      <a:pt x="8" y="74"/>
                      <a:pt x="17" y="74"/>
                    </a:cubicBezTo>
                    <a:cubicBezTo>
                      <a:pt x="22" y="74"/>
                      <a:pt x="27" y="72"/>
                      <a:pt x="30" y="68"/>
                    </a:cubicBezTo>
                    <a:cubicBezTo>
                      <a:pt x="58" y="80"/>
                      <a:pt x="58" y="80"/>
                      <a:pt x="58" y="80"/>
                    </a:cubicBezTo>
                    <a:cubicBezTo>
                      <a:pt x="58" y="81"/>
                      <a:pt x="58" y="82"/>
                      <a:pt x="58" y="82"/>
                    </a:cubicBezTo>
                    <a:cubicBezTo>
                      <a:pt x="58" y="85"/>
                      <a:pt x="59" y="88"/>
                      <a:pt x="60" y="91"/>
                    </a:cubicBezTo>
                    <a:cubicBezTo>
                      <a:pt x="25" y="126"/>
                      <a:pt x="25" y="126"/>
                      <a:pt x="25" y="126"/>
                    </a:cubicBezTo>
                    <a:cubicBezTo>
                      <a:pt x="23" y="124"/>
                      <a:pt x="20" y="124"/>
                      <a:pt x="17" y="124"/>
                    </a:cubicBezTo>
                    <a:cubicBezTo>
                      <a:pt x="8" y="124"/>
                      <a:pt x="0" y="131"/>
                      <a:pt x="0" y="140"/>
                    </a:cubicBezTo>
                    <a:cubicBezTo>
                      <a:pt x="0" y="149"/>
                      <a:pt x="8" y="157"/>
                      <a:pt x="17" y="157"/>
                    </a:cubicBezTo>
                    <a:cubicBezTo>
                      <a:pt x="26" y="157"/>
                      <a:pt x="33" y="149"/>
                      <a:pt x="33" y="140"/>
                    </a:cubicBezTo>
                    <a:cubicBezTo>
                      <a:pt x="33" y="137"/>
                      <a:pt x="32" y="134"/>
                      <a:pt x="31" y="132"/>
                    </a:cubicBezTo>
                    <a:cubicBezTo>
                      <a:pt x="66" y="97"/>
                      <a:pt x="66" y="97"/>
                      <a:pt x="66" y="97"/>
                    </a:cubicBezTo>
                    <a:cubicBezTo>
                      <a:pt x="67" y="97"/>
                      <a:pt x="69" y="98"/>
                      <a:pt x="70" y="98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63" y="118"/>
                      <a:pt x="58" y="124"/>
                      <a:pt x="58" y="132"/>
                    </a:cubicBezTo>
                    <a:cubicBezTo>
                      <a:pt x="58" y="141"/>
                      <a:pt x="65" y="148"/>
                      <a:pt x="74" y="148"/>
                    </a:cubicBezTo>
                    <a:cubicBezTo>
                      <a:pt x="83" y="148"/>
                      <a:pt x="91" y="141"/>
                      <a:pt x="91" y="132"/>
                    </a:cubicBezTo>
                    <a:cubicBezTo>
                      <a:pt x="91" y="124"/>
                      <a:pt x="85" y="118"/>
                      <a:pt x="78" y="116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80" y="98"/>
                      <a:pt x="81" y="97"/>
                      <a:pt x="83" y="97"/>
                    </a:cubicBezTo>
                    <a:cubicBezTo>
                      <a:pt x="118" y="132"/>
                      <a:pt x="118" y="132"/>
                      <a:pt x="118" y="132"/>
                    </a:cubicBezTo>
                    <a:cubicBezTo>
                      <a:pt x="116" y="134"/>
                      <a:pt x="115" y="137"/>
                      <a:pt x="115" y="140"/>
                    </a:cubicBezTo>
                    <a:cubicBezTo>
                      <a:pt x="115" y="149"/>
                      <a:pt x="123" y="157"/>
                      <a:pt x="132" y="157"/>
                    </a:cubicBezTo>
                    <a:cubicBezTo>
                      <a:pt x="141" y="157"/>
                      <a:pt x="148" y="149"/>
                      <a:pt x="148" y="140"/>
                    </a:cubicBezTo>
                    <a:cubicBezTo>
                      <a:pt x="148" y="131"/>
                      <a:pt x="141" y="124"/>
                      <a:pt x="132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21769" tIns="10884" rIns="21769" bIns="10884">
                <a:noAutofit/>
              </a:bodyPr>
              <a:lstStyle/>
              <a:p>
                <a:pPr defTabSz="1219078" fontAlgn="ctr"/>
                <a:endParaRPr lang="en-US" altLang="zh-CN" sz="572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42" name="组合 241">
              <a:extLst>
                <a:ext uri="{FF2B5EF4-FFF2-40B4-BE49-F238E27FC236}">
                  <a16:creationId xmlns="" xmlns:a16="http://schemas.microsoft.com/office/drawing/2014/main" id="{2A2AF565-AA54-42A5-8E72-28962109B53C}"/>
                </a:ext>
              </a:extLst>
            </p:cNvPr>
            <p:cNvGrpSpPr/>
            <p:nvPr/>
          </p:nvGrpSpPr>
          <p:grpSpPr>
            <a:xfrm>
              <a:off x="7383380" y="4842928"/>
              <a:ext cx="1796580" cy="350853"/>
              <a:chOff x="6583061" y="4842928"/>
              <a:chExt cx="1796580" cy="350853"/>
            </a:xfrm>
          </p:grpSpPr>
          <p:sp>
            <p:nvSpPr>
              <p:cNvPr id="22" name="Rectangle 18">
                <a:extLst>
                  <a:ext uri="{FF2B5EF4-FFF2-40B4-BE49-F238E27FC236}">
                    <a16:creationId xmlns="" xmlns:a16="http://schemas.microsoft.com/office/drawing/2014/main" id="{B66A0DC7-1A96-4B16-99A5-0C8F00CD5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1211" y="4842928"/>
                <a:ext cx="1378430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21770" tIns="21770" rIns="21770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12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Cloud data center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23" name="Picture 9" descr="C:\Users\z00124665\Desktop\未标题-1副本.png">
                <a:extLst>
                  <a:ext uri="{FF2B5EF4-FFF2-40B4-BE49-F238E27FC236}">
                    <a16:creationId xmlns="" xmlns:a16="http://schemas.microsoft.com/office/drawing/2014/main" id="{B0078E0A-0070-4320-BD63-FBD73D2B1D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83061" y="4884894"/>
                <a:ext cx="353122" cy="296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41" name="组合 240">
              <a:extLst>
                <a:ext uri="{FF2B5EF4-FFF2-40B4-BE49-F238E27FC236}">
                  <a16:creationId xmlns="" xmlns:a16="http://schemas.microsoft.com/office/drawing/2014/main" id="{F90953C0-DADC-41BF-B3BB-4A712CEA8763}"/>
                </a:ext>
              </a:extLst>
            </p:cNvPr>
            <p:cNvGrpSpPr/>
            <p:nvPr/>
          </p:nvGrpSpPr>
          <p:grpSpPr>
            <a:xfrm>
              <a:off x="4371484" y="4410033"/>
              <a:ext cx="6959279" cy="358793"/>
              <a:chOff x="3904060" y="4410033"/>
              <a:chExt cx="6959279" cy="358793"/>
            </a:xfrm>
          </p:grpSpPr>
          <p:sp>
            <p:nvSpPr>
              <p:cNvPr id="24" name="Rectangle 18">
                <a:extLst>
                  <a:ext uri="{FF2B5EF4-FFF2-40B4-BE49-F238E27FC236}">
                    <a16:creationId xmlns="" xmlns:a16="http://schemas.microsoft.com/office/drawing/2014/main" id="{F5DDFCAF-A3A4-4124-AFC9-C11DBB774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060" y="4417973"/>
                <a:ext cx="1847929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8572" tIns="21770" rIns="8572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8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Big Data support platform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" name="Rectangle 18">
                <a:extLst>
                  <a:ext uri="{FF2B5EF4-FFF2-40B4-BE49-F238E27FC236}">
                    <a16:creationId xmlns="" xmlns:a16="http://schemas.microsoft.com/office/drawing/2014/main" id="{F7412B4C-335D-493C-9CD1-1E7056AE0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028" y="4410033"/>
                <a:ext cx="2512290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8572" tIns="21770" rIns="8572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8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City operation management platform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6" name="Rectangle 18">
                <a:extLst>
                  <a:ext uri="{FF2B5EF4-FFF2-40B4-BE49-F238E27FC236}">
                    <a16:creationId xmlns="" xmlns:a16="http://schemas.microsoft.com/office/drawing/2014/main" id="{2678D8C5-8040-43A1-AB04-5F0E6065F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0192" y="4410033"/>
                <a:ext cx="1953147" cy="3508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8572" tIns="21770" rIns="8572" bIns="21770" anchor="ctr">
                <a:noAutofit/>
              </a:bodyPr>
              <a:lstStyle>
                <a:lvl1pPr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1pPr>
                <a:lvl2pPr marL="742950" indent="-28575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2pPr>
                <a:lvl3pPr marL="11430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3pPr>
                <a:lvl4pPr marL="16002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4pPr>
                <a:lvl5pPr marL="2057400" indent="-228600"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5pPr>
                <a:lvl6pPr marL="25146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6pPr>
                <a:lvl7pPr marL="29718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7pPr>
                <a:lvl8pPr marL="34290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8pPr>
                <a:lvl9pPr marL="3886200" indent="-228600" defTabSz="820738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rgbClr val="000000"/>
                    </a:solidFill>
                    <a:latin typeface="Helvetica Neue" charset="0"/>
                    <a:ea typeface="Helvetica Neue" charset="0"/>
                    <a:cs typeface="Helvetica Neue" charset="0"/>
                    <a:sym typeface="Helvetica Neue" charset="0"/>
                  </a:defRPr>
                </a:lvl9pPr>
              </a:lstStyle>
              <a:p>
                <a:pPr algn="ctr" defTabSz="1219078" fontAlgn="ctr">
                  <a:lnSpc>
                    <a:spcPct val="80000"/>
                  </a:lnSpc>
                </a:pPr>
                <a:r>
                  <a:rPr lang="en-US" sz="1143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Application support platform</a:t>
                </a:r>
                <a:endParaRPr lang="en-US" sz="1143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225" name="组合 224">
            <a:extLst>
              <a:ext uri="{FF2B5EF4-FFF2-40B4-BE49-F238E27FC236}">
                <a16:creationId xmlns="" xmlns:a16="http://schemas.microsoft.com/office/drawing/2014/main" id="{875985CD-5C9D-458E-817E-D4C6883F46E6}"/>
              </a:ext>
            </a:extLst>
          </p:cNvPr>
          <p:cNvGrpSpPr/>
          <p:nvPr/>
        </p:nvGrpSpPr>
        <p:grpSpPr>
          <a:xfrm>
            <a:off x="1404941" y="1841712"/>
            <a:ext cx="9424982" cy="1448359"/>
            <a:chOff x="1698153" y="1969018"/>
            <a:chExt cx="8995115" cy="1382300"/>
          </a:xfrm>
        </p:grpSpPr>
        <p:sp>
          <p:nvSpPr>
            <p:cNvPr id="79" name="Line 18" descr="直接连接符 65">
              <a:extLst>
                <a:ext uri="{FF2B5EF4-FFF2-40B4-BE49-F238E27FC236}">
                  <a16:creationId xmlns="" xmlns:a16="http://schemas.microsoft.com/office/drawing/2014/main" id="{B6F29D18-E087-4100-B9E2-6659C570EC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21147" y="1998825"/>
              <a:ext cx="1169862" cy="1285349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Line 19" descr="直接连接符 69">
              <a:extLst>
                <a:ext uri="{FF2B5EF4-FFF2-40B4-BE49-F238E27FC236}">
                  <a16:creationId xmlns="" xmlns:a16="http://schemas.microsoft.com/office/drawing/2014/main" id="{4D1BDF59-C86C-46EF-9241-023D9BAB64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18869" y="1998825"/>
              <a:ext cx="1253579" cy="169959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Line 20" descr="直接连接符 78">
              <a:extLst>
                <a:ext uri="{FF2B5EF4-FFF2-40B4-BE49-F238E27FC236}">
                  <a16:creationId xmlns="" xmlns:a16="http://schemas.microsoft.com/office/drawing/2014/main" id="{66A95A3F-2AEF-4C07-A4D3-107F00DB26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19307" y="3284174"/>
              <a:ext cx="1693571" cy="3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Line 21" descr="直接连接符 80">
              <a:extLst>
                <a:ext uri="{FF2B5EF4-FFF2-40B4-BE49-F238E27FC236}">
                  <a16:creationId xmlns="" xmlns:a16="http://schemas.microsoft.com/office/drawing/2014/main" id="{CD5C227C-8E63-4AB5-83C0-6CE4EF77CD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312875" y="1984136"/>
              <a:ext cx="903808" cy="1300038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Line 22" descr="直接连接符 82">
              <a:extLst>
                <a:ext uri="{FF2B5EF4-FFF2-40B4-BE49-F238E27FC236}">
                  <a16:creationId xmlns="" xmlns:a16="http://schemas.microsoft.com/office/drawing/2014/main" id="{EFBBD031-846F-4B57-A416-4AB1449E3E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60865" y="2072640"/>
              <a:ext cx="1855820" cy="96139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Line 23" descr="直接连接符 86">
              <a:extLst>
                <a:ext uri="{FF2B5EF4-FFF2-40B4-BE49-F238E27FC236}">
                  <a16:creationId xmlns="" xmlns:a16="http://schemas.microsoft.com/office/drawing/2014/main" id="{B61DD9B5-137C-466F-8142-58A2A98B04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4452" y="2072640"/>
              <a:ext cx="781981" cy="1169572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Line 24" descr="直接连接符 88">
              <a:extLst>
                <a:ext uri="{FF2B5EF4-FFF2-40B4-BE49-F238E27FC236}">
                  <a16:creationId xmlns="" xmlns:a16="http://schemas.microsoft.com/office/drawing/2014/main" id="{436B0DE2-A349-4363-BDD2-E66A2BED81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57186" y="2183898"/>
              <a:ext cx="942234" cy="1167418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Line 25" descr="直接连接符 90">
              <a:extLst>
                <a:ext uri="{FF2B5EF4-FFF2-40B4-BE49-F238E27FC236}">
                  <a16:creationId xmlns="" xmlns:a16="http://schemas.microsoft.com/office/drawing/2014/main" id="{45A0312D-F104-4650-A23F-9879C64D87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906378" y="1969018"/>
              <a:ext cx="1660885" cy="199761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Line 28" descr="直接连接符 89">
              <a:extLst>
                <a:ext uri="{FF2B5EF4-FFF2-40B4-BE49-F238E27FC236}">
                  <a16:creationId xmlns="" xmlns:a16="http://schemas.microsoft.com/office/drawing/2014/main" id="{9ACE9642-59AA-4F52-8828-CD01EF07B8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64721" y="1984135"/>
              <a:ext cx="2253313" cy="225783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Line 29" descr="直接连接符 96">
              <a:extLst>
                <a:ext uri="{FF2B5EF4-FFF2-40B4-BE49-F238E27FC236}">
                  <a16:creationId xmlns="" xmlns:a16="http://schemas.microsoft.com/office/drawing/2014/main" id="{745CD395-5989-45DC-B40C-66D9C5C629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6400" y="1998826"/>
              <a:ext cx="1436866" cy="1243387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Line 30" descr="直接连接符 99">
              <a:extLst>
                <a:ext uri="{FF2B5EF4-FFF2-40B4-BE49-F238E27FC236}">
                  <a16:creationId xmlns="" xmlns:a16="http://schemas.microsoft.com/office/drawing/2014/main" id="{06F78FDA-4DF8-49D9-B880-EF20E6CC7C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51426" y="3351318"/>
              <a:ext cx="2641842" cy="0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Line 31" descr="直接连接符 101">
              <a:extLst>
                <a:ext uri="{FF2B5EF4-FFF2-40B4-BE49-F238E27FC236}">
                  <a16:creationId xmlns="" xmlns:a16="http://schemas.microsoft.com/office/drawing/2014/main" id="{2B96D65F-A8E5-4E68-92DF-D59555B20E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8153" y="2168780"/>
              <a:ext cx="1245666" cy="1115397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Line 32" descr="直接连接符 110">
              <a:extLst>
                <a:ext uri="{FF2B5EF4-FFF2-40B4-BE49-F238E27FC236}">
                  <a16:creationId xmlns="" xmlns:a16="http://schemas.microsoft.com/office/drawing/2014/main" id="{45965156-D6DB-4B97-9CDC-17A490C598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84821" y="3284174"/>
              <a:ext cx="1745979" cy="67144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Line 33" descr="直接连接符 115">
              <a:extLst>
                <a:ext uri="{FF2B5EF4-FFF2-40B4-BE49-F238E27FC236}">
                  <a16:creationId xmlns="" xmlns:a16="http://schemas.microsoft.com/office/drawing/2014/main" id="{40426E59-9241-4A06-8C1A-FD1A42346C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6175" y="3351318"/>
              <a:ext cx="1779739" cy="0"/>
            </a:xfrm>
            <a:prstGeom prst="line">
              <a:avLst/>
            </a:prstGeom>
            <a:noFill/>
            <a:ln w="9525">
              <a:solidFill>
                <a:srgbClr val="FFC000"/>
              </a:solidFill>
              <a:prstDash val="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45707" tIns="45707" rIns="45707" bIns="45707">
              <a:noAutofit/>
            </a:bodyPr>
            <a:lstStyle/>
            <a:p>
              <a:pPr defTabSz="1219078" fontAlgn="ctr"/>
              <a:endParaRPr lang="en-US" altLang="zh-CN" sz="239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47" name="组合 246">
            <a:extLst>
              <a:ext uri="{FF2B5EF4-FFF2-40B4-BE49-F238E27FC236}">
                <a16:creationId xmlns="" xmlns:a16="http://schemas.microsoft.com/office/drawing/2014/main" id="{433410D1-5587-4774-9B39-41BE1D05BA9C}"/>
              </a:ext>
            </a:extLst>
          </p:cNvPr>
          <p:cNvGrpSpPr/>
          <p:nvPr/>
        </p:nvGrpSpPr>
        <p:grpSpPr>
          <a:xfrm>
            <a:off x="3230239" y="1177767"/>
            <a:ext cx="1392142" cy="1390353"/>
            <a:chOff x="3484012" y="1489629"/>
            <a:chExt cx="1392505" cy="1390715"/>
          </a:xfrm>
        </p:grpSpPr>
        <p:grpSp>
          <p:nvGrpSpPr>
            <p:cNvPr id="95" name="组合 91">
              <a:extLst>
                <a:ext uri="{FF2B5EF4-FFF2-40B4-BE49-F238E27FC236}">
                  <a16:creationId xmlns="" xmlns:a16="http://schemas.microsoft.com/office/drawing/2014/main" id="{B1E9D907-E7E5-4746-9E8A-10910F6FAF7F}"/>
                </a:ext>
              </a:extLst>
            </p:cNvPr>
            <p:cNvGrpSpPr/>
            <p:nvPr/>
          </p:nvGrpSpPr>
          <p:grpSpPr>
            <a:xfrm>
              <a:off x="3484012" y="1489629"/>
              <a:ext cx="1392505" cy="1390715"/>
              <a:chOff x="7489175" y="714361"/>
              <a:chExt cx="1051588" cy="1051587"/>
            </a:xfrm>
          </p:grpSpPr>
          <p:grpSp>
            <p:nvGrpSpPr>
              <p:cNvPr id="96" name="组合 180">
                <a:extLst>
                  <a:ext uri="{FF2B5EF4-FFF2-40B4-BE49-F238E27FC236}">
                    <a16:creationId xmlns="" xmlns:a16="http://schemas.microsoft.com/office/drawing/2014/main" id="{0CEA061B-444A-4A62-B497-0F82F160C883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98" name="组合 181">
                  <a:extLst>
                    <a:ext uri="{FF2B5EF4-FFF2-40B4-BE49-F238E27FC236}">
                      <a16:creationId xmlns="" xmlns:a16="http://schemas.microsoft.com/office/drawing/2014/main" id="{5A73A0B8-5C39-4946-9036-FA2BF5BBBD0C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06" name="Freeform 32">
                    <a:extLst>
                      <a:ext uri="{FF2B5EF4-FFF2-40B4-BE49-F238E27FC236}">
                        <a16:creationId xmlns="" xmlns:a16="http://schemas.microsoft.com/office/drawing/2014/main" id="{C0A5E810-3C9C-4DF5-939D-CC0D239AD05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" name="Freeform 37">
                    <a:extLst>
                      <a:ext uri="{FF2B5EF4-FFF2-40B4-BE49-F238E27FC236}">
                        <a16:creationId xmlns="" xmlns:a16="http://schemas.microsoft.com/office/drawing/2014/main" id="{2FA5812C-4C8E-41D0-A8B2-1CAEB1E60EF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8" name="Freeform 42">
                    <a:extLst>
                      <a:ext uri="{FF2B5EF4-FFF2-40B4-BE49-F238E27FC236}">
                        <a16:creationId xmlns="" xmlns:a16="http://schemas.microsoft.com/office/drawing/2014/main" id="{52079968-AB94-4114-BC8F-282B3852D11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99" name="组合 182">
                  <a:extLst>
                    <a:ext uri="{FF2B5EF4-FFF2-40B4-BE49-F238E27FC236}">
                      <a16:creationId xmlns="" xmlns:a16="http://schemas.microsoft.com/office/drawing/2014/main" id="{AB58E2ED-3C61-4299-8E47-5F1D683DD10A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00" name="Freeform 49">
                    <a:extLst>
                      <a:ext uri="{FF2B5EF4-FFF2-40B4-BE49-F238E27FC236}">
                        <a16:creationId xmlns="" xmlns:a16="http://schemas.microsoft.com/office/drawing/2014/main" id="{14E97625-6F6F-40D0-AFD5-6A5E186DBA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1" name="Freeform 50">
                    <a:extLst>
                      <a:ext uri="{FF2B5EF4-FFF2-40B4-BE49-F238E27FC236}">
                        <a16:creationId xmlns="" xmlns:a16="http://schemas.microsoft.com/office/drawing/2014/main" id="{84CFD2C5-6097-4516-A60E-7ADE73DBA9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Freeform 51">
                    <a:extLst>
                      <a:ext uri="{FF2B5EF4-FFF2-40B4-BE49-F238E27FC236}">
                        <a16:creationId xmlns="" xmlns:a16="http://schemas.microsoft.com/office/drawing/2014/main" id="{0ECF6E6A-5957-4B9F-8B49-EC1A06019A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" name="Freeform 52">
                    <a:extLst>
                      <a:ext uri="{FF2B5EF4-FFF2-40B4-BE49-F238E27FC236}">
                        <a16:creationId xmlns="" xmlns:a16="http://schemas.microsoft.com/office/drawing/2014/main" id="{E59D07BF-FF95-4B74-9FB5-AF0D4A788E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" name="Freeform 53">
                    <a:extLst>
                      <a:ext uri="{FF2B5EF4-FFF2-40B4-BE49-F238E27FC236}">
                        <a16:creationId xmlns="" xmlns:a16="http://schemas.microsoft.com/office/drawing/2014/main" id="{E68ED109-EAAD-42A3-8410-80EBC8F489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" name="Freeform 54">
                    <a:extLst>
                      <a:ext uri="{FF2B5EF4-FFF2-40B4-BE49-F238E27FC236}">
                        <a16:creationId xmlns="" xmlns:a16="http://schemas.microsoft.com/office/drawing/2014/main" id="{ACDB3FE9-B7E3-46FA-87DC-30175017F0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97" name="椭圆 93">
                <a:extLst>
                  <a:ext uri="{FF2B5EF4-FFF2-40B4-BE49-F238E27FC236}">
                    <a16:creationId xmlns="" xmlns:a16="http://schemas.microsoft.com/office/drawing/2014/main" id="{238AB351-46E0-4B57-BF33-72CAD0FDA29D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1" name="Picture 10" descr="图片 45">
              <a:extLst>
                <a:ext uri="{FF2B5EF4-FFF2-40B4-BE49-F238E27FC236}">
                  <a16:creationId xmlns="" xmlns:a16="http://schemas.microsoft.com/office/drawing/2014/main" id="{4753DEAB-FEC0-47AC-8327-14436DE1D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7362" y="1583194"/>
              <a:ext cx="1185806" cy="1194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5" name="组合 164">
            <a:extLst>
              <a:ext uri="{FF2B5EF4-FFF2-40B4-BE49-F238E27FC236}">
                <a16:creationId xmlns="" xmlns:a16="http://schemas.microsoft.com/office/drawing/2014/main" id="{5186D15A-EAB0-4B27-B8B0-AA225D5AA97D}"/>
              </a:ext>
            </a:extLst>
          </p:cNvPr>
          <p:cNvGrpSpPr/>
          <p:nvPr/>
        </p:nvGrpSpPr>
        <p:grpSpPr>
          <a:xfrm>
            <a:off x="2114359" y="2715197"/>
            <a:ext cx="1167801" cy="1166300"/>
            <a:chOff x="2859770" y="2695747"/>
            <a:chExt cx="1328648" cy="1326940"/>
          </a:xfrm>
        </p:grpSpPr>
        <p:grpSp>
          <p:nvGrpSpPr>
            <p:cNvPr id="151" name="组合 91">
              <a:extLst>
                <a:ext uri="{FF2B5EF4-FFF2-40B4-BE49-F238E27FC236}">
                  <a16:creationId xmlns="" xmlns:a16="http://schemas.microsoft.com/office/drawing/2014/main" id="{27C491D4-E1A1-4058-A3CE-4DD93109FBD7}"/>
                </a:ext>
              </a:extLst>
            </p:cNvPr>
            <p:cNvGrpSpPr/>
            <p:nvPr/>
          </p:nvGrpSpPr>
          <p:grpSpPr>
            <a:xfrm>
              <a:off x="2859770" y="2695747"/>
              <a:ext cx="1328648" cy="1326940"/>
              <a:chOff x="7489175" y="714361"/>
              <a:chExt cx="1051588" cy="1051587"/>
            </a:xfrm>
          </p:grpSpPr>
          <p:grpSp>
            <p:nvGrpSpPr>
              <p:cNvPr id="152" name="组合 180">
                <a:extLst>
                  <a:ext uri="{FF2B5EF4-FFF2-40B4-BE49-F238E27FC236}">
                    <a16:creationId xmlns="" xmlns:a16="http://schemas.microsoft.com/office/drawing/2014/main" id="{485638EA-EB03-4D6E-816C-812678473E1A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54" name="组合 181">
                  <a:extLst>
                    <a:ext uri="{FF2B5EF4-FFF2-40B4-BE49-F238E27FC236}">
                      <a16:creationId xmlns="" xmlns:a16="http://schemas.microsoft.com/office/drawing/2014/main" id="{574BDA6E-1F4F-46AB-A0D3-CA24948FCA17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62" name="Freeform 32">
                    <a:extLst>
                      <a:ext uri="{FF2B5EF4-FFF2-40B4-BE49-F238E27FC236}">
                        <a16:creationId xmlns="" xmlns:a16="http://schemas.microsoft.com/office/drawing/2014/main" id="{012DB26E-9747-41EE-9CDD-32B96EAF397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3" name="Freeform 37">
                    <a:extLst>
                      <a:ext uri="{FF2B5EF4-FFF2-40B4-BE49-F238E27FC236}">
                        <a16:creationId xmlns="" xmlns:a16="http://schemas.microsoft.com/office/drawing/2014/main" id="{DBF73F10-B3E7-4A03-9B96-6E018B83D54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4" name="Freeform 42">
                    <a:extLst>
                      <a:ext uri="{FF2B5EF4-FFF2-40B4-BE49-F238E27FC236}">
                        <a16:creationId xmlns="" xmlns:a16="http://schemas.microsoft.com/office/drawing/2014/main" id="{FCD93171-59C9-4D80-A214-EA4BCF512D1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55" name="组合 182">
                  <a:extLst>
                    <a:ext uri="{FF2B5EF4-FFF2-40B4-BE49-F238E27FC236}">
                      <a16:creationId xmlns="" xmlns:a16="http://schemas.microsoft.com/office/drawing/2014/main" id="{BF392C3F-F4DC-4B70-9F41-1E2BB54CF442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56" name="Freeform 49">
                    <a:extLst>
                      <a:ext uri="{FF2B5EF4-FFF2-40B4-BE49-F238E27FC236}">
                        <a16:creationId xmlns="" xmlns:a16="http://schemas.microsoft.com/office/drawing/2014/main" id="{54355CF3-ACB3-42C4-9F8D-E2F12642E2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7" name="Freeform 50">
                    <a:extLst>
                      <a:ext uri="{FF2B5EF4-FFF2-40B4-BE49-F238E27FC236}">
                        <a16:creationId xmlns="" xmlns:a16="http://schemas.microsoft.com/office/drawing/2014/main" id="{FC5222AB-8D47-4640-9BAC-990B0CF976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" name="Freeform 51">
                    <a:extLst>
                      <a:ext uri="{FF2B5EF4-FFF2-40B4-BE49-F238E27FC236}">
                        <a16:creationId xmlns="" xmlns:a16="http://schemas.microsoft.com/office/drawing/2014/main" id="{7E930C9D-4CE4-4E40-A1AA-F421C7B00B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" name="Freeform 52">
                    <a:extLst>
                      <a:ext uri="{FF2B5EF4-FFF2-40B4-BE49-F238E27FC236}">
                        <a16:creationId xmlns="" xmlns:a16="http://schemas.microsoft.com/office/drawing/2014/main" id="{A346D190-B8FE-414F-9D28-D0336226CA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" name="Freeform 53">
                    <a:extLst>
                      <a:ext uri="{FF2B5EF4-FFF2-40B4-BE49-F238E27FC236}">
                        <a16:creationId xmlns="" xmlns:a16="http://schemas.microsoft.com/office/drawing/2014/main" id="{1248B1BE-6C2F-4B5D-9367-F8EA784D8A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" name="Freeform 54">
                    <a:extLst>
                      <a:ext uri="{FF2B5EF4-FFF2-40B4-BE49-F238E27FC236}">
                        <a16:creationId xmlns="" xmlns:a16="http://schemas.microsoft.com/office/drawing/2014/main" id="{1CB9DE64-480B-422C-BCE4-451F4F5DA1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53" name="椭圆 93">
                <a:extLst>
                  <a:ext uri="{FF2B5EF4-FFF2-40B4-BE49-F238E27FC236}">
                    <a16:creationId xmlns="" xmlns:a16="http://schemas.microsoft.com/office/drawing/2014/main" id="{2D792A30-B312-4CB3-9F3E-45B7F7B2919B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2" name="Picture 11" descr="图片 48">
              <a:extLst>
                <a:ext uri="{FF2B5EF4-FFF2-40B4-BE49-F238E27FC236}">
                  <a16:creationId xmlns="" xmlns:a16="http://schemas.microsoft.com/office/drawing/2014/main" id="{9F9CCA49-8619-484A-BBEA-C921C645F5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7729" y="2821674"/>
              <a:ext cx="1117151" cy="1084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8" name="组合 247">
            <a:extLst>
              <a:ext uri="{FF2B5EF4-FFF2-40B4-BE49-F238E27FC236}">
                <a16:creationId xmlns="" xmlns:a16="http://schemas.microsoft.com/office/drawing/2014/main" id="{778056D6-2F00-4097-9F42-8FDE7786D957}"/>
              </a:ext>
            </a:extLst>
          </p:cNvPr>
          <p:cNvGrpSpPr/>
          <p:nvPr/>
        </p:nvGrpSpPr>
        <p:grpSpPr>
          <a:xfrm>
            <a:off x="8572547" y="1161055"/>
            <a:ext cx="1392142" cy="1390353"/>
            <a:chOff x="8154616" y="1542878"/>
            <a:chExt cx="1392505" cy="1390715"/>
          </a:xfrm>
        </p:grpSpPr>
        <p:grpSp>
          <p:nvGrpSpPr>
            <p:cNvPr id="137" name="组合 91">
              <a:extLst>
                <a:ext uri="{FF2B5EF4-FFF2-40B4-BE49-F238E27FC236}">
                  <a16:creationId xmlns="" xmlns:a16="http://schemas.microsoft.com/office/drawing/2014/main" id="{0D03140D-2F64-49CF-970E-1A121D70E18D}"/>
                </a:ext>
              </a:extLst>
            </p:cNvPr>
            <p:cNvGrpSpPr/>
            <p:nvPr/>
          </p:nvGrpSpPr>
          <p:grpSpPr>
            <a:xfrm>
              <a:off x="8154616" y="1542878"/>
              <a:ext cx="1392505" cy="1390715"/>
              <a:chOff x="7489175" y="714361"/>
              <a:chExt cx="1051588" cy="1051587"/>
            </a:xfrm>
          </p:grpSpPr>
          <p:grpSp>
            <p:nvGrpSpPr>
              <p:cNvPr id="138" name="组合 180">
                <a:extLst>
                  <a:ext uri="{FF2B5EF4-FFF2-40B4-BE49-F238E27FC236}">
                    <a16:creationId xmlns="" xmlns:a16="http://schemas.microsoft.com/office/drawing/2014/main" id="{4AEFF5FD-A230-4817-A59C-7EBC8DFD79BC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40" name="组合 181">
                  <a:extLst>
                    <a:ext uri="{FF2B5EF4-FFF2-40B4-BE49-F238E27FC236}">
                      <a16:creationId xmlns="" xmlns:a16="http://schemas.microsoft.com/office/drawing/2014/main" id="{22770FCC-9EE4-49A9-82C6-30243BC3C852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48" name="Freeform 32">
                    <a:extLst>
                      <a:ext uri="{FF2B5EF4-FFF2-40B4-BE49-F238E27FC236}">
                        <a16:creationId xmlns="" xmlns:a16="http://schemas.microsoft.com/office/drawing/2014/main" id="{8576D782-7430-474C-AA8C-478B98643A8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" name="Freeform 37">
                    <a:extLst>
                      <a:ext uri="{FF2B5EF4-FFF2-40B4-BE49-F238E27FC236}">
                        <a16:creationId xmlns="" xmlns:a16="http://schemas.microsoft.com/office/drawing/2014/main" id="{3A67D249-F18F-4D94-AA79-06D3049DA46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0" name="Freeform 42">
                    <a:extLst>
                      <a:ext uri="{FF2B5EF4-FFF2-40B4-BE49-F238E27FC236}">
                        <a16:creationId xmlns="" xmlns:a16="http://schemas.microsoft.com/office/drawing/2014/main" id="{B0AA11E6-1647-4B9B-9120-2611D1B9F8C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41" name="组合 182">
                  <a:extLst>
                    <a:ext uri="{FF2B5EF4-FFF2-40B4-BE49-F238E27FC236}">
                      <a16:creationId xmlns="" xmlns:a16="http://schemas.microsoft.com/office/drawing/2014/main" id="{1561C189-6BED-4C83-823A-CA1C07E21AD5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42" name="Freeform 49">
                    <a:extLst>
                      <a:ext uri="{FF2B5EF4-FFF2-40B4-BE49-F238E27FC236}">
                        <a16:creationId xmlns="" xmlns:a16="http://schemas.microsoft.com/office/drawing/2014/main" id="{30001002-43E5-45BC-AE94-7D2E651449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" name="Freeform 50">
                    <a:extLst>
                      <a:ext uri="{FF2B5EF4-FFF2-40B4-BE49-F238E27FC236}">
                        <a16:creationId xmlns="" xmlns:a16="http://schemas.microsoft.com/office/drawing/2014/main" id="{C84CCD3E-6E15-4A8E-AAA5-31CC6B70AD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" name="Freeform 51">
                    <a:extLst>
                      <a:ext uri="{FF2B5EF4-FFF2-40B4-BE49-F238E27FC236}">
                        <a16:creationId xmlns="" xmlns:a16="http://schemas.microsoft.com/office/drawing/2014/main" id="{79FC6142-3C3E-40FE-840F-A1DE364FCD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5" name="Freeform 52">
                    <a:extLst>
                      <a:ext uri="{FF2B5EF4-FFF2-40B4-BE49-F238E27FC236}">
                        <a16:creationId xmlns="" xmlns:a16="http://schemas.microsoft.com/office/drawing/2014/main" id="{10FBC607-F450-4661-B528-2C59E78F17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" name="Freeform 53">
                    <a:extLst>
                      <a:ext uri="{FF2B5EF4-FFF2-40B4-BE49-F238E27FC236}">
                        <a16:creationId xmlns="" xmlns:a16="http://schemas.microsoft.com/office/drawing/2014/main" id="{9BF19575-498F-43B8-B2F5-DA5A7D710A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" name="Freeform 54">
                    <a:extLst>
                      <a:ext uri="{FF2B5EF4-FFF2-40B4-BE49-F238E27FC236}">
                        <a16:creationId xmlns="" xmlns:a16="http://schemas.microsoft.com/office/drawing/2014/main" id="{B212DD0A-A523-4F62-9A97-BF4B2C6559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39" name="椭圆 93">
                <a:extLst>
                  <a:ext uri="{FF2B5EF4-FFF2-40B4-BE49-F238E27FC236}">
                    <a16:creationId xmlns="" xmlns:a16="http://schemas.microsoft.com/office/drawing/2014/main" id="{82BC3439-4DE2-4CF2-9524-5701CEA243B9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3" name="Picture 12" descr="图片 53">
              <a:extLst>
                <a:ext uri="{FF2B5EF4-FFF2-40B4-BE49-F238E27FC236}">
                  <a16:creationId xmlns="" xmlns:a16="http://schemas.microsoft.com/office/drawing/2014/main" id="{CBF58C6C-4FE8-450A-BA9C-8979B8D80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1880" y="1657976"/>
              <a:ext cx="1211170" cy="1160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6" name="组合 245">
            <a:extLst>
              <a:ext uri="{FF2B5EF4-FFF2-40B4-BE49-F238E27FC236}">
                <a16:creationId xmlns="" xmlns:a16="http://schemas.microsoft.com/office/drawing/2014/main" id="{B8D4AB55-1BB7-4C18-B650-9E9D95B96FD0}"/>
              </a:ext>
            </a:extLst>
          </p:cNvPr>
          <p:cNvGrpSpPr/>
          <p:nvPr/>
        </p:nvGrpSpPr>
        <p:grpSpPr>
          <a:xfrm>
            <a:off x="694711" y="1383559"/>
            <a:ext cx="1392142" cy="1390353"/>
            <a:chOff x="1895339" y="1527484"/>
            <a:chExt cx="1392505" cy="1390715"/>
          </a:xfrm>
        </p:grpSpPr>
        <p:grpSp>
          <p:nvGrpSpPr>
            <p:cNvPr id="53" name="组合 91">
              <a:extLst>
                <a:ext uri="{FF2B5EF4-FFF2-40B4-BE49-F238E27FC236}">
                  <a16:creationId xmlns="" xmlns:a16="http://schemas.microsoft.com/office/drawing/2014/main" id="{E364A965-84F2-4372-B047-F1BFDDB192B8}"/>
                </a:ext>
              </a:extLst>
            </p:cNvPr>
            <p:cNvGrpSpPr/>
            <p:nvPr/>
          </p:nvGrpSpPr>
          <p:grpSpPr>
            <a:xfrm>
              <a:off x="1895339" y="1527484"/>
              <a:ext cx="1392505" cy="1390715"/>
              <a:chOff x="7489175" y="714361"/>
              <a:chExt cx="1051588" cy="1051587"/>
            </a:xfrm>
          </p:grpSpPr>
          <p:grpSp>
            <p:nvGrpSpPr>
              <p:cNvPr id="57" name="组合 180">
                <a:extLst>
                  <a:ext uri="{FF2B5EF4-FFF2-40B4-BE49-F238E27FC236}">
                    <a16:creationId xmlns="" xmlns:a16="http://schemas.microsoft.com/office/drawing/2014/main" id="{C4B4514F-BB5D-4D21-A49C-627804515DF0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59" name="组合 181">
                  <a:extLst>
                    <a:ext uri="{FF2B5EF4-FFF2-40B4-BE49-F238E27FC236}">
                      <a16:creationId xmlns="" xmlns:a16="http://schemas.microsoft.com/office/drawing/2014/main" id="{645ADBE9-C3AD-47F1-A8A4-6F2DFD70E539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67" name="Freeform 32">
                    <a:extLst>
                      <a:ext uri="{FF2B5EF4-FFF2-40B4-BE49-F238E27FC236}">
                        <a16:creationId xmlns="" xmlns:a16="http://schemas.microsoft.com/office/drawing/2014/main" id="{59833B17-B393-4350-93EF-AD006E5E896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8" name="Freeform 37">
                    <a:extLst>
                      <a:ext uri="{FF2B5EF4-FFF2-40B4-BE49-F238E27FC236}">
                        <a16:creationId xmlns="" xmlns:a16="http://schemas.microsoft.com/office/drawing/2014/main" id="{BEFAF334-F867-47FD-AE42-5F2087CDF11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9" name="Freeform 42">
                    <a:extLst>
                      <a:ext uri="{FF2B5EF4-FFF2-40B4-BE49-F238E27FC236}">
                        <a16:creationId xmlns="" xmlns:a16="http://schemas.microsoft.com/office/drawing/2014/main" id="{9DA970FB-6E8D-4371-AB8E-483234D6DD4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60" name="组合 182">
                  <a:extLst>
                    <a:ext uri="{FF2B5EF4-FFF2-40B4-BE49-F238E27FC236}">
                      <a16:creationId xmlns="" xmlns:a16="http://schemas.microsoft.com/office/drawing/2014/main" id="{8AF2EFE7-D416-47B5-BF41-B451C362257E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61" name="Freeform 49">
                    <a:extLst>
                      <a:ext uri="{FF2B5EF4-FFF2-40B4-BE49-F238E27FC236}">
                        <a16:creationId xmlns="" xmlns:a16="http://schemas.microsoft.com/office/drawing/2014/main" id="{AAD4A360-FBB9-460A-8575-E286BF67A9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2" name="Freeform 50">
                    <a:extLst>
                      <a:ext uri="{FF2B5EF4-FFF2-40B4-BE49-F238E27FC236}">
                        <a16:creationId xmlns="" xmlns:a16="http://schemas.microsoft.com/office/drawing/2014/main" id="{A9848AF5-BF38-4E9D-A469-3DF21797AD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3" name="Freeform 51">
                    <a:extLst>
                      <a:ext uri="{FF2B5EF4-FFF2-40B4-BE49-F238E27FC236}">
                        <a16:creationId xmlns="" xmlns:a16="http://schemas.microsoft.com/office/drawing/2014/main" id="{D5C0FC34-4FE7-4055-949D-7A639D6753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4" name="Freeform 52">
                    <a:extLst>
                      <a:ext uri="{FF2B5EF4-FFF2-40B4-BE49-F238E27FC236}">
                        <a16:creationId xmlns="" xmlns:a16="http://schemas.microsoft.com/office/drawing/2014/main" id="{292B41DD-C013-4ADF-95ED-A0A285DD12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5" name="Freeform 53">
                    <a:extLst>
                      <a:ext uri="{FF2B5EF4-FFF2-40B4-BE49-F238E27FC236}">
                        <a16:creationId xmlns="" xmlns:a16="http://schemas.microsoft.com/office/drawing/2014/main" id="{565E4031-9E1C-456A-B263-174B49790E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6" name="Freeform 54">
                    <a:extLst>
                      <a:ext uri="{FF2B5EF4-FFF2-40B4-BE49-F238E27FC236}">
                        <a16:creationId xmlns="" xmlns:a16="http://schemas.microsoft.com/office/drawing/2014/main" id="{E3394B30-85CC-4EC2-9AB0-A9FF1E0D33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58" name="椭圆 93">
                <a:extLst>
                  <a:ext uri="{FF2B5EF4-FFF2-40B4-BE49-F238E27FC236}">
                    <a16:creationId xmlns="" xmlns:a16="http://schemas.microsoft.com/office/drawing/2014/main" id="{8752E736-ED56-4592-A8D2-9AA7DC7C635C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4" name="Picture 13" descr="图片 54">
              <a:extLst>
                <a:ext uri="{FF2B5EF4-FFF2-40B4-BE49-F238E27FC236}">
                  <a16:creationId xmlns="" xmlns:a16="http://schemas.microsoft.com/office/drawing/2014/main" id="{2F76197F-6BC3-444E-A519-CFB67071A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0504" y="1642495"/>
              <a:ext cx="1198616" cy="1157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9" name="组合 248">
            <a:extLst>
              <a:ext uri="{FF2B5EF4-FFF2-40B4-BE49-F238E27FC236}">
                <a16:creationId xmlns="" xmlns:a16="http://schemas.microsoft.com/office/drawing/2014/main" id="{5CAD03A0-9B03-4AD9-AAE1-FBEEB889ED10}"/>
              </a:ext>
            </a:extLst>
          </p:cNvPr>
          <p:cNvGrpSpPr/>
          <p:nvPr/>
        </p:nvGrpSpPr>
        <p:grpSpPr>
          <a:xfrm>
            <a:off x="7625547" y="2611958"/>
            <a:ext cx="1392142" cy="1390353"/>
            <a:chOff x="7390981" y="2756203"/>
            <a:chExt cx="1392505" cy="1390715"/>
          </a:xfrm>
        </p:grpSpPr>
        <p:grpSp>
          <p:nvGrpSpPr>
            <p:cNvPr id="226" name="组合 91">
              <a:extLst>
                <a:ext uri="{FF2B5EF4-FFF2-40B4-BE49-F238E27FC236}">
                  <a16:creationId xmlns="" xmlns:a16="http://schemas.microsoft.com/office/drawing/2014/main" id="{A18D6D7F-59ED-44E1-8FCD-5AD2FF46A7C7}"/>
                </a:ext>
              </a:extLst>
            </p:cNvPr>
            <p:cNvGrpSpPr/>
            <p:nvPr/>
          </p:nvGrpSpPr>
          <p:grpSpPr>
            <a:xfrm>
              <a:off x="7390981" y="2756203"/>
              <a:ext cx="1392505" cy="1390715"/>
              <a:chOff x="7489175" y="714361"/>
              <a:chExt cx="1051588" cy="1051587"/>
            </a:xfrm>
          </p:grpSpPr>
          <p:grpSp>
            <p:nvGrpSpPr>
              <p:cNvPr id="227" name="组合 180">
                <a:extLst>
                  <a:ext uri="{FF2B5EF4-FFF2-40B4-BE49-F238E27FC236}">
                    <a16:creationId xmlns="" xmlns:a16="http://schemas.microsoft.com/office/drawing/2014/main" id="{8FBC2B68-ACB1-41AA-834C-28FD56C22414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229" name="组合 181">
                  <a:extLst>
                    <a:ext uri="{FF2B5EF4-FFF2-40B4-BE49-F238E27FC236}">
                      <a16:creationId xmlns="" xmlns:a16="http://schemas.microsoft.com/office/drawing/2014/main" id="{746319A4-F927-40A5-A6A5-E573168499CB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237" name="Freeform 32">
                    <a:extLst>
                      <a:ext uri="{FF2B5EF4-FFF2-40B4-BE49-F238E27FC236}">
                        <a16:creationId xmlns="" xmlns:a16="http://schemas.microsoft.com/office/drawing/2014/main" id="{86904EBB-FA30-49E1-BE88-BCB74B964E4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8" name="Freeform 37">
                    <a:extLst>
                      <a:ext uri="{FF2B5EF4-FFF2-40B4-BE49-F238E27FC236}">
                        <a16:creationId xmlns="" xmlns:a16="http://schemas.microsoft.com/office/drawing/2014/main" id="{DD84210F-558D-4642-9D9D-9E20AACF47B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9" name="Freeform 42">
                    <a:extLst>
                      <a:ext uri="{FF2B5EF4-FFF2-40B4-BE49-F238E27FC236}">
                        <a16:creationId xmlns="" xmlns:a16="http://schemas.microsoft.com/office/drawing/2014/main" id="{5996942B-54DF-4C00-9E0F-F717518111D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30" name="组合 182">
                  <a:extLst>
                    <a:ext uri="{FF2B5EF4-FFF2-40B4-BE49-F238E27FC236}">
                      <a16:creationId xmlns="" xmlns:a16="http://schemas.microsoft.com/office/drawing/2014/main" id="{82257CDA-EB88-4A0B-954B-9522F2029156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231" name="Freeform 49">
                    <a:extLst>
                      <a:ext uri="{FF2B5EF4-FFF2-40B4-BE49-F238E27FC236}">
                        <a16:creationId xmlns="" xmlns:a16="http://schemas.microsoft.com/office/drawing/2014/main" id="{E75AD0BA-DF0F-46B4-923D-69FA250AFE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2" name="Freeform 50">
                    <a:extLst>
                      <a:ext uri="{FF2B5EF4-FFF2-40B4-BE49-F238E27FC236}">
                        <a16:creationId xmlns="" xmlns:a16="http://schemas.microsoft.com/office/drawing/2014/main" id="{2EC17C56-CC29-4126-B62E-463CBE14DB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3" name="Freeform 51">
                    <a:extLst>
                      <a:ext uri="{FF2B5EF4-FFF2-40B4-BE49-F238E27FC236}">
                        <a16:creationId xmlns="" xmlns:a16="http://schemas.microsoft.com/office/drawing/2014/main" id="{9417D2D9-940D-4A91-83F3-AC5F8C88A2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4" name="Freeform 52">
                    <a:extLst>
                      <a:ext uri="{FF2B5EF4-FFF2-40B4-BE49-F238E27FC236}">
                        <a16:creationId xmlns="" xmlns:a16="http://schemas.microsoft.com/office/drawing/2014/main" id="{918A70FC-7838-4C20-8208-4A05445B4D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5" name="Freeform 53">
                    <a:extLst>
                      <a:ext uri="{FF2B5EF4-FFF2-40B4-BE49-F238E27FC236}">
                        <a16:creationId xmlns="" xmlns:a16="http://schemas.microsoft.com/office/drawing/2014/main" id="{925B1FC1-7C84-4FCA-8124-F5039A8D9A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6" name="Freeform 54">
                    <a:extLst>
                      <a:ext uri="{FF2B5EF4-FFF2-40B4-BE49-F238E27FC236}">
                        <a16:creationId xmlns="" xmlns:a16="http://schemas.microsoft.com/office/drawing/2014/main" id="{F31390E5-ADA2-4E0C-B254-1A22C08546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28" name="椭圆 93">
                <a:extLst>
                  <a:ext uri="{FF2B5EF4-FFF2-40B4-BE49-F238E27FC236}">
                    <a16:creationId xmlns="" xmlns:a16="http://schemas.microsoft.com/office/drawing/2014/main" id="{FF198B8C-BC50-4C7D-B2B9-11E5C5DF2600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5" name="Picture 14" descr="图片 56">
              <a:extLst>
                <a:ext uri="{FF2B5EF4-FFF2-40B4-BE49-F238E27FC236}">
                  <a16:creationId xmlns="" xmlns:a16="http://schemas.microsoft.com/office/drawing/2014/main" id="{5CF3FF3E-199B-4786-BF81-C13ED1F12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3278" y="2851852"/>
              <a:ext cx="1208438" cy="1238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0" name="组合 249">
            <a:extLst>
              <a:ext uri="{FF2B5EF4-FFF2-40B4-BE49-F238E27FC236}">
                <a16:creationId xmlns="" xmlns:a16="http://schemas.microsoft.com/office/drawing/2014/main" id="{D5A3F5B1-A7E6-4B5B-895C-A584E7F8FAA6}"/>
              </a:ext>
            </a:extLst>
          </p:cNvPr>
          <p:cNvGrpSpPr/>
          <p:nvPr/>
        </p:nvGrpSpPr>
        <p:grpSpPr>
          <a:xfrm>
            <a:off x="5814274" y="2516978"/>
            <a:ext cx="1392142" cy="1390353"/>
            <a:chOff x="5755563" y="2661198"/>
            <a:chExt cx="1392505" cy="1390715"/>
          </a:xfrm>
        </p:grpSpPr>
        <p:grpSp>
          <p:nvGrpSpPr>
            <p:cNvPr id="168" name="组合 91">
              <a:extLst>
                <a:ext uri="{FF2B5EF4-FFF2-40B4-BE49-F238E27FC236}">
                  <a16:creationId xmlns="" xmlns:a16="http://schemas.microsoft.com/office/drawing/2014/main" id="{8115BD5A-B281-445B-8CF8-3395A95B1A8E}"/>
                </a:ext>
              </a:extLst>
            </p:cNvPr>
            <p:cNvGrpSpPr/>
            <p:nvPr/>
          </p:nvGrpSpPr>
          <p:grpSpPr>
            <a:xfrm>
              <a:off x="5755563" y="2661198"/>
              <a:ext cx="1392505" cy="1390715"/>
              <a:chOff x="7489175" y="714361"/>
              <a:chExt cx="1051588" cy="1051587"/>
            </a:xfrm>
          </p:grpSpPr>
          <p:grpSp>
            <p:nvGrpSpPr>
              <p:cNvPr id="169" name="组合 180">
                <a:extLst>
                  <a:ext uri="{FF2B5EF4-FFF2-40B4-BE49-F238E27FC236}">
                    <a16:creationId xmlns="" xmlns:a16="http://schemas.microsoft.com/office/drawing/2014/main" id="{2DE083F6-1611-4E0D-B25A-E02587385F66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71" name="组合 181">
                  <a:extLst>
                    <a:ext uri="{FF2B5EF4-FFF2-40B4-BE49-F238E27FC236}">
                      <a16:creationId xmlns="" xmlns:a16="http://schemas.microsoft.com/office/drawing/2014/main" id="{409240B0-C7F3-4368-81F2-693D5B609EB9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79" name="Freeform 32">
                    <a:extLst>
                      <a:ext uri="{FF2B5EF4-FFF2-40B4-BE49-F238E27FC236}">
                        <a16:creationId xmlns="" xmlns:a16="http://schemas.microsoft.com/office/drawing/2014/main" id="{C59627C3-BF07-4FB2-BB12-AB8B4138868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80" name="Freeform 37">
                    <a:extLst>
                      <a:ext uri="{FF2B5EF4-FFF2-40B4-BE49-F238E27FC236}">
                        <a16:creationId xmlns="" xmlns:a16="http://schemas.microsoft.com/office/drawing/2014/main" id="{E525293C-D6D3-4398-8C11-E9EB89FB4E7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81" name="Freeform 42">
                    <a:extLst>
                      <a:ext uri="{FF2B5EF4-FFF2-40B4-BE49-F238E27FC236}">
                        <a16:creationId xmlns="" xmlns:a16="http://schemas.microsoft.com/office/drawing/2014/main" id="{A10FB3C1-30BD-43C7-8017-80E925840ED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72" name="组合 182">
                  <a:extLst>
                    <a:ext uri="{FF2B5EF4-FFF2-40B4-BE49-F238E27FC236}">
                      <a16:creationId xmlns="" xmlns:a16="http://schemas.microsoft.com/office/drawing/2014/main" id="{8A298820-8096-45CC-BDD0-51A0C86BED02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73" name="Freeform 49">
                    <a:extLst>
                      <a:ext uri="{FF2B5EF4-FFF2-40B4-BE49-F238E27FC236}">
                        <a16:creationId xmlns="" xmlns:a16="http://schemas.microsoft.com/office/drawing/2014/main" id="{6A580375-5C98-4E7A-9934-970C505304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74" name="Freeform 50">
                    <a:extLst>
                      <a:ext uri="{FF2B5EF4-FFF2-40B4-BE49-F238E27FC236}">
                        <a16:creationId xmlns="" xmlns:a16="http://schemas.microsoft.com/office/drawing/2014/main" id="{1100C71D-3F69-4D9A-959A-28E2D41DEF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75" name="Freeform 51">
                    <a:extLst>
                      <a:ext uri="{FF2B5EF4-FFF2-40B4-BE49-F238E27FC236}">
                        <a16:creationId xmlns="" xmlns:a16="http://schemas.microsoft.com/office/drawing/2014/main" id="{DCF1B78E-9D79-4D65-B3E7-7062FF01233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76" name="Freeform 52">
                    <a:extLst>
                      <a:ext uri="{FF2B5EF4-FFF2-40B4-BE49-F238E27FC236}">
                        <a16:creationId xmlns="" xmlns:a16="http://schemas.microsoft.com/office/drawing/2014/main" id="{53CFD7C0-DC06-4846-B399-A492DD34E7E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77" name="Freeform 53">
                    <a:extLst>
                      <a:ext uri="{FF2B5EF4-FFF2-40B4-BE49-F238E27FC236}">
                        <a16:creationId xmlns="" xmlns:a16="http://schemas.microsoft.com/office/drawing/2014/main" id="{1DA778AC-1C92-42A3-929C-A4FBCCEAF0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78" name="Freeform 54">
                    <a:extLst>
                      <a:ext uri="{FF2B5EF4-FFF2-40B4-BE49-F238E27FC236}">
                        <a16:creationId xmlns="" xmlns:a16="http://schemas.microsoft.com/office/drawing/2014/main" id="{07145D29-1C98-484A-B3EF-640EF6E963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70" name="椭圆 93">
                <a:extLst>
                  <a:ext uri="{FF2B5EF4-FFF2-40B4-BE49-F238E27FC236}">
                    <a16:creationId xmlns="" xmlns:a16="http://schemas.microsoft.com/office/drawing/2014/main" id="{6CADDAD2-6CFB-4596-8555-D70C60190E39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6" name="Picture 15" descr="图片 57">
              <a:extLst>
                <a:ext uri="{FF2B5EF4-FFF2-40B4-BE49-F238E27FC236}">
                  <a16:creationId xmlns="" xmlns:a16="http://schemas.microsoft.com/office/drawing/2014/main" id="{37677AA1-A0CB-42B4-9DBA-5CEB0BE9D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9072" y="2734368"/>
              <a:ext cx="1153802" cy="12174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7" name="组合 166">
            <a:extLst>
              <a:ext uri="{FF2B5EF4-FFF2-40B4-BE49-F238E27FC236}">
                <a16:creationId xmlns="" xmlns:a16="http://schemas.microsoft.com/office/drawing/2014/main" id="{3BE2BA90-96A3-45C2-98C8-A086C378DC7B}"/>
              </a:ext>
            </a:extLst>
          </p:cNvPr>
          <p:cNvGrpSpPr/>
          <p:nvPr/>
        </p:nvGrpSpPr>
        <p:grpSpPr>
          <a:xfrm>
            <a:off x="6907000" y="1394997"/>
            <a:ext cx="1176833" cy="1175320"/>
            <a:chOff x="6624049" y="1454973"/>
            <a:chExt cx="1328648" cy="1326940"/>
          </a:xfrm>
        </p:grpSpPr>
        <p:grpSp>
          <p:nvGrpSpPr>
            <p:cNvPr id="123" name="组合 91">
              <a:extLst>
                <a:ext uri="{FF2B5EF4-FFF2-40B4-BE49-F238E27FC236}">
                  <a16:creationId xmlns="" xmlns:a16="http://schemas.microsoft.com/office/drawing/2014/main" id="{2B33C48D-D797-4928-896F-91C45B0DA638}"/>
                </a:ext>
              </a:extLst>
            </p:cNvPr>
            <p:cNvGrpSpPr/>
            <p:nvPr/>
          </p:nvGrpSpPr>
          <p:grpSpPr>
            <a:xfrm>
              <a:off x="6624049" y="1454973"/>
              <a:ext cx="1328648" cy="1326940"/>
              <a:chOff x="7489175" y="714361"/>
              <a:chExt cx="1051588" cy="1051587"/>
            </a:xfrm>
          </p:grpSpPr>
          <p:grpSp>
            <p:nvGrpSpPr>
              <p:cNvPr id="124" name="组合 180">
                <a:extLst>
                  <a:ext uri="{FF2B5EF4-FFF2-40B4-BE49-F238E27FC236}">
                    <a16:creationId xmlns="" xmlns:a16="http://schemas.microsoft.com/office/drawing/2014/main" id="{669E04E2-CD65-4DAF-B510-CE5A4C2CB1D2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26" name="组合 181">
                  <a:extLst>
                    <a:ext uri="{FF2B5EF4-FFF2-40B4-BE49-F238E27FC236}">
                      <a16:creationId xmlns="" xmlns:a16="http://schemas.microsoft.com/office/drawing/2014/main" id="{3791CE69-7332-4E33-924D-08E2F9605893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34" name="Freeform 32">
                    <a:extLst>
                      <a:ext uri="{FF2B5EF4-FFF2-40B4-BE49-F238E27FC236}">
                        <a16:creationId xmlns="" xmlns:a16="http://schemas.microsoft.com/office/drawing/2014/main" id="{C9722497-C858-43D7-B32D-A5B816F7776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" name="Freeform 37">
                    <a:extLst>
                      <a:ext uri="{FF2B5EF4-FFF2-40B4-BE49-F238E27FC236}">
                        <a16:creationId xmlns="" xmlns:a16="http://schemas.microsoft.com/office/drawing/2014/main" id="{6E4B3629-4ED8-4C39-BA4A-81D83BCF35B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" name="Freeform 42">
                    <a:extLst>
                      <a:ext uri="{FF2B5EF4-FFF2-40B4-BE49-F238E27FC236}">
                        <a16:creationId xmlns="" xmlns:a16="http://schemas.microsoft.com/office/drawing/2014/main" id="{EC7C7670-F960-49D8-A6CD-7EB50E5CF72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27" name="组合 182">
                  <a:extLst>
                    <a:ext uri="{FF2B5EF4-FFF2-40B4-BE49-F238E27FC236}">
                      <a16:creationId xmlns="" xmlns:a16="http://schemas.microsoft.com/office/drawing/2014/main" id="{A8164C93-71A6-4518-B58B-BA3E4B2F2748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28" name="Freeform 49">
                    <a:extLst>
                      <a:ext uri="{FF2B5EF4-FFF2-40B4-BE49-F238E27FC236}">
                        <a16:creationId xmlns="" xmlns:a16="http://schemas.microsoft.com/office/drawing/2014/main" id="{4D114827-37A0-4B7A-A995-C912BD8E8D3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" name="Freeform 50">
                    <a:extLst>
                      <a:ext uri="{FF2B5EF4-FFF2-40B4-BE49-F238E27FC236}">
                        <a16:creationId xmlns="" xmlns:a16="http://schemas.microsoft.com/office/drawing/2014/main" id="{B422F1D0-E170-43ED-A876-3D2E7E987E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" name="Freeform 51">
                    <a:extLst>
                      <a:ext uri="{FF2B5EF4-FFF2-40B4-BE49-F238E27FC236}">
                        <a16:creationId xmlns="" xmlns:a16="http://schemas.microsoft.com/office/drawing/2014/main" id="{533F20D6-E22B-46F9-A56B-FAA022E6B3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" name="Freeform 52">
                    <a:extLst>
                      <a:ext uri="{FF2B5EF4-FFF2-40B4-BE49-F238E27FC236}">
                        <a16:creationId xmlns="" xmlns:a16="http://schemas.microsoft.com/office/drawing/2014/main" id="{C2E1F265-55EE-4CC6-A628-E0CBD43C8C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" name="Freeform 53">
                    <a:extLst>
                      <a:ext uri="{FF2B5EF4-FFF2-40B4-BE49-F238E27FC236}">
                        <a16:creationId xmlns="" xmlns:a16="http://schemas.microsoft.com/office/drawing/2014/main" id="{D473F6D4-ACE8-4FD0-A909-9247FF1560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3" name="Freeform 54">
                    <a:extLst>
                      <a:ext uri="{FF2B5EF4-FFF2-40B4-BE49-F238E27FC236}">
                        <a16:creationId xmlns="" xmlns:a16="http://schemas.microsoft.com/office/drawing/2014/main" id="{7BDCEA2C-8028-44CB-987F-3829EC471C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25" name="椭圆 93">
                <a:extLst>
                  <a:ext uri="{FF2B5EF4-FFF2-40B4-BE49-F238E27FC236}">
                    <a16:creationId xmlns="" xmlns:a16="http://schemas.microsoft.com/office/drawing/2014/main" id="{768FAFFE-C1BB-4AF7-BE56-003734066FA7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7" name="Picture 16" descr="图片 62">
              <a:extLst>
                <a:ext uri="{FF2B5EF4-FFF2-40B4-BE49-F238E27FC236}">
                  <a16:creationId xmlns="" xmlns:a16="http://schemas.microsoft.com/office/drawing/2014/main" id="{BFFA8B8C-8836-42C5-A90D-4110F152D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2392" y="1546734"/>
              <a:ext cx="1093153" cy="113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6" name="组合 165">
            <a:extLst>
              <a:ext uri="{FF2B5EF4-FFF2-40B4-BE49-F238E27FC236}">
                <a16:creationId xmlns="" xmlns:a16="http://schemas.microsoft.com/office/drawing/2014/main" id="{89ECAC59-CD91-460F-A8A9-03B342EEFF44}"/>
              </a:ext>
            </a:extLst>
          </p:cNvPr>
          <p:cNvGrpSpPr/>
          <p:nvPr/>
        </p:nvGrpSpPr>
        <p:grpSpPr>
          <a:xfrm>
            <a:off x="5028682" y="1134664"/>
            <a:ext cx="1392142" cy="1390353"/>
            <a:chOff x="5072876" y="1549682"/>
            <a:chExt cx="1328648" cy="1326940"/>
          </a:xfrm>
        </p:grpSpPr>
        <p:grpSp>
          <p:nvGrpSpPr>
            <p:cNvPr id="109" name="组合 91">
              <a:extLst>
                <a:ext uri="{FF2B5EF4-FFF2-40B4-BE49-F238E27FC236}">
                  <a16:creationId xmlns="" xmlns:a16="http://schemas.microsoft.com/office/drawing/2014/main" id="{6302F46B-3895-40EF-A6B4-F48463C2BA31}"/>
                </a:ext>
              </a:extLst>
            </p:cNvPr>
            <p:cNvGrpSpPr/>
            <p:nvPr/>
          </p:nvGrpSpPr>
          <p:grpSpPr>
            <a:xfrm>
              <a:off x="5072876" y="1549682"/>
              <a:ext cx="1328648" cy="1326940"/>
              <a:chOff x="7489175" y="714361"/>
              <a:chExt cx="1051588" cy="1051587"/>
            </a:xfrm>
          </p:grpSpPr>
          <p:grpSp>
            <p:nvGrpSpPr>
              <p:cNvPr id="110" name="组合 180">
                <a:extLst>
                  <a:ext uri="{FF2B5EF4-FFF2-40B4-BE49-F238E27FC236}">
                    <a16:creationId xmlns="" xmlns:a16="http://schemas.microsoft.com/office/drawing/2014/main" id="{D55450D6-5D05-4771-A4B5-A0EE99C8030A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12" name="组合 181">
                  <a:extLst>
                    <a:ext uri="{FF2B5EF4-FFF2-40B4-BE49-F238E27FC236}">
                      <a16:creationId xmlns="" xmlns:a16="http://schemas.microsoft.com/office/drawing/2014/main" id="{D1AA65D7-FD63-4F04-96C5-2BC60DCCA8C6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20" name="Freeform 32">
                    <a:extLst>
                      <a:ext uri="{FF2B5EF4-FFF2-40B4-BE49-F238E27FC236}">
                        <a16:creationId xmlns="" xmlns:a16="http://schemas.microsoft.com/office/drawing/2014/main" id="{27B23929-39C0-45EF-861F-A479BE0FF34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" name="Freeform 37">
                    <a:extLst>
                      <a:ext uri="{FF2B5EF4-FFF2-40B4-BE49-F238E27FC236}">
                        <a16:creationId xmlns="" xmlns:a16="http://schemas.microsoft.com/office/drawing/2014/main" id="{93F0E674-E283-45CA-89D3-6DAA598C905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" name="Freeform 42">
                    <a:extLst>
                      <a:ext uri="{FF2B5EF4-FFF2-40B4-BE49-F238E27FC236}">
                        <a16:creationId xmlns="" xmlns:a16="http://schemas.microsoft.com/office/drawing/2014/main" id="{6DD181DC-AEFA-4A2D-ACD4-6FBD93FC251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13" name="组合 182">
                  <a:extLst>
                    <a:ext uri="{FF2B5EF4-FFF2-40B4-BE49-F238E27FC236}">
                      <a16:creationId xmlns="" xmlns:a16="http://schemas.microsoft.com/office/drawing/2014/main" id="{1EFD19CC-B98A-4115-8196-DBEAE0EADB1B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14" name="Freeform 49">
                    <a:extLst>
                      <a:ext uri="{FF2B5EF4-FFF2-40B4-BE49-F238E27FC236}">
                        <a16:creationId xmlns="" xmlns:a16="http://schemas.microsoft.com/office/drawing/2014/main" id="{550E3CE3-AF3D-49D7-8067-049220AB54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" name="Freeform 50">
                    <a:extLst>
                      <a:ext uri="{FF2B5EF4-FFF2-40B4-BE49-F238E27FC236}">
                        <a16:creationId xmlns="" xmlns:a16="http://schemas.microsoft.com/office/drawing/2014/main" id="{6E22A353-2568-4542-AC01-55BB50291D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" name="Freeform 51">
                    <a:extLst>
                      <a:ext uri="{FF2B5EF4-FFF2-40B4-BE49-F238E27FC236}">
                        <a16:creationId xmlns="" xmlns:a16="http://schemas.microsoft.com/office/drawing/2014/main" id="{D428D7A4-A9E4-444A-BD28-C516BCE6DC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" name="Freeform 52">
                    <a:extLst>
                      <a:ext uri="{FF2B5EF4-FFF2-40B4-BE49-F238E27FC236}">
                        <a16:creationId xmlns="" xmlns:a16="http://schemas.microsoft.com/office/drawing/2014/main" id="{1AA0D83B-5B8A-4BF7-AE81-EE3B8F0B03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" name="Freeform 53">
                    <a:extLst>
                      <a:ext uri="{FF2B5EF4-FFF2-40B4-BE49-F238E27FC236}">
                        <a16:creationId xmlns="" xmlns:a16="http://schemas.microsoft.com/office/drawing/2014/main" id="{718B1C15-1705-462F-ACE4-828C1A7025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" name="Freeform 54">
                    <a:extLst>
                      <a:ext uri="{FF2B5EF4-FFF2-40B4-BE49-F238E27FC236}">
                        <a16:creationId xmlns="" xmlns:a16="http://schemas.microsoft.com/office/drawing/2014/main" id="{6561C8C2-9233-48CC-8B43-3157565990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11" name="椭圆 93">
                <a:extLst>
                  <a:ext uri="{FF2B5EF4-FFF2-40B4-BE49-F238E27FC236}">
                    <a16:creationId xmlns="" xmlns:a16="http://schemas.microsoft.com/office/drawing/2014/main" id="{5119EEAA-E081-46C8-8F6C-ECF93F0E3FDB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78" name="Picture 17" descr="图片 63">
              <a:extLst>
                <a:ext uri="{FF2B5EF4-FFF2-40B4-BE49-F238E27FC236}">
                  <a16:creationId xmlns="" xmlns:a16="http://schemas.microsoft.com/office/drawing/2014/main" id="{ADC79826-DFF5-4BEF-8BF7-E2954618E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0396" y="1655674"/>
              <a:ext cx="1149957" cy="1095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1" name="组合 250">
            <a:extLst>
              <a:ext uri="{FF2B5EF4-FFF2-40B4-BE49-F238E27FC236}">
                <a16:creationId xmlns="" xmlns:a16="http://schemas.microsoft.com/office/drawing/2014/main" id="{3E344B5B-E5F4-4964-886A-D2B886DAF587}"/>
              </a:ext>
            </a:extLst>
          </p:cNvPr>
          <p:cNvGrpSpPr/>
          <p:nvPr/>
        </p:nvGrpSpPr>
        <p:grpSpPr>
          <a:xfrm>
            <a:off x="4013859" y="2594894"/>
            <a:ext cx="1392142" cy="1390353"/>
            <a:chOff x="4099680" y="2739134"/>
            <a:chExt cx="1392505" cy="1390715"/>
          </a:xfrm>
        </p:grpSpPr>
        <p:grpSp>
          <p:nvGrpSpPr>
            <p:cNvPr id="182" name="组合 91">
              <a:extLst>
                <a:ext uri="{FF2B5EF4-FFF2-40B4-BE49-F238E27FC236}">
                  <a16:creationId xmlns="" xmlns:a16="http://schemas.microsoft.com/office/drawing/2014/main" id="{BAC7BBD1-81D0-4B14-8BC2-F2BA2E8ECF60}"/>
                </a:ext>
              </a:extLst>
            </p:cNvPr>
            <p:cNvGrpSpPr/>
            <p:nvPr/>
          </p:nvGrpSpPr>
          <p:grpSpPr>
            <a:xfrm>
              <a:off x="4099680" y="2739134"/>
              <a:ext cx="1392505" cy="1390715"/>
              <a:chOff x="7489175" y="714361"/>
              <a:chExt cx="1051588" cy="1051587"/>
            </a:xfrm>
          </p:grpSpPr>
          <p:grpSp>
            <p:nvGrpSpPr>
              <p:cNvPr id="183" name="组合 180">
                <a:extLst>
                  <a:ext uri="{FF2B5EF4-FFF2-40B4-BE49-F238E27FC236}">
                    <a16:creationId xmlns="" xmlns:a16="http://schemas.microsoft.com/office/drawing/2014/main" id="{2247A680-B52A-4E59-B84D-FD7EDCDB232C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185" name="组合 181">
                  <a:extLst>
                    <a:ext uri="{FF2B5EF4-FFF2-40B4-BE49-F238E27FC236}">
                      <a16:creationId xmlns="" xmlns:a16="http://schemas.microsoft.com/office/drawing/2014/main" id="{846C12EC-C15A-4D20-B2E9-9B1D96C60BA6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193" name="Freeform 32">
                    <a:extLst>
                      <a:ext uri="{FF2B5EF4-FFF2-40B4-BE49-F238E27FC236}">
                        <a16:creationId xmlns="" xmlns:a16="http://schemas.microsoft.com/office/drawing/2014/main" id="{ABA4DD09-B9D6-4753-BD5D-0782C69E607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4" name="Freeform 37">
                    <a:extLst>
                      <a:ext uri="{FF2B5EF4-FFF2-40B4-BE49-F238E27FC236}">
                        <a16:creationId xmlns="" xmlns:a16="http://schemas.microsoft.com/office/drawing/2014/main" id="{0BE291AD-0DE6-446B-BE68-BFBCF639E89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5" name="Freeform 42">
                    <a:extLst>
                      <a:ext uri="{FF2B5EF4-FFF2-40B4-BE49-F238E27FC236}">
                        <a16:creationId xmlns="" xmlns:a16="http://schemas.microsoft.com/office/drawing/2014/main" id="{B35B887E-88CC-4289-9E13-A8406D89820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86" name="组合 182">
                  <a:extLst>
                    <a:ext uri="{FF2B5EF4-FFF2-40B4-BE49-F238E27FC236}">
                      <a16:creationId xmlns="" xmlns:a16="http://schemas.microsoft.com/office/drawing/2014/main" id="{AF6B1770-B47B-4E99-9D43-EC1CE89A35AA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187" name="Freeform 49">
                    <a:extLst>
                      <a:ext uri="{FF2B5EF4-FFF2-40B4-BE49-F238E27FC236}">
                        <a16:creationId xmlns="" xmlns:a16="http://schemas.microsoft.com/office/drawing/2014/main" id="{B8C9EB76-0879-4125-B950-6F6B9D953D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88" name="Freeform 50">
                    <a:extLst>
                      <a:ext uri="{FF2B5EF4-FFF2-40B4-BE49-F238E27FC236}">
                        <a16:creationId xmlns="" xmlns:a16="http://schemas.microsoft.com/office/drawing/2014/main" id="{015EE11A-9EB9-44D8-9C15-9869B5BBF5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89" name="Freeform 51">
                    <a:extLst>
                      <a:ext uri="{FF2B5EF4-FFF2-40B4-BE49-F238E27FC236}">
                        <a16:creationId xmlns="" xmlns:a16="http://schemas.microsoft.com/office/drawing/2014/main" id="{A7BD392B-75B9-4333-8F5D-7BFD4B7BE4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0" name="Freeform 52">
                    <a:extLst>
                      <a:ext uri="{FF2B5EF4-FFF2-40B4-BE49-F238E27FC236}">
                        <a16:creationId xmlns="" xmlns:a16="http://schemas.microsoft.com/office/drawing/2014/main" id="{62AEF0C4-D169-4F17-9E60-6B57D87628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Freeform 53">
                    <a:extLst>
                      <a:ext uri="{FF2B5EF4-FFF2-40B4-BE49-F238E27FC236}">
                        <a16:creationId xmlns="" xmlns:a16="http://schemas.microsoft.com/office/drawing/2014/main" id="{13199460-ACD4-4C22-B104-114C866655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2" name="Freeform 54">
                    <a:extLst>
                      <a:ext uri="{FF2B5EF4-FFF2-40B4-BE49-F238E27FC236}">
                        <a16:creationId xmlns="" xmlns:a16="http://schemas.microsoft.com/office/drawing/2014/main" id="{0E5D5396-52F7-4544-B428-B364E99A1B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84" name="椭圆 93">
                <a:extLst>
                  <a:ext uri="{FF2B5EF4-FFF2-40B4-BE49-F238E27FC236}">
                    <a16:creationId xmlns="" xmlns:a16="http://schemas.microsoft.com/office/drawing/2014/main" id="{D68C1CF9-09FC-48D7-8E71-85067D6C4701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88" name="Picture 27" descr="图片 84">
              <a:extLst>
                <a:ext uri="{FF2B5EF4-FFF2-40B4-BE49-F238E27FC236}">
                  <a16:creationId xmlns="" xmlns:a16="http://schemas.microsoft.com/office/drawing/2014/main" id="{2A3FC509-5B85-4C2C-AA1D-C814D21DC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0495" y="2851852"/>
              <a:ext cx="1122546" cy="11532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5" name="组合 244">
            <a:extLst>
              <a:ext uri="{FF2B5EF4-FFF2-40B4-BE49-F238E27FC236}">
                <a16:creationId xmlns="" xmlns:a16="http://schemas.microsoft.com/office/drawing/2014/main" id="{AD1AF5E9-E362-45FA-BCEE-850B9B061318}"/>
              </a:ext>
            </a:extLst>
          </p:cNvPr>
          <p:cNvGrpSpPr/>
          <p:nvPr/>
        </p:nvGrpSpPr>
        <p:grpSpPr>
          <a:xfrm>
            <a:off x="10119694" y="2496884"/>
            <a:ext cx="1392142" cy="1390353"/>
            <a:chOff x="9169578" y="2641099"/>
            <a:chExt cx="1392505" cy="1390715"/>
          </a:xfrm>
        </p:grpSpPr>
        <p:grpSp>
          <p:nvGrpSpPr>
            <p:cNvPr id="210" name="组合 91">
              <a:extLst>
                <a:ext uri="{FF2B5EF4-FFF2-40B4-BE49-F238E27FC236}">
                  <a16:creationId xmlns="" xmlns:a16="http://schemas.microsoft.com/office/drawing/2014/main" id="{D93603FD-AFB5-43F4-9016-A1F6021BF6D3}"/>
                </a:ext>
              </a:extLst>
            </p:cNvPr>
            <p:cNvGrpSpPr/>
            <p:nvPr/>
          </p:nvGrpSpPr>
          <p:grpSpPr>
            <a:xfrm>
              <a:off x="9169578" y="2641099"/>
              <a:ext cx="1392505" cy="1390715"/>
              <a:chOff x="7489175" y="714361"/>
              <a:chExt cx="1051588" cy="1051587"/>
            </a:xfrm>
          </p:grpSpPr>
          <p:grpSp>
            <p:nvGrpSpPr>
              <p:cNvPr id="211" name="组合 180">
                <a:extLst>
                  <a:ext uri="{FF2B5EF4-FFF2-40B4-BE49-F238E27FC236}">
                    <a16:creationId xmlns="" xmlns:a16="http://schemas.microsoft.com/office/drawing/2014/main" id="{7684A2EF-E4D7-4F78-BE4E-02A5EC1288D0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213" name="组合 181">
                  <a:extLst>
                    <a:ext uri="{FF2B5EF4-FFF2-40B4-BE49-F238E27FC236}">
                      <a16:creationId xmlns="" xmlns:a16="http://schemas.microsoft.com/office/drawing/2014/main" id="{E441D284-2CA6-4398-ACA2-F06078A9A661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221" name="Freeform 32">
                    <a:extLst>
                      <a:ext uri="{FF2B5EF4-FFF2-40B4-BE49-F238E27FC236}">
                        <a16:creationId xmlns="" xmlns:a16="http://schemas.microsoft.com/office/drawing/2014/main" id="{E5BC6C32-9731-4841-B0E9-6286D7CC9FE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2" name="Freeform 37">
                    <a:extLst>
                      <a:ext uri="{FF2B5EF4-FFF2-40B4-BE49-F238E27FC236}">
                        <a16:creationId xmlns="" xmlns:a16="http://schemas.microsoft.com/office/drawing/2014/main" id="{73F87D18-2DFE-4BF3-9DE9-4D8F8F70AB7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3" name="Freeform 42">
                    <a:extLst>
                      <a:ext uri="{FF2B5EF4-FFF2-40B4-BE49-F238E27FC236}">
                        <a16:creationId xmlns="" xmlns:a16="http://schemas.microsoft.com/office/drawing/2014/main" id="{28543880-139A-4177-BF86-99755D51011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14" name="组合 182">
                  <a:extLst>
                    <a:ext uri="{FF2B5EF4-FFF2-40B4-BE49-F238E27FC236}">
                      <a16:creationId xmlns="" xmlns:a16="http://schemas.microsoft.com/office/drawing/2014/main" id="{CF8E705D-4A1F-44EE-B498-3F0C1271EC40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215" name="Freeform 49">
                    <a:extLst>
                      <a:ext uri="{FF2B5EF4-FFF2-40B4-BE49-F238E27FC236}">
                        <a16:creationId xmlns="" xmlns:a16="http://schemas.microsoft.com/office/drawing/2014/main" id="{6A302972-F489-48D0-9C7F-56618BE847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7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16" name="Freeform 50">
                    <a:extLst>
                      <a:ext uri="{FF2B5EF4-FFF2-40B4-BE49-F238E27FC236}">
                        <a16:creationId xmlns="" xmlns:a16="http://schemas.microsoft.com/office/drawing/2014/main" id="{6B41C7CF-18C4-4ED8-ACFB-50A247CA1C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17" name="Freeform 51">
                    <a:extLst>
                      <a:ext uri="{FF2B5EF4-FFF2-40B4-BE49-F238E27FC236}">
                        <a16:creationId xmlns="" xmlns:a16="http://schemas.microsoft.com/office/drawing/2014/main" id="{D39F81D1-7663-46DD-A89E-165A02D867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18" name="Freeform 52">
                    <a:extLst>
                      <a:ext uri="{FF2B5EF4-FFF2-40B4-BE49-F238E27FC236}">
                        <a16:creationId xmlns="" xmlns:a16="http://schemas.microsoft.com/office/drawing/2014/main" id="{3FCE7A34-D40A-4FE1-8AE1-4E2821DF54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19" name="Freeform 53">
                    <a:extLst>
                      <a:ext uri="{FF2B5EF4-FFF2-40B4-BE49-F238E27FC236}">
                        <a16:creationId xmlns="" xmlns:a16="http://schemas.microsoft.com/office/drawing/2014/main" id="{77AC0ABB-CB46-483F-A3FC-E911C14D27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0" name="Freeform 54">
                    <a:extLst>
                      <a:ext uri="{FF2B5EF4-FFF2-40B4-BE49-F238E27FC236}">
                        <a16:creationId xmlns="" xmlns:a16="http://schemas.microsoft.com/office/drawing/2014/main" id="{845BAB75-0D16-42F5-80C9-C9BE0015E6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12" name="椭圆 93">
                <a:extLst>
                  <a:ext uri="{FF2B5EF4-FFF2-40B4-BE49-F238E27FC236}">
                    <a16:creationId xmlns="" xmlns:a16="http://schemas.microsoft.com/office/drawing/2014/main" id="{3AF43123-0A4C-48B8-A726-2962CF564354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224" name="Picture 26" descr="图片 83">
              <a:extLst>
                <a:ext uri="{FF2B5EF4-FFF2-40B4-BE49-F238E27FC236}">
                  <a16:creationId xmlns="" xmlns:a16="http://schemas.microsoft.com/office/drawing/2014/main" id="{EF018509-422A-473F-A243-857382B394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90531" y="2762305"/>
              <a:ext cx="1150600" cy="1170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7" name="矩形 149"/>
          <p:cNvSpPr>
            <a:spLocks noChangeArrowheads="1"/>
          </p:cNvSpPr>
          <p:nvPr/>
        </p:nvSpPr>
        <p:spPr bwMode="auto">
          <a:xfrm>
            <a:off x="552307" y="5797054"/>
            <a:ext cx="3606062" cy="440295"/>
          </a:xfrm>
          <a:prstGeom prst="rect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15184" tIns="57592" rIns="115184" bIns="57592" anchor="ctr">
            <a:noAutofit/>
          </a:bodyPr>
          <a:lstStyle/>
          <a:p>
            <a:pPr algn="ctr" defTabSz="1219078" fontAlgn="ctr"/>
            <a:r>
              <a:rPr lang="en-US" sz="16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Cloud</a:t>
            </a:r>
            <a:endParaRPr lang="en-US" altLang="zh-C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08" name="矩形 150"/>
          <p:cNvSpPr>
            <a:spLocks noChangeArrowheads="1"/>
          </p:cNvSpPr>
          <p:nvPr/>
        </p:nvSpPr>
        <p:spPr bwMode="auto">
          <a:xfrm>
            <a:off x="4292970" y="5797054"/>
            <a:ext cx="3606062" cy="440295"/>
          </a:xfrm>
          <a:prstGeom prst="rect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15184" tIns="57592" rIns="115184" bIns="57592" anchor="ctr">
            <a:noAutofit/>
          </a:bodyPr>
          <a:lstStyle/>
          <a:p>
            <a:pPr algn="ctr" defTabSz="1219078" fontAlgn="ctr"/>
            <a:r>
              <a:rPr lang="en-US" sz="16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Pipe</a:t>
            </a:r>
            <a:endParaRPr lang="en-US" altLang="zh-C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09" name="矩形 151"/>
          <p:cNvSpPr>
            <a:spLocks noChangeArrowheads="1"/>
          </p:cNvSpPr>
          <p:nvPr/>
        </p:nvSpPr>
        <p:spPr bwMode="auto">
          <a:xfrm>
            <a:off x="8033634" y="5797054"/>
            <a:ext cx="3606062" cy="440295"/>
          </a:xfrm>
          <a:prstGeom prst="rect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15184" tIns="57592" rIns="115184" bIns="57592" anchor="ctr">
            <a:noAutofit/>
          </a:bodyPr>
          <a:lstStyle/>
          <a:p>
            <a:pPr algn="ctr" defTabSz="1219078" fontAlgn="ctr"/>
            <a:r>
              <a:rPr lang="en-US" sz="16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Device</a:t>
            </a:r>
            <a:endParaRPr lang="en-US" altLang="zh-CN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194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阎总智博会\天山副本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9"/>
            <a:ext cx="12193518" cy="6857802"/>
          </a:xfrm>
          <a:prstGeom prst="rect">
            <a:avLst/>
          </a:prstGeom>
          <a:noFill/>
        </p:spPr>
      </p:pic>
      <p:sp>
        <p:nvSpPr>
          <p:cNvPr id="353" name="矩形 352"/>
          <p:cNvSpPr/>
          <p:nvPr/>
        </p:nvSpPr>
        <p:spPr>
          <a:xfrm>
            <a:off x="1" y="99"/>
            <a:ext cx="12192000" cy="685780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3000"/>
                </a:schemeClr>
              </a:gs>
              <a:gs pos="50000">
                <a:schemeClr val="tx2">
                  <a:lumMod val="50000"/>
                  <a:alpha val="79000"/>
                </a:schemeClr>
              </a:gs>
              <a:gs pos="100000">
                <a:schemeClr val="tx2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63" name="TextBox 2"/>
          <p:cNvSpPr txBox="1"/>
          <p:nvPr/>
        </p:nvSpPr>
        <p:spPr>
          <a:xfrm>
            <a:off x="530157" y="590475"/>
            <a:ext cx="7561494" cy="430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ooperative, Win-Win, and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pen Ecosystem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="" xmlns:a16="http://schemas.microsoft.com/office/drawing/2014/main" id="{3F812CF3-CC7D-4065-8DC3-A8982B0E0569}"/>
              </a:ext>
            </a:extLst>
          </p:cNvPr>
          <p:cNvGrpSpPr/>
          <p:nvPr/>
        </p:nvGrpSpPr>
        <p:grpSpPr>
          <a:xfrm>
            <a:off x="550528" y="1349305"/>
            <a:ext cx="6825827" cy="4451258"/>
            <a:chOff x="550670" y="1343277"/>
            <a:chExt cx="7064340" cy="4606797"/>
          </a:xfrm>
        </p:grpSpPr>
        <p:grpSp>
          <p:nvGrpSpPr>
            <p:cNvPr id="17" name="组合 16">
              <a:extLst>
                <a:ext uri="{FF2B5EF4-FFF2-40B4-BE49-F238E27FC236}">
                  <a16:creationId xmlns="" xmlns:a16="http://schemas.microsoft.com/office/drawing/2014/main" id="{8EDA42AF-D7E0-4AD2-9D95-E369B1FD786A}"/>
                </a:ext>
              </a:extLst>
            </p:cNvPr>
            <p:cNvGrpSpPr/>
            <p:nvPr/>
          </p:nvGrpSpPr>
          <p:grpSpPr>
            <a:xfrm>
              <a:off x="550670" y="1343277"/>
              <a:ext cx="1335925" cy="4606797"/>
              <a:chOff x="339947" y="1343277"/>
              <a:chExt cx="1335925" cy="4606797"/>
            </a:xfrm>
          </p:grpSpPr>
          <p:sp>
            <p:nvSpPr>
              <p:cNvPr id="352" name="矩形: 圆角 76">
                <a:extLst/>
              </p:cNvPr>
              <p:cNvSpPr/>
              <p:nvPr/>
            </p:nvSpPr>
            <p:spPr bwMode="auto">
              <a:xfrm>
                <a:off x="339947" y="1922554"/>
                <a:ext cx="1335925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2" name="矩形: 圆角 84">
                <a:extLst/>
              </p:cNvPr>
              <p:cNvSpPr/>
              <p:nvPr/>
            </p:nvSpPr>
            <p:spPr bwMode="auto">
              <a:xfrm>
                <a:off x="339947" y="2600044"/>
                <a:ext cx="1335925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9" name="矩形: 圆角 91">
                <a:extLst/>
              </p:cNvPr>
              <p:cNvSpPr/>
              <p:nvPr/>
            </p:nvSpPr>
            <p:spPr bwMode="auto">
              <a:xfrm>
                <a:off x="339947" y="3279651"/>
                <a:ext cx="1335925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5" name="矩形: 圆角 98">
                <a:extLst/>
              </p:cNvPr>
              <p:cNvSpPr/>
              <p:nvPr/>
            </p:nvSpPr>
            <p:spPr bwMode="auto">
              <a:xfrm>
                <a:off x="339947" y="3957141"/>
                <a:ext cx="1335925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1" name="矩形: 圆角 105">
                <a:extLst/>
              </p:cNvPr>
              <p:cNvSpPr/>
              <p:nvPr/>
            </p:nvSpPr>
            <p:spPr bwMode="auto">
              <a:xfrm>
                <a:off x="339947" y="4636749"/>
                <a:ext cx="1335925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98" name="图片 39" descr="生态圈合作伙伴-1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44" r="8524"/>
              <a:stretch>
                <a:fillRect/>
              </a:stretch>
            </p:blipFill>
            <p:spPr bwMode="auto">
              <a:xfrm>
                <a:off x="513587" y="1894370"/>
                <a:ext cx="988645" cy="6125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" name="文本框 1"/>
              <p:cNvSpPr txBox="1"/>
              <p:nvPr/>
            </p:nvSpPr>
            <p:spPr>
              <a:xfrm>
                <a:off x="357340" y="1343277"/>
                <a:ext cx="1202952" cy="35038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 defTabSz="1219078" fontAlgn="ctr"/>
                <a:r>
                  <a:rPr lang="en-US" sz="1600" b="1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High-level design</a:t>
                </a:r>
                <a:endParaRPr lang="en-US" sz="1600" b="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" name="图片 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3111" y="2679964"/>
                <a:ext cx="1049596" cy="493119"/>
              </a:xfrm>
              <a:prstGeom prst="rect">
                <a:avLst/>
              </a:prstGeom>
            </p:spPr>
          </p:pic>
          <p:pic>
            <p:nvPicPr>
              <p:cNvPr id="78" name="图片 6" descr="中国电科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6931" y="3306642"/>
                <a:ext cx="1101957" cy="57750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图片 12" descr="生态圈合作伙伴-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48" r="6822"/>
              <a:stretch>
                <a:fillRect/>
              </a:stretch>
            </p:blipFill>
            <p:spPr bwMode="auto">
              <a:xfrm>
                <a:off x="504888" y="4020169"/>
                <a:ext cx="1006043" cy="6229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" name="图片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0670" y="4691618"/>
                <a:ext cx="914479" cy="556639"/>
              </a:xfrm>
              <a:prstGeom prst="rect">
                <a:avLst/>
              </a:prstGeom>
            </p:spPr>
          </p:pic>
          <p:sp>
            <p:nvSpPr>
              <p:cNvPr id="82" name="矩形: 圆角 105">
                <a:extLst/>
              </p:cNvPr>
              <p:cNvSpPr/>
              <p:nvPr/>
            </p:nvSpPr>
            <p:spPr bwMode="auto">
              <a:xfrm>
                <a:off x="339947" y="5325514"/>
                <a:ext cx="1335925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7" name="图片 6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439176" y="5525025"/>
                <a:ext cx="1137466" cy="261578"/>
              </a:xfrm>
              <a:prstGeom prst="rect">
                <a:avLst/>
              </a:prstGeom>
            </p:spPr>
          </p:pic>
        </p:grpSp>
        <p:grpSp>
          <p:nvGrpSpPr>
            <p:cNvPr id="16" name="组合 15">
              <a:extLst>
                <a:ext uri="{FF2B5EF4-FFF2-40B4-BE49-F238E27FC236}">
                  <a16:creationId xmlns="" xmlns:a16="http://schemas.microsoft.com/office/drawing/2014/main" id="{96BAC90C-B756-42BC-87E3-60706D7D59D7}"/>
                </a:ext>
              </a:extLst>
            </p:cNvPr>
            <p:cNvGrpSpPr/>
            <p:nvPr/>
          </p:nvGrpSpPr>
          <p:grpSpPr>
            <a:xfrm>
              <a:off x="1984360" y="1364763"/>
              <a:ext cx="1383740" cy="4585311"/>
              <a:chOff x="1782223" y="1364763"/>
              <a:chExt cx="1383740" cy="4585311"/>
            </a:xfrm>
          </p:grpSpPr>
          <p:sp>
            <p:nvSpPr>
              <p:cNvPr id="355" name="矩形: 圆角 77">
                <a:extLst/>
              </p:cNvPr>
              <p:cNvSpPr/>
              <p:nvPr/>
            </p:nvSpPr>
            <p:spPr bwMode="auto">
              <a:xfrm>
                <a:off x="1782223" y="192255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4" name="矩形: 圆角 85">
                <a:extLst/>
              </p:cNvPr>
              <p:cNvSpPr/>
              <p:nvPr/>
            </p:nvSpPr>
            <p:spPr bwMode="auto">
              <a:xfrm>
                <a:off x="1782223" y="2600044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0" name="矩形: 圆角 92">
                <a:extLst/>
              </p:cNvPr>
              <p:cNvSpPr/>
              <p:nvPr/>
            </p:nvSpPr>
            <p:spPr bwMode="auto">
              <a:xfrm>
                <a:off x="1782223" y="3279651"/>
                <a:ext cx="1333809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6" name="矩形: 圆角 99">
                <a:extLst/>
              </p:cNvPr>
              <p:cNvSpPr/>
              <p:nvPr/>
            </p:nvSpPr>
            <p:spPr bwMode="auto">
              <a:xfrm>
                <a:off x="1782223" y="3957141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2" name="矩形: 圆角 106">
                <a:extLst/>
              </p:cNvPr>
              <p:cNvSpPr/>
              <p:nvPr/>
            </p:nvSpPr>
            <p:spPr bwMode="auto">
              <a:xfrm>
                <a:off x="1782223" y="4636749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87" name="图片 6" descr="中国电科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98149" y="1962865"/>
                <a:ext cx="1101957" cy="57750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8" name="图片 9" descr="生态圈合作伙伴-01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36" t="31708" r="25406" b="22421"/>
              <a:stretch>
                <a:fillRect/>
              </a:stretch>
            </p:blipFill>
            <p:spPr bwMode="auto">
              <a:xfrm>
                <a:off x="1909489" y="3320470"/>
                <a:ext cx="1079276" cy="5000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5" name="图片 30" descr="生态圈合作伙伴-01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09" r="3789"/>
              <a:stretch>
                <a:fillRect/>
              </a:stretch>
            </p:blipFill>
            <p:spPr bwMode="auto">
              <a:xfrm>
                <a:off x="1946235" y="2679964"/>
                <a:ext cx="1005784" cy="5605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7" name="图片 36" descr="生态圈合作伙伴-01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7" r="5682"/>
              <a:stretch>
                <a:fillRect/>
              </a:stretch>
            </p:blipFill>
            <p:spPr bwMode="auto">
              <a:xfrm>
                <a:off x="1982981" y="3994347"/>
                <a:ext cx="932292" cy="548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81" name="文本框 480"/>
              <p:cNvSpPr txBox="1"/>
              <p:nvPr/>
            </p:nvSpPr>
            <p:spPr>
              <a:xfrm>
                <a:off x="1798559" y="1364763"/>
                <a:ext cx="1367404" cy="35038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 defTabSz="1219078" fontAlgn="ctr"/>
                <a:r>
                  <a:rPr lang="en-US" sz="1600" b="1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System integration</a:t>
                </a:r>
                <a:endParaRPr lang="en-US" sz="1600" b="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3" name="矩形: 圆角 106">
                <a:extLst/>
              </p:cNvPr>
              <p:cNvSpPr/>
              <p:nvPr/>
            </p:nvSpPr>
            <p:spPr bwMode="auto">
              <a:xfrm>
                <a:off x="1782223" y="532551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91" name="图片 24" descr="生态圈合作伙伴-012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05" t="22510" r="2948" b="23306"/>
              <a:stretch>
                <a:fillRect/>
              </a:stretch>
            </p:blipFill>
            <p:spPr bwMode="auto">
              <a:xfrm>
                <a:off x="1947274" y="4795633"/>
                <a:ext cx="1003706" cy="306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" name="图片 7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73423" y="5479210"/>
                <a:ext cx="1151409" cy="368451"/>
              </a:xfrm>
              <a:prstGeom prst="rect">
                <a:avLst/>
              </a:prstGeom>
            </p:spPr>
          </p:pic>
        </p:grpSp>
        <p:grpSp>
          <p:nvGrpSpPr>
            <p:cNvPr id="15" name="组合 14">
              <a:extLst>
                <a:ext uri="{FF2B5EF4-FFF2-40B4-BE49-F238E27FC236}">
                  <a16:creationId xmlns="" xmlns:a16="http://schemas.microsoft.com/office/drawing/2014/main" id="{7FA4FB6A-D0C4-4B63-9F2A-7556DEC1A4C4}"/>
                </a:ext>
              </a:extLst>
            </p:cNvPr>
            <p:cNvGrpSpPr/>
            <p:nvPr/>
          </p:nvGrpSpPr>
          <p:grpSpPr>
            <a:xfrm>
              <a:off x="3229705" y="1382313"/>
              <a:ext cx="1788988" cy="4567761"/>
              <a:chOff x="3036154" y="1382313"/>
              <a:chExt cx="1788988" cy="4567761"/>
            </a:xfrm>
          </p:grpSpPr>
          <p:sp>
            <p:nvSpPr>
              <p:cNvPr id="356" name="矩形: 圆角 78">
                <a:extLst/>
              </p:cNvPr>
              <p:cNvSpPr/>
              <p:nvPr/>
            </p:nvSpPr>
            <p:spPr bwMode="auto">
              <a:xfrm>
                <a:off x="3222383" y="192255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5" name="矩形: 圆角 86">
                <a:extLst/>
              </p:cNvPr>
              <p:cNvSpPr/>
              <p:nvPr/>
            </p:nvSpPr>
            <p:spPr bwMode="auto">
              <a:xfrm>
                <a:off x="3222383" y="2600044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1" name="矩形: 圆角 93">
                <a:extLst/>
              </p:cNvPr>
              <p:cNvSpPr/>
              <p:nvPr/>
            </p:nvSpPr>
            <p:spPr bwMode="auto">
              <a:xfrm>
                <a:off x="3222383" y="3279651"/>
                <a:ext cx="1333809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7" name="矩形: 圆角 100">
                <a:extLst/>
              </p:cNvPr>
              <p:cNvSpPr/>
              <p:nvPr/>
            </p:nvSpPr>
            <p:spPr bwMode="auto">
              <a:xfrm>
                <a:off x="3222383" y="3957141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3" name="矩形: 圆角 107">
                <a:extLst/>
              </p:cNvPr>
              <p:cNvSpPr/>
              <p:nvPr/>
            </p:nvSpPr>
            <p:spPr bwMode="auto">
              <a:xfrm>
                <a:off x="3222383" y="4636749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08" name="图片 67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509" b="18803"/>
              <a:stretch>
                <a:fillRect/>
              </a:stretch>
            </p:blipFill>
            <p:spPr bwMode="auto">
              <a:xfrm>
                <a:off x="3309159" y="2032065"/>
                <a:ext cx="1160257" cy="4391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3" name="图片 72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3146" b="13651"/>
              <a:stretch>
                <a:fillRect/>
              </a:stretch>
            </p:blipFill>
            <p:spPr bwMode="auto">
              <a:xfrm>
                <a:off x="3304342" y="2717328"/>
                <a:ext cx="1169890" cy="4330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80" name="文本框 479"/>
              <p:cNvSpPr txBox="1"/>
              <p:nvPr/>
            </p:nvSpPr>
            <p:spPr>
              <a:xfrm>
                <a:off x="3036154" y="1382313"/>
                <a:ext cx="1788988" cy="35038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 defTabSz="1219078" fontAlgn="ctr"/>
                <a:r>
                  <a:rPr lang="en-US" sz="1600" b="1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Investment and financing</a:t>
                </a:r>
                <a:endParaRPr lang="en-US" sz="1600" b="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86" name="图片 36" descr="生态圈合作伙伴-01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7" r="5682"/>
              <a:stretch>
                <a:fillRect/>
              </a:stretch>
            </p:blipFill>
            <p:spPr bwMode="auto">
              <a:xfrm>
                <a:off x="3423141" y="3325521"/>
                <a:ext cx="932292" cy="548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8" name="图片 24" descr="生态圈合作伙伴-012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05" t="22510" r="2948" b="23306"/>
              <a:stretch>
                <a:fillRect/>
              </a:stretch>
            </p:blipFill>
            <p:spPr bwMode="auto">
              <a:xfrm>
                <a:off x="3387434" y="4114622"/>
                <a:ext cx="1003706" cy="306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" name="图片 5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4161" y="4731051"/>
                <a:ext cx="1050253" cy="420101"/>
              </a:xfrm>
              <a:prstGeom prst="rect">
                <a:avLst/>
              </a:prstGeom>
            </p:spPr>
          </p:pic>
          <p:sp>
            <p:nvSpPr>
              <p:cNvPr id="84" name="矩形: 圆角 107">
                <a:extLst/>
              </p:cNvPr>
              <p:cNvSpPr/>
              <p:nvPr/>
            </p:nvSpPr>
            <p:spPr bwMode="auto">
              <a:xfrm>
                <a:off x="3222383" y="532551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52874" y="5397522"/>
                <a:ext cx="472827" cy="472827"/>
              </a:xfrm>
              <a:prstGeom prst="rect">
                <a:avLst/>
              </a:prstGeom>
            </p:spPr>
          </p:pic>
        </p:grpSp>
        <p:grpSp>
          <p:nvGrpSpPr>
            <p:cNvPr id="14" name="组合 13">
              <a:extLst>
                <a:ext uri="{FF2B5EF4-FFF2-40B4-BE49-F238E27FC236}">
                  <a16:creationId xmlns="" xmlns:a16="http://schemas.microsoft.com/office/drawing/2014/main" id="{FA8948F0-FD5D-4536-9892-1F276E874745}"/>
                </a:ext>
              </a:extLst>
            </p:cNvPr>
            <p:cNvGrpSpPr/>
            <p:nvPr/>
          </p:nvGrpSpPr>
          <p:grpSpPr>
            <a:xfrm>
              <a:off x="4847508" y="1552248"/>
              <a:ext cx="1681999" cy="4397826"/>
              <a:chOff x="4662543" y="1552248"/>
              <a:chExt cx="1681999" cy="4397826"/>
            </a:xfrm>
          </p:grpSpPr>
          <p:sp>
            <p:nvSpPr>
              <p:cNvPr id="359" name="矩形: 圆角 79">
                <a:extLst/>
              </p:cNvPr>
              <p:cNvSpPr/>
              <p:nvPr/>
            </p:nvSpPr>
            <p:spPr bwMode="auto">
              <a:xfrm>
                <a:off x="4662543" y="192255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6" name="矩形: 圆角 87">
                <a:extLst/>
              </p:cNvPr>
              <p:cNvSpPr/>
              <p:nvPr/>
            </p:nvSpPr>
            <p:spPr bwMode="auto">
              <a:xfrm>
                <a:off x="4662543" y="2600044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2" name="矩形: 圆角 94">
                <a:extLst/>
              </p:cNvPr>
              <p:cNvSpPr/>
              <p:nvPr/>
            </p:nvSpPr>
            <p:spPr bwMode="auto">
              <a:xfrm>
                <a:off x="4662543" y="3279651"/>
                <a:ext cx="1333809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8" name="矩形: 圆角 101">
                <a:extLst/>
              </p:cNvPr>
              <p:cNvSpPr/>
              <p:nvPr/>
            </p:nvSpPr>
            <p:spPr bwMode="auto">
              <a:xfrm>
                <a:off x="4662543" y="3957141"/>
                <a:ext cx="1333809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4" name="矩形: 圆角 108">
                <a:extLst/>
              </p:cNvPr>
              <p:cNvSpPr/>
              <p:nvPr/>
            </p:nvSpPr>
            <p:spPr bwMode="auto">
              <a:xfrm>
                <a:off x="4662543" y="4636749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89" name="图片 12" descr="生态圈合作伙伴-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48" r="6822"/>
              <a:stretch>
                <a:fillRect/>
              </a:stretch>
            </p:blipFill>
            <p:spPr bwMode="auto">
              <a:xfrm>
                <a:off x="4826426" y="3321306"/>
                <a:ext cx="1006043" cy="6229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3" name="图片 24" descr="生态圈合作伙伴-012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05" t="22510" r="2948" b="23306"/>
              <a:stretch>
                <a:fillRect/>
              </a:stretch>
            </p:blipFill>
            <p:spPr bwMode="auto">
              <a:xfrm>
                <a:off x="4827594" y="2750678"/>
                <a:ext cx="1003706" cy="306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8" name="文本框 477"/>
              <p:cNvSpPr txBox="1"/>
              <p:nvPr/>
            </p:nvSpPr>
            <p:spPr>
              <a:xfrm>
                <a:off x="5031929" y="1552248"/>
                <a:ext cx="1312613" cy="350384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defTabSz="1219078" fontAlgn="ctr"/>
                <a:r>
                  <a:rPr lang="en-US" sz="1600" b="1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Operations</a:t>
                </a:r>
                <a:endParaRPr lang="en-US" sz="1600" b="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83" name="图片 9" descr="生态圈合作伙伴-01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36" t="31708" r="25406" b="22421"/>
              <a:stretch>
                <a:fillRect/>
              </a:stretch>
            </p:blipFill>
            <p:spPr bwMode="auto">
              <a:xfrm>
                <a:off x="4789809" y="1941570"/>
                <a:ext cx="1079276" cy="5000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5" name="图片 36" descr="生态圈合作伙伴-01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7" r="5682"/>
              <a:stretch>
                <a:fillRect/>
              </a:stretch>
            </p:blipFill>
            <p:spPr bwMode="auto">
              <a:xfrm>
                <a:off x="4863301" y="4674580"/>
                <a:ext cx="932292" cy="548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5" name="矩形: 圆角 108">
                <a:extLst/>
              </p:cNvPr>
              <p:cNvSpPr/>
              <p:nvPr/>
            </p:nvSpPr>
            <p:spPr bwMode="auto">
              <a:xfrm>
                <a:off x="4662543" y="5325514"/>
                <a:ext cx="1333809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97" name="图片 96"/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93034" y="4024392"/>
                <a:ext cx="472827" cy="472827"/>
              </a:xfrm>
              <a:prstGeom prst="rect">
                <a:avLst/>
              </a:prstGeom>
            </p:spPr>
          </p:pic>
          <p:pic>
            <p:nvPicPr>
              <p:cNvPr id="394" name="图片 27" descr="生态圈合作伙伴-12"/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41" t="18085" r="4735" b="25922"/>
              <a:stretch>
                <a:fillRect/>
              </a:stretch>
            </p:blipFill>
            <p:spPr bwMode="auto">
              <a:xfrm>
                <a:off x="4819154" y="5490469"/>
                <a:ext cx="1020586" cy="330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" name="组合 10">
              <a:extLst>
                <a:ext uri="{FF2B5EF4-FFF2-40B4-BE49-F238E27FC236}">
                  <a16:creationId xmlns="" xmlns:a16="http://schemas.microsoft.com/office/drawing/2014/main" id="{B3C195C4-FA3D-49AB-9A73-A53A20EE0107}"/>
                </a:ext>
              </a:extLst>
            </p:cNvPr>
            <p:cNvGrpSpPr/>
            <p:nvPr/>
          </p:nvGrpSpPr>
          <p:grpSpPr>
            <a:xfrm>
              <a:off x="6279083" y="1552062"/>
              <a:ext cx="1335927" cy="4392404"/>
              <a:chOff x="6068360" y="1552062"/>
              <a:chExt cx="1335927" cy="4392404"/>
            </a:xfrm>
          </p:grpSpPr>
          <p:sp>
            <p:nvSpPr>
              <p:cNvPr id="98" name="矩形: 圆角 81">
                <a:extLst/>
              </p:cNvPr>
              <p:cNvSpPr/>
              <p:nvPr/>
            </p:nvSpPr>
            <p:spPr bwMode="auto">
              <a:xfrm>
                <a:off x="6068360" y="1916946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9" name="矩形: 圆角 89">
                <a:extLst/>
              </p:cNvPr>
              <p:cNvSpPr/>
              <p:nvPr/>
            </p:nvSpPr>
            <p:spPr bwMode="auto">
              <a:xfrm>
                <a:off x="6068360" y="2594436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0" name="矩形: 圆角 96">
                <a:extLst/>
              </p:cNvPr>
              <p:cNvSpPr/>
              <p:nvPr/>
            </p:nvSpPr>
            <p:spPr bwMode="auto">
              <a:xfrm>
                <a:off x="6068360" y="3274043"/>
                <a:ext cx="1335927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1" name="矩形: 圆角 103">
                <a:extLst/>
              </p:cNvPr>
              <p:cNvSpPr/>
              <p:nvPr/>
            </p:nvSpPr>
            <p:spPr bwMode="auto">
              <a:xfrm>
                <a:off x="6068360" y="3951533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矩形: 圆角 110">
                <a:extLst/>
              </p:cNvPr>
              <p:cNvSpPr/>
              <p:nvPr/>
            </p:nvSpPr>
            <p:spPr bwMode="auto">
              <a:xfrm>
                <a:off x="6068360" y="4631141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6302903" y="1552062"/>
                <a:ext cx="1068883" cy="605209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 defTabSz="1219078" fontAlgn="ctr"/>
                <a:r>
                  <a:rPr lang="en-US" sz="1600" b="1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Platform</a:t>
                </a:r>
                <a:endParaRPr lang="en-US" sz="1600" b="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9" name="矩形: 圆角 110">
                <a:extLst/>
              </p:cNvPr>
              <p:cNvSpPr/>
              <p:nvPr/>
            </p:nvSpPr>
            <p:spPr bwMode="auto">
              <a:xfrm>
                <a:off x="6068360" y="5319906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04" name="图片 57" descr="生态圈合作伙伴-19"/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154" t="30205" r="5997" b="25468"/>
              <a:stretch>
                <a:fillRect/>
              </a:stretch>
            </p:blipFill>
            <p:spPr bwMode="auto">
              <a:xfrm>
                <a:off x="6196036" y="2107076"/>
                <a:ext cx="1080575" cy="295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0" name="图片 45" descr="生态圈合作伙伴-15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28" r="7576"/>
              <a:stretch>
                <a:fillRect/>
              </a:stretch>
            </p:blipFill>
            <p:spPr bwMode="auto">
              <a:xfrm>
                <a:off x="6196321" y="2584923"/>
                <a:ext cx="1080004" cy="6595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" name="图片 60" descr="生态圈合作伙伴-20"/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6" t="33678" r="4105" b="28831"/>
              <a:stretch>
                <a:fillRect/>
              </a:stretch>
            </p:blipFill>
            <p:spPr bwMode="auto">
              <a:xfrm>
                <a:off x="6169002" y="3498298"/>
                <a:ext cx="1134643" cy="240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0" name="图片 69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710" b="16776"/>
              <a:stretch>
                <a:fillRect/>
              </a:stretch>
            </p:blipFill>
            <p:spPr bwMode="auto">
              <a:xfrm>
                <a:off x="6302903" y="4033218"/>
                <a:ext cx="866841" cy="469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4" name="图片 73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443" b="19046"/>
              <a:stretch>
                <a:fillRect/>
              </a:stretch>
            </p:blipFill>
            <p:spPr bwMode="auto">
              <a:xfrm>
                <a:off x="6194412" y="4703281"/>
                <a:ext cx="1083823" cy="4817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图片 12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09077" y="5487816"/>
                <a:ext cx="1054493" cy="346006"/>
              </a:xfrm>
              <a:prstGeom prst="rect">
                <a:avLst/>
              </a:prstGeom>
            </p:spPr>
          </p:pic>
        </p:grpSp>
      </p:grpSp>
      <p:grpSp>
        <p:nvGrpSpPr>
          <p:cNvPr id="18" name="组合 17">
            <a:extLst>
              <a:ext uri="{FF2B5EF4-FFF2-40B4-BE49-F238E27FC236}">
                <a16:creationId xmlns="" xmlns:a16="http://schemas.microsoft.com/office/drawing/2014/main" id="{07991E02-C3F8-4F7D-8B7E-F96D80AE8AC8}"/>
              </a:ext>
            </a:extLst>
          </p:cNvPr>
          <p:cNvGrpSpPr/>
          <p:nvPr/>
        </p:nvGrpSpPr>
        <p:grpSpPr>
          <a:xfrm>
            <a:off x="7578166" y="1528963"/>
            <a:ext cx="4061529" cy="4271597"/>
            <a:chOff x="7823873" y="1529215"/>
            <a:chExt cx="4203450" cy="4420859"/>
          </a:xfrm>
        </p:grpSpPr>
        <p:sp>
          <p:nvSpPr>
            <p:cNvPr id="482" name="文本框 481"/>
            <p:cNvSpPr txBox="1"/>
            <p:nvPr/>
          </p:nvSpPr>
          <p:spPr>
            <a:xfrm>
              <a:off x="9319608" y="1529215"/>
              <a:ext cx="1347453" cy="3503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1219078" fontAlgn="ctr"/>
              <a:r>
                <a:rPr lang="en-US" sz="16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Application</a:t>
              </a:r>
              <a:endParaRPr lang="en-US" sz="1600" b="1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4" name="组合 3">
              <a:extLst>
                <a:ext uri="{FF2B5EF4-FFF2-40B4-BE49-F238E27FC236}">
                  <a16:creationId xmlns="" xmlns:a16="http://schemas.microsoft.com/office/drawing/2014/main" id="{77D9B74E-42A0-4517-871D-91E4DEF7B3AC}"/>
                </a:ext>
              </a:extLst>
            </p:cNvPr>
            <p:cNvGrpSpPr/>
            <p:nvPr/>
          </p:nvGrpSpPr>
          <p:grpSpPr>
            <a:xfrm>
              <a:off x="7823873" y="1900105"/>
              <a:ext cx="4203450" cy="4049969"/>
              <a:chOff x="7650275" y="1900105"/>
              <a:chExt cx="4203450" cy="4049969"/>
            </a:xfrm>
          </p:grpSpPr>
          <p:sp>
            <p:nvSpPr>
              <p:cNvPr id="360" name="矩形: 圆角 80">
                <a:extLst/>
              </p:cNvPr>
              <p:cNvSpPr/>
              <p:nvPr/>
            </p:nvSpPr>
            <p:spPr bwMode="auto">
              <a:xfrm>
                <a:off x="7650275" y="1922554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1" name="矩形: 圆角 81">
                <a:extLst/>
              </p:cNvPr>
              <p:cNvSpPr/>
              <p:nvPr/>
            </p:nvSpPr>
            <p:spPr bwMode="auto">
              <a:xfrm>
                <a:off x="9086696" y="1922554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7" name="矩形: 圆角 88">
                <a:extLst/>
              </p:cNvPr>
              <p:cNvSpPr/>
              <p:nvPr/>
            </p:nvSpPr>
            <p:spPr bwMode="auto">
              <a:xfrm>
                <a:off x="7650275" y="2600044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68" name="矩形: 圆角 89">
                <a:extLst/>
              </p:cNvPr>
              <p:cNvSpPr/>
              <p:nvPr/>
            </p:nvSpPr>
            <p:spPr bwMode="auto">
              <a:xfrm>
                <a:off x="9086696" y="2600044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3" name="矩形: 圆角 95">
                <a:extLst/>
              </p:cNvPr>
              <p:cNvSpPr/>
              <p:nvPr/>
            </p:nvSpPr>
            <p:spPr bwMode="auto">
              <a:xfrm>
                <a:off x="7650275" y="3279651"/>
                <a:ext cx="1335927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4" name="矩形: 圆角 96">
                <a:extLst/>
              </p:cNvPr>
              <p:cNvSpPr/>
              <p:nvPr/>
            </p:nvSpPr>
            <p:spPr bwMode="auto">
              <a:xfrm>
                <a:off x="9086696" y="3279651"/>
                <a:ext cx="1335927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79" name="矩形: 圆角 102">
                <a:extLst/>
              </p:cNvPr>
              <p:cNvSpPr/>
              <p:nvPr/>
            </p:nvSpPr>
            <p:spPr bwMode="auto">
              <a:xfrm>
                <a:off x="7650275" y="3957141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0" name="矩形: 圆角 103">
                <a:extLst/>
              </p:cNvPr>
              <p:cNvSpPr/>
              <p:nvPr/>
            </p:nvSpPr>
            <p:spPr bwMode="auto">
              <a:xfrm>
                <a:off x="9086696" y="3957141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5" name="矩形: 圆角 109">
                <a:extLst/>
              </p:cNvPr>
              <p:cNvSpPr/>
              <p:nvPr/>
            </p:nvSpPr>
            <p:spPr bwMode="auto">
              <a:xfrm>
                <a:off x="7650275" y="4636749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86" name="矩形: 圆角 110">
                <a:extLst/>
              </p:cNvPr>
              <p:cNvSpPr/>
              <p:nvPr/>
            </p:nvSpPr>
            <p:spPr bwMode="auto">
              <a:xfrm>
                <a:off x="9086696" y="4636749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99" name="图片 42" descr="生态圈合作伙伴-015"/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05" r="6313"/>
              <a:stretch>
                <a:fillRect/>
              </a:stretch>
            </p:blipFill>
            <p:spPr bwMode="auto">
              <a:xfrm>
                <a:off x="9207594" y="2622387"/>
                <a:ext cx="1084471" cy="634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1" name="图片 48" descr="生态圈合作伙伴-16"/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208" r="5997"/>
              <a:stretch>
                <a:fillRect/>
              </a:stretch>
            </p:blipFill>
            <p:spPr bwMode="auto">
              <a:xfrm>
                <a:off x="9146011" y="1900105"/>
                <a:ext cx="1223976" cy="7473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2" name="图片 51" descr="生态圈合作伙伴-17"/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7" r="6313"/>
              <a:stretch>
                <a:fillRect/>
              </a:stretch>
            </p:blipFill>
            <p:spPr bwMode="auto">
              <a:xfrm>
                <a:off x="7823964" y="3977824"/>
                <a:ext cx="997496" cy="591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9" name="图片 68"/>
              <p:cNvPicPr>
                <a:picLocks noChangeAspect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532" b="13364"/>
              <a:stretch>
                <a:fillRect/>
              </a:stretch>
            </p:blipFill>
            <p:spPr bwMode="auto">
              <a:xfrm>
                <a:off x="9309636" y="3331081"/>
                <a:ext cx="890992" cy="5000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2" name="图片 71"/>
              <p:cNvPicPr>
                <a:picLocks noChangeAspect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92137" y="3331081"/>
                <a:ext cx="836923" cy="5716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6" name="图片 75"/>
              <p:cNvPicPr>
                <a:picLocks noChangeAspect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416" b="16190"/>
              <a:stretch>
                <a:fillRect/>
              </a:stretch>
            </p:blipFill>
            <p:spPr bwMode="auto">
              <a:xfrm>
                <a:off x="9301876" y="4764267"/>
                <a:ext cx="906514" cy="420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6" name="矩形: 圆角 109">
                <a:extLst/>
              </p:cNvPr>
              <p:cNvSpPr/>
              <p:nvPr/>
            </p:nvSpPr>
            <p:spPr bwMode="auto">
              <a:xfrm>
                <a:off x="7650275" y="5325514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7" name="矩形: 圆角 110">
                <a:extLst/>
              </p:cNvPr>
              <p:cNvSpPr/>
              <p:nvPr/>
            </p:nvSpPr>
            <p:spPr bwMode="auto">
              <a:xfrm>
                <a:off x="9086696" y="5325514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415" name="图片 74"/>
              <p:cNvPicPr>
                <a:picLocks noChangeAspect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6089" b="25243"/>
              <a:stretch>
                <a:fillRect/>
              </a:stretch>
            </p:blipFill>
            <p:spPr bwMode="auto">
              <a:xfrm>
                <a:off x="9239982" y="5458750"/>
                <a:ext cx="1019693" cy="3219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" name="图片 63" descr="生态圈合作伙伴-21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25" r="4419"/>
              <a:stretch>
                <a:fillRect/>
              </a:stretch>
            </p:blipFill>
            <p:spPr bwMode="auto">
              <a:xfrm>
                <a:off x="7815957" y="4660941"/>
                <a:ext cx="1023443" cy="576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0" name="图片 15" descr="生态圈合作伙伴-0"/>
              <p:cNvPicPr>
                <a:picLocks noChangeAspect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112" t="28152" r="6218" b="39017"/>
              <a:stretch>
                <a:fillRect/>
              </a:stretch>
            </p:blipFill>
            <p:spPr bwMode="auto">
              <a:xfrm>
                <a:off x="7701524" y="5508454"/>
                <a:ext cx="1233427" cy="2474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2" name="矩形: 圆角 81">
                <a:extLst/>
              </p:cNvPr>
              <p:cNvSpPr/>
              <p:nvPr/>
            </p:nvSpPr>
            <p:spPr bwMode="auto">
              <a:xfrm>
                <a:off x="10517798" y="1916819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3" name="矩形: 圆角 89">
                <a:extLst/>
              </p:cNvPr>
              <p:cNvSpPr/>
              <p:nvPr/>
            </p:nvSpPr>
            <p:spPr bwMode="auto">
              <a:xfrm>
                <a:off x="10517798" y="2594309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矩形: 圆角 96">
                <a:extLst/>
              </p:cNvPr>
              <p:cNvSpPr/>
              <p:nvPr/>
            </p:nvSpPr>
            <p:spPr bwMode="auto">
              <a:xfrm>
                <a:off x="10517798" y="3273916"/>
                <a:ext cx="1335927" cy="62456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矩形: 圆角 103">
                <a:extLst/>
              </p:cNvPr>
              <p:cNvSpPr/>
              <p:nvPr/>
            </p:nvSpPr>
            <p:spPr bwMode="auto">
              <a:xfrm>
                <a:off x="10517798" y="3951406"/>
                <a:ext cx="1335927" cy="62667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6" name="矩形: 圆角 110">
                <a:extLst/>
              </p:cNvPr>
              <p:cNvSpPr/>
              <p:nvPr/>
            </p:nvSpPr>
            <p:spPr bwMode="auto">
              <a:xfrm>
                <a:off x="10517798" y="4631014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3" name="矩形: 圆角 110">
                <a:extLst/>
              </p:cNvPr>
              <p:cNvSpPr/>
              <p:nvPr/>
            </p:nvSpPr>
            <p:spPr bwMode="auto">
              <a:xfrm>
                <a:off x="10517798" y="5319779"/>
                <a:ext cx="1335927" cy="624560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320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92" name="图片 21" descr="生态圈合作伙伴-11"/>
              <p:cNvPicPr>
                <a:picLocks noChangeAspect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35" r="5006"/>
              <a:stretch>
                <a:fillRect/>
              </a:stretch>
            </p:blipFill>
            <p:spPr bwMode="auto">
              <a:xfrm>
                <a:off x="10648001" y="5336419"/>
                <a:ext cx="1050970" cy="6096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6" name="图片 33" descr="生态圈合作伙伴-13"/>
              <p:cNvPicPr>
                <a:picLocks noChangeAspect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208" r="8208" b="26453"/>
              <a:stretch>
                <a:fillRect/>
              </a:stretch>
            </p:blipFill>
            <p:spPr bwMode="auto">
              <a:xfrm>
                <a:off x="10686317" y="4026240"/>
                <a:ext cx="1049412" cy="483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1" name="图片 70"/>
              <p:cNvPicPr>
                <a:picLocks noChangeAspect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47576" y="4689073"/>
                <a:ext cx="821307" cy="5580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3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48844" y="2141389"/>
                <a:ext cx="1190625" cy="209550"/>
              </a:xfrm>
              <a:prstGeom prst="rect">
                <a:avLst/>
              </a:prstGeom>
            </p:spPr>
          </p:pic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28424" y="2032065"/>
                <a:ext cx="1124731" cy="459074"/>
              </a:xfrm>
              <a:prstGeom prst="rect">
                <a:avLst/>
              </a:prstGeom>
            </p:spPr>
          </p:pic>
          <p:pic>
            <p:nvPicPr>
              <p:cNvPr id="128" name="图片 45" descr="生态圈合作伙伴-15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28" r="7576"/>
              <a:stretch>
                <a:fillRect/>
              </a:stretch>
            </p:blipFill>
            <p:spPr bwMode="auto">
              <a:xfrm>
                <a:off x="9219416" y="3936196"/>
                <a:ext cx="1080004" cy="6595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3" name="图片 54" descr="生态圈合作伙伴-18"/>
              <p:cNvPicPr>
                <a:picLocks noChangeAspect="1"/>
              </p:cNvPicPr>
              <p:nvPr/>
            </p:nvPicPr>
            <p:blipFill>
              <a:blip r:embed="rId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7" t="17961" r="7576" b="19171"/>
              <a:stretch>
                <a:fillRect/>
              </a:stretch>
            </p:blipFill>
            <p:spPr bwMode="auto">
              <a:xfrm>
                <a:off x="10681773" y="3382457"/>
                <a:ext cx="1050451" cy="397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0" name="Picture 15" descr="http://img.jdzj.com/UserDocument/2012Y/shunyuankj/Picture/201284101933.jpg"/>
              <p:cNvPicPr>
                <a:picLocks noChangeAspect="1" noChangeArrowheads="1"/>
              </p:cNvPicPr>
              <p:nvPr/>
            </p:nvPicPr>
            <p:blipFill rotWithShape="1">
              <a:blip r:embed="rId40" cstate="print"/>
              <a:srcRect l="17202" t="2944" r="12705" b="7065"/>
              <a:stretch/>
            </p:blipFill>
            <p:spPr bwMode="auto">
              <a:xfrm>
                <a:off x="8054193" y="2696548"/>
                <a:ext cx="530870" cy="453784"/>
              </a:xfrm>
              <a:prstGeom prst="rect">
                <a:avLst/>
              </a:pr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16200000" scaled="0"/>
              </a:gradFill>
              <a:ln w="9525">
                <a:noFill/>
                <a:miter lim="800000"/>
              </a:ln>
              <a:effectLst/>
            </p:spPr>
          </p:pic>
          <p:pic>
            <p:nvPicPr>
              <p:cNvPr id="407" name="图片 66" descr="生态圈合作伙伴-22"/>
              <p:cNvPicPr>
                <a:picLocks noChangeAspect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97" r="5997"/>
              <a:stretch>
                <a:fillRect/>
              </a:stretch>
            </p:blipFill>
            <p:spPr bwMode="auto">
              <a:xfrm>
                <a:off x="10695983" y="2635059"/>
                <a:ext cx="979555" cy="58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303760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51734E52-0710-4F62-AE08-15E54D37FF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432"/>
          <a:stretch/>
        </p:blipFill>
        <p:spPr>
          <a:xfrm>
            <a:off x="3135658" y="99"/>
            <a:ext cx="6641928" cy="6857802"/>
          </a:xfrm>
          <a:prstGeom prst="parallelogram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6942ACA2-1494-4AF8-B400-DE70539CF8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371" r="45277"/>
          <a:stretch/>
        </p:blipFill>
        <p:spPr>
          <a:xfrm>
            <a:off x="-1812207" y="99"/>
            <a:ext cx="6696601" cy="6857802"/>
          </a:xfrm>
          <a:prstGeom prst="parallelogram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27F4BB63-BFA8-4A66-93A4-C1D400A375F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68" r="16067" b="15443"/>
          <a:stretch/>
        </p:blipFill>
        <p:spPr>
          <a:xfrm>
            <a:off x="7033600" y="99"/>
            <a:ext cx="6866350" cy="6857802"/>
          </a:xfrm>
          <a:prstGeom prst="parallelogram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6A8667D9-B13B-45A6-9CB6-164317864ABC}"/>
              </a:ext>
            </a:extLst>
          </p:cNvPr>
          <p:cNvSpPr/>
          <p:nvPr/>
        </p:nvSpPr>
        <p:spPr>
          <a:xfrm>
            <a:off x="-142203" y="100"/>
            <a:ext cx="12432603" cy="6857802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</a:srgbClr>
              </a:gs>
              <a:gs pos="52000">
                <a:srgbClr val="1F497D">
                  <a:lumMod val="50000"/>
                  <a:alpha val="37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2" name="TextBox 2">
            <a:extLst>
              <a:ext uri="{FF2B5EF4-FFF2-40B4-BE49-F238E27FC236}">
                <a16:creationId xmlns="" xmlns:a16="http://schemas.microsoft.com/office/drawing/2014/main" id="{342EE162-A8BE-4CE3-A97B-B581C6B31110}"/>
              </a:ext>
            </a:extLst>
          </p:cNvPr>
          <p:cNvSpPr txBox="1"/>
          <p:nvPr/>
        </p:nvSpPr>
        <p:spPr>
          <a:xfrm>
            <a:off x="530157" y="590475"/>
            <a:ext cx="5012591" cy="430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97559" fontAlgn="ctr">
              <a:defRPr/>
            </a:pP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City Construction Path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3" name="矩形 2">
            <a:extLst>
              <a:ext uri="{FF2B5EF4-FFF2-40B4-BE49-F238E27FC236}">
                <a16:creationId xmlns="" xmlns:a16="http://schemas.microsoft.com/office/drawing/2014/main" id="{02664A46-250A-45C5-82F2-0360A99697A6}"/>
              </a:ext>
            </a:extLst>
          </p:cNvPr>
          <p:cNvSpPr/>
          <p:nvPr/>
        </p:nvSpPr>
        <p:spPr bwMode="auto">
          <a:xfrm>
            <a:off x="568024" y="5528296"/>
            <a:ext cx="2076425" cy="709053"/>
          </a:xfrm>
          <a:prstGeom prst="homePlate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marL="442780" indent="-442780"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Feasibility analysis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4" name="矩形 3">
            <a:extLst>
              <a:ext uri="{FF2B5EF4-FFF2-40B4-BE49-F238E27FC236}">
                <a16:creationId xmlns="" xmlns:a16="http://schemas.microsoft.com/office/drawing/2014/main" id="{0142BC64-63C4-4120-9B71-00A0A99FFE39}"/>
              </a:ext>
            </a:extLst>
          </p:cNvPr>
          <p:cNvSpPr/>
          <p:nvPr/>
        </p:nvSpPr>
        <p:spPr bwMode="auto">
          <a:xfrm>
            <a:off x="2367213" y="5528296"/>
            <a:ext cx="2076194" cy="709053"/>
          </a:xfrm>
          <a:prstGeom prst="chevron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onceptual design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5" name="矩形 4">
            <a:extLst>
              <a:ext uri="{FF2B5EF4-FFF2-40B4-BE49-F238E27FC236}">
                <a16:creationId xmlns="" xmlns:a16="http://schemas.microsoft.com/office/drawing/2014/main" id="{48FA35CC-BE1E-4B24-A1BE-329DFB2D4DC2}"/>
              </a:ext>
            </a:extLst>
          </p:cNvPr>
          <p:cNvSpPr/>
          <p:nvPr/>
        </p:nvSpPr>
        <p:spPr bwMode="auto">
          <a:xfrm>
            <a:off x="4166169" y="5528296"/>
            <a:ext cx="2076194" cy="709053"/>
          </a:xfrm>
          <a:prstGeom prst="chevron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igh-level design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6" name="矩形 5">
            <a:extLst>
              <a:ext uri="{FF2B5EF4-FFF2-40B4-BE49-F238E27FC236}">
                <a16:creationId xmlns="" xmlns:a16="http://schemas.microsoft.com/office/drawing/2014/main" id="{7A4045DE-CE87-4C16-AE4A-572B0FC48929}"/>
              </a:ext>
            </a:extLst>
          </p:cNvPr>
          <p:cNvSpPr/>
          <p:nvPr/>
        </p:nvSpPr>
        <p:spPr bwMode="auto">
          <a:xfrm>
            <a:off x="5965125" y="5528296"/>
            <a:ext cx="2076425" cy="709053"/>
          </a:xfrm>
          <a:prstGeom prst="chevron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idding and procurement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7" name="矩形 6">
            <a:extLst>
              <a:ext uri="{FF2B5EF4-FFF2-40B4-BE49-F238E27FC236}">
                <a16:creationId xmlns="" xmlns:a16="http://schemas.microsoft.com/office/drawing/2014/main" id="{1CA58F02-26B0-43AB-82E6-CE46D13F7551}"/>
              </a:ext>
            </a:extLst>
          </p:cNvPr>
          <p:cNvSpPr/>
          <p:nvPr/>
        </p:nvSpPr>
        <p:spPr bwMode="auto">
          <a:xfrm>
            <a:off x="7764314" y="5528296"/>
            <a:ext cx="2076425" cy="709053"/>
          </a:xfrm>
          <a:prstGeom prst="chevron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Low-level design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8" name="矩形 7">
            <a:extLst>
              <a:ext uri="{FF2B5EF4-FFF2-40B4-BE49-F238E27FC236}">
                <a16:creationId xmlns="" xmlns:a16="http://schemas.microsoft.com/office/drawing/2014/main" id="{81CAF974-0153-4373-970E-23BE6AA449AD}"/>
              </a:ext>
            </a:extLst>
          </p:cNvPr>
          <p:cNvSpPr/>
          <p:nvPr/>
        </p:nvSpPr>
        <p:spPr bwMode="auto">
          <a:xfrm>
            <a:off x="9563501" y="5528296"/>
            <a:ext cx="2076194" cy="709053"/>
          </a:xfrm>
          <a:prstGeom prst="chevron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783906" eaLnBrk="0" fontAlgn="ctr" hangingPunct="0">
              <a:buSzPct val="60000"/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onstruction and operations</a:t>
            </a:r>
            <a:endParaRPr lang="en-US" sz="14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="" xmlns:a16="http://schemas.microsoft.com/office/drawing/2014/main" id="{78E9239D-AB5E-48AA-BC91-6A11BB933682}"/>
              </a:ext>
            </a:extLst>
          </p:cNvPr>
          <p:cNvSpPr/>
          <p:nvPr/>
        </p:nvSpPr>
        <p:spPr>
          <a:xfrm>
            <a:off x="2264135" y="2011275"/>
            <a:ext cx="1295001" cy="1348660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trategic planning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="" xmlns:a16="http://schemas.microsoft.com/office/drawing/2014/main" id="{368DD81A-A326-4ED3-9D8D-4FD4790BEDD2}"/>
              </a:ext>
            </a:extLst>
          </p:cNvPr>
          <p:cNvSpPr/>
          <p:nvPr/>
        </p:nvSpPr>
        <p:spPr>
          <a:xfrm>
            <a:off x="5819352" y="2011275"/>
            <a:ext cx="1295001" cy="1348660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olution design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="" xmlns:a16="http://schemas.microsoft.com/office/drawing/2014/main" id="{57C0AFD6-7534-4EC4-A2C2-6CEB86692500}"/>
              </a:ext>
            </a:extLst>
          </p:cNvPr>
          <p:cNvSpPr/>
          <p:nvPr/>
        </p:nvSpPr>
        <p:spPr>
          <a:xfrm>
            <a:off x="9491759" y="2011275"/>
            <a:ext cx="1295001" cy="1348660"/>
          </a:xfrm>
          <a:prstGeom prst="ellipse">
            <a:avLst/>
          </a:prstGeom>
          <a:gradFill flip="none" rotWithShape="1">
            <a:gsLst>
              <a:gs pos="67000">
                <a:srgbClr val="006F96"/>
              </a:gs>
              <a:gs pos="12000">
                <a:srgbClr val="009ED6"/>
              </a:gs>
              <a:gs pos="100000">
                <a:srgbClr val="006082"/>
              </a:gs>
            </a:gsLst>
            <a:lin ang="5400000" scaled="0"/>
            <a:tileRect/>
          </a:gradFill>
          <a:ln w="12700">
            <a:solidFill>
              <a:srgbClr val="00B6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anchor="ctr">
            <a:noAutofit/>
          </a:bodyPr>
          <a:lstStyle/>
          <a:p>
            <a:pPr algn="ctr" defTabSz="1219078" fontAlgn="ctr"/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19">
            <a:extLst>
              <a:ext uri="{FF2B5EF4-FFF2-40B4-BE49-F238E27FC236}">
                <a16:creationId xmlns="" xmlns:a16="http://schemas.microsoft.com/office/drawing/2014/main" id="{CEDB2446-76DF-48C3-BF2D-FB4C717C0D1B}"/>
              </a:ext>
            </a:extLst>
          </p:cNvPr>
          <p:cNvSpPr txBox="1"/>
          <p:nvPr/>
        </p:nvSpPr>
        <p:spPr>
          <a:xfrm>
            <a:off x="1667556" y="3505170"/>
            <a:ext cx="2463142" cy="720102"/>
          </a:xfrm>
          <a:prstGeom prst="rect">
            <a:avLst/>
          </a:prstGeom>
          <a:noFill/>
        </p:spPr>
        <p:txBody>
          <a:bodyPr wrap="square" lIns="91348" tIns="45673" rIns="91348" bIns="45673" rtlCol="0" anchor="ctr" anchorCtr="0">
            <a:noAutofit/>
          </a:bodyPr>
          <a:lstStyle/>
          <a:p>
            <a:pPr algn="ctr" defTabSz="1219078" fontAlgn="ctr"/>
            <a:r>
              <a:rPr lang="en-US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20+ years</a:t>
            </a:r>
            <a:endParaRPr lang="en-US" altLang="zh-CN" sz="1400" b="1" dirty="0" smtClean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 defTabSz="1219078" fontAlgn="ctr"/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Consulting and planning experience</a:t>
            </a:r>
            <a:endParaRPr lang="en-US" altLang="zh-CN" sz="1600" b="1" dirty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7" name="TextBox 19">
            <a:extLst>
              <a:ext uri="{FF2B5EF4-FFF2-40B4-BE49-F238E27FC236}">
                <a16:creationId xmlns="" xmlns:a16="http://schemas.microsoft.com/office/drawing/2014/main" id="{C0B39ED0-C0EB-4A6E-BEB2-CBDF5469858C}"/>
              </a:ext>
            </a:extLst>
          </p:cNvPr>
          <p:cNvSpPr txBox="1"/>
          <p:nvPr/>
        </p:nvSpPr>
        <p:spPr>
          <a:xfrm>
            <a:off x="8678089" y="3546723"/>
            <a:ext cx="2992037" cy="720102"/>
          </a:xfrm>
          <a:prstGeom prst="rect">
            <a:avLst/>
          </a:prstGeom>
          <a:noFill/>
        </p:spPr>
        <p:txBody>
          <a:bodyPr wrap="square" lIns="91348" tIns="45673" rIns="91348" bIns="45673" rtlCol="0" anchor="ctr" anchorCtr="0">
            <a:noAutofit/>
          </a:bodyPr>
          <a:lstStyle/>
          <a:p>
            <a:pPr algn="ctr" defTabSz="1219078" fontAlgn="ctr"/>
            <a:r>
              <a:rPr lang="en-US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30+ years</a:t>
            </a:r>
            <a:endParaRPr lang="en-US" altLang="zh-CN" sz="1600" b="1" dirty="0" smtClean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 defTabSz="1219078" fontAlgn="ctr"/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Delivery experience and engineering services</a:t>
            </a:r>
            <a:endParaRPr lang="en-US" altLang="zh-CN" sz="1600" b="1" dirty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8" name="箭头: 右 27">
            <a:extLst>
              <a:ext uri="{FF2B5EF4-FFF2-40B4-BE49-F238E27FC236}">
                <a16:creationId xmlns="" xmlns:a16="http://schemas.microsoft.com/office/drawing/2014/main" id="{F8C242C0-4D30-40F9-A510-25AF6B4F265C}"/>
              </a:ext>
            </a:extLst>
          </p:cNvPr>
          <p:cNvSpPr/>
          <p:nvPr/>
        </p:nvSpPr>
        <p:spPr>
          <a:xfrm>
            <a:off x="4652711" y="2442200"/>
            <a:ext cx="312436" cy="393438"/>
          </a:xfrm>
          <a:prstGeom prst="rightArrow">
            <a:avLst/>
          </a:prstGeom>
          <a:solidFill>
            <a:srgbClr val="69FF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9" name="箭头: 右 28">
            <a:extLst>
              <a:ext uri="{FF2B5EF4-FFF2-40B4-BE49-F238E27FC236}">
                <a16:creationId xmlns="" xmlns:a16="http://schemas.microsoft.com/office/drawing/2014/main" id="{1B05B365-63BB-4F78-AC47-D6A4F5FC61F7}"/>
              </a:ext>
            </a:extLst>
          </p:cNvPr>
          <p:cNvSpPr/>
          <p:nvPr/>
        </p:nvSpPr>
        <p:spPr>
          <a:xfrm>
            <a:off x="8456874" y="2442200"/>
            <a:ext cx="312436" cy="393438"/>
          </a:xfrm>
          <a:prstGeom prst="rightArrow">
            <a:avLst/>
          </a:prstGeom>
          <a:solidFill>
            <a:srgbClr val="69FF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Box 19">
            <a:extLst>
              <a:ext uri="{FF2B5EF4-FFF2-40B4-BE49-F238E27FC236}">
                <a16:creationId xmlns="" xmlns:a16="http://schemas.microsoft.com/office/drawing/2014/main" id="{CEDB2446-76DF-48C3-BF2D-FB4C717C0D1B}"/>
              </a:ext>
            </a:extLst>
          </p:cNvPr>
          <p:cNvSpPr txBox="1"/>
          <p:nvPr/>
        </p:nvSpPr>
        <p:spPr>
          <a:xfrm>
            <a:off x="5511648" y="3339021"/>
            <a:ext cx="2060216" cy="941573"/>
          </a:xfrm>
          <a:prstGeom prst="rect">
            <a:avLst/>
          </a:prstGeom>
          <a:noFill/>
        </p:spPr>
        <p:txBody>
          <a:bodyPr wrap="square" lIns="91348" tIns="45673" rIns="91348" bIns="45673" rtlCol="0" anchor="ctr" anchorCtr="0">
            <a:noAutofit/>
          </a:bodyPr>
          <a:lstStyle/>
          <a:p>
            <a:pPr algn="ctr" defTabSz="1219078" fontAlgn="ctr"/>
            <a:endParaRPr lang="en-US" altLang="zh-CN" sz="1200" b="1" dirty="0" smtClean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 defTabSz="1219078" fontAlgn="ctr"/>
            <a:r>
              <a:rPr lang="en-US" sz="1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120+</a:t>
            </a:r>
          </a:p>
          <a:p>
            <a:pPr algn="ctr" defTabSz="1219078" fontAlgn="ctr"/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Project success experience</a:t>
            </a:r>
            <a:endParaRPr lang="en-US" altLang="zh-CN" sz="1600" b="1" dirty="0">
              <a:solidFill>
                <a:srgbClr val="FFC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491759" y="2524339"/>
            <a:ext cx="13227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078" fontAlgn="ctr"/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</a:rPr>
              <a:t>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0421393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A61B4EF8-F22D-4E2E-87B7-47952792CC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1650" b="13943"/>
          <a:stretch/>
        </p:blipFill>
        <p:spPr>
          <a:xfrm>
            <a:off x="379" y="99"/>
            <a:ext cx="12191621" cy="6857803"/>
          </a:xfrm>
          <a:prstGeom prst="rect">
            <a:avLst/>
          </a:prstGeom>
        </p:spPr>
      </p:pic>
      <p:sp>
        <p:nvSpPr>
          <p:cNvPr id="60" name="矩形 59">
            <a:extLst>
              <a:ext uri="{FF2B5EF4-FFF2-40B4-BE49-F238E27FC236}">
                <a16:creationId xmlns="" xmlns:a16="http://schemas.microsoft.com/office/drawing/2014/main" id="{41441CC9-A401-469B-BFA3-794CEEABE835}"/>
              </a:ext>
            </a:extLst>
          </p:cNvPr>
          <p:cNvSpPr/>
          <p:nvPr/>
        </p:nvSpPr>
        <p:spPr>
          <a:xfrm>
            <a:off x="1" y="99"/>
            <a:ext cx="12192000" cy="6857802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81000"/>
                </a:schemeClr>
              </a:gs>
              <a:gs pos="100000">
                <a:srgbClr val="07101B">
                  <a:alpha val="62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23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569870" y="1248515"/>
            <a:ext cx="2120009" cy="4988835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endParaRPr lang="en-US" altLang="zh-CN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" name="AutoShape 6"/>
          <p:cNvSpPr>
            <a:spLocks noChangeArrowheads="1"/>
          </p:cNvSpPr>
          <p:nvPr/>
        </p:nvSpPr>
        <p:spPr bwMode="blackWhite">
          <a:xfrm rot="16200000">
            <a:off x="4769881" y="-636759"/>
            <a:ext cx="4984536" cy="8755088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endParaRPr lang="en-US" altLang="zh-CN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4469844" y="5320066"/>
            <a:ext cx="6610847" cy="336110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One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</a:rPr>
              <a:t>network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 (converged network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4469844" y="4897772"/>
            <a:ext cx="6610848" cy="361966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One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</a:rPr>
              <a:t>cloud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 (distributed cloud architecture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4469846" y="4476712"/>
            <a:ext cx="6610846" cy="360733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One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</a:rPr>
              <a:t>databas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 group (basic database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4473973" y="3220866"/>
            <a:ext cx="1675838" cy="339805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internal portal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 Box 24"/>
          <p:cNvSpPr txBox="1">
            <a:spLocks noChangeArrowheads="1"/>
          </p:cNvSpPr>
          <p:nvPr/>
        </p:nvSpPr>
        <p:spPr bwMode="auto">
          <a:xfrm>
            <a:off x="3059236" y="3978336"/>
            <a:ext cx="1474264" cy="223132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1219078" fontAlgn="ctr">
              <a:spcAft>
                <a:spcPts val="500"/>
              </a:spcAft>
              <a:defRPr/>
            </a:pPr>
            <a:r>
              <a:rPr lang="en-US" sz="12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Map: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geographic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information layer</a:t>
            </a:r>
            <a:endParaRPr lang="en-US" altLang="zh-CN" sz="1200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1219078" fontAlgn="ctr">
              <a:spcAft>
                <a:spcPts val="500"/>
              </a:spcAft>
              <a:defRPr/>
            </a:pPr>
            <a:r>
              <a:rPr lang="en-US" sz="12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Database: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data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management layer</a:t>
            </a:r>
            <a:endParaRPr lang="en-US" altLang="zh-CN" sz="1200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1219078" fontAlgn="ctr">
              <a:spcAft>
                <a:spcPts val="500"/>
              </a:spcAft>
              <a:defRPr/>
            </a:pPr>
            <a:r>
              <a:rPr lang="en-US" sz="12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Cloud: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computing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and storage layer</a:t>
            </a:r>
            <a:endParaRPr lang="en-US" altLang="zh-CN" sz="1200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1219078" fontAlgn="ctr">
              <a:spcAft>
                <a:spcPts val="500"/>
              </a:spcAft>
              <a:defRPr/>
            </a:pPr>
            <a:r>
              <a:rPr lang="en-US" sz="12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Network: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network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communications layer</a:t>
            </a:r>
            <a:endParaRPr lang="en-US" altLang="zh-CN" sz="1200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1219078" fontAlgn="ctr">
              <a:spcAft>
                <a:spcPts val="500"/>
              </a:spcAft>
              <a:defRPr/>
            </a:pPr>
            <a:r>
              <a:rPr lang="en-US" sz="12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Terminal: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IoT 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sensing layer</a:t>
            </a:r>
            <a:endParaRPr lang="en-US" altLang="zh-CN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 Box 24"/>
          <p:cNvSpPr txBox="1">
            <a:spLocks noChangeArrowheads="1"/>
          </p:cNvSpPr>
          <p:nvPr/>
        </p:nvSpPr>
        <p:spPr bwMode="auto">
          <a:xfrm>
            <a:off x="3037299" y="3304688"/>
            <a:ext cx="1341248" cy="590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square" lIns="96616" tIns="48314" rIns="96616" bIns="48314">
            <a:noAutofit/>
          </a:bodyPr>
          <a:lstStyle/>
          <a:p>
            <a:pPr algn="ctr" defTabSz="1219078" fontAlgn="ctr">
              <a:defRPr/>
            </a:pP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</a:rPr>
              <a:t>Data and services</a:t>
            </a:r>
            <a:endParaRPr lang="en-US" sz="16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Box 24"/>
          <p:cNvSpPr txBox="1">
            <a:spLocks noChangeArrowheads="1"/>
          </p:cNvSpPr>
          <p:nvPr/>
        </p:nvSpPr>
        <p:spPr bwMode="auto">
          <a:xfrm>
            <a:off x="2890664" y="2326966"/>
            <a:ext cx="1588652" cy="100063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square" lIns="96616" tIns="48314" rIns="96616" bIns="48314">
            <a:noAutofit/>
          </a:bodyPr>
          <a:lstStyle/>
          <a:p>
            <a:pPr algn="ctr" defTabSz="1219078" fontAlgn="ctr">
              <a:defRPr/>
            </a:pPr>
            <a:r>
              <a:rPr lang="en-US" sz="1467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application layer</a:t>
            </a:r>
            <a:endParaRPr lang="en-US" altLang="zh-CN" sz="1467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1219078" fontAlgn="ctr">
              <a:defRPr/>
            </a:pPr>
            <a:r>
              <a:rPr lang="en-US" sz="1467" dirty="0" smtClean="0">
                <a:solidFill>
                  <a:prstClr val="white"/>
                </a:solidFill>
                <a:latin typeface="Arial" panose="020B0604020202020204" pitchFamily="34" charset="0"/>
              </a:rPr>
              <a:t>SaaS</a:t>
            </a:r>
            <a:endParaRPr lang="en-US" altLang="zh-CN" sz="1467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17" name="直接连接符 16"/>
          <p:cNvCxnSpPr/>
          <p:nvPr/>
        </p:nvCxnSpPr>
        <p:spPr bwMode="auto">
          <a:xfrm>
            <a:off x="3058651" y="3220866"/>
            <a:ext cx="1283913" cy="0"/>
          </a:xfrm>
          <a:prstGeom prst="line">
            <a:avLst/>
          </a:prstGeom>
          <a:noFill/>
          <a:ln w="12700">
            <a:solidFill>
              <a:srgbClr val="FFFFFF"/>
            </a:solidFill>
            <a:prstDash val="dash"/>
          </a:ln>
          <a:effectLst/>
          <a:extLst/>
        </p:spPr>
      </p:cxnSp>
      <p:sp>
        <p:nvSpPr>
          <p:cNvPr id="19" name="矩形 18"/>
          <p:cNvSpPr/>
          <p:nvPr/>
        </p:nvSpPr>
        <p:spPr bwMode="auto">
          <a:xfrm>
            <a:off x="6257989" y="3218163"/>
            <a:ext cx="1681731" cy="361966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external portal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9640624" y="3213740"/>
            <a:ext cx="1458156" cy="368335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IoT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8093251" y="3213740"/>
            <a:ext cx="1423308" cy="390899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map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直接连接符 21"/>
          <p:cNvCxnSpPr/>
          <p:nvPr/>
        </p:nvCxnSpPr>
        <p:spPr bwMode="auto">
          <a:xfrm>
            <a:off x="3058651" y="3928366"/>
            <a:ext cx="1283913" cy="0"/>
          </a:xfrm>
          <a:prstGeom prst="line">
            <a:avLst/>
          </a:prstGeom>
          <a:noFill/>
          <a:ln w="12700">
            <a:solidFill>
              <a:srgbClr val="FFFFFF"/>
            </a:solidFill>
            <a:prstDash val="dash"/>
          </a:ln>
          <a:effectLst/>
          <a:extLst/>
        </p:spPr>
      </p:cxnSp>
      <p:sp>
        <p:nvSpPr>
          <p:cNvPr id="23" name="矩形 22"/>
          <p:cNvSpPr/>
          <p:nvPr/>
        </p:nvSpPr>
        <p:spPr bwMode="auto">
          <a:xfrm>
            <a:off x="4455312" y="3619367"/>
            <a:ext cx="1682727" cy="301636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Big Data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4" name="AutoShape 28"/>
          <p:cNvSpPr>
            <a:spLocks noChangeArrowheads="1"/>
          </p:cNvSpPr>
          <p:nvPr/>
        </p:nvSpPr>
        <p:spPr bwMode="auto">
          <a:xfrm>
            <a:off x="4455310" y="1887951"/>
            <a:ext cx="483963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92D050"/>
                </a:gs>
                <a:gs pos="50000">
                  <a:srgbClr val="92D050">
                    <a:alpha val="14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center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5" name="AutoShape 28"/>
          <p:cNvSpPr>
            <a:spLocks noChangeArrowheads="1"/>
          </p:cNvSpPr>
          <p:nvPr/>
        </p:nvSpPr>
        <p:spPr bwMode="auto">
          <a:xfrm>
            <a:off x="10041928" y="1887951"/>
            <a:ext cx="483960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C00000"/>
                </a:gs>
                <a:gs pos="50000">
                  <a:srgbClr val="C00000">
                    <a:alpha val="31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industry</a:t>
            </a:r>
            <a:endParaRPr lang="en-US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6" name="AutoShape 28"/>
          <p:cNvSpPr>
            <a:spLocks noChangeArrowheads="1"/>
          </p:cNvSpPr>
          <p:nvPr/>
        </p:nvSpPr>
        <p:spPr bwMode="auto">
          <a:xfrm>
            <a:off x="5027380" y="1897802"/>
            <a:ext cx="483961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92D050"/>
                </a:gs>
                <a:gs pos="50000">
                  <a:srgbClr val="92D050">
                    <a:alpha val="14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government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7" name="AutoShape 28"/>
          <p:cNvSpPr>
            <a:spLocks noChangeArrowheads="1"/>
          </p:cNvSpPr>
          <p:nvPr/>
        </p:nvSpPr>
        <p:spPr bwMode="auto">
          <a:xfrm>
            <a:off x="6149811" y="1906420"/>
            <a:ext cx="485238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92D050"/>
                </a:gs>
                <a:gs pos="50000">
                  <a:srgbClr val="92D050">
                    <a:alpha val="14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environmental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protection</a:t>
            </a:r>
            <a:endParaRPr lang="en-US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8" name="AutoShape 28"/>
          <p:cNvSpPr>
            <a:spLocks noChangeArrowheads="1"/>
          </p:cNvSpPr>
          <p:nvPr/>
        </p:nvSpPr>
        <p:spPr bwMode="auto">
          <a:xfrm>
            <a:off x="5581571" y="1906420"/>
            <a:ext cx="483961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92D050"/>
                </a:gs>
                <a:gs pos="50000">
                  <a:srgbClr val="92D050">
                    <a:alpha val="14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governance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9" name="AutoShape 28"/>
          <p:cNvSpPr>
            <a:spLocks noChangeArrowheads="1"/>
          </p:cNvSpPr>
          <p:nvPr/>
        </p:nvSpPr>
        <p:spPr bwMode="auto">
          <a:xfrm>
            <a:off x="6711667" y="1887951"/>
            <a:ext cx="483961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92D050"/>
                </a:gs>
                <a:gs pos="50000">
                  <a:srgbClr val="92D050">
                    <a:alpha val="14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afe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City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0" name="AutoShape 28"/>
          <p:cNvSpPr>
            <a:spLocks noChangeArrowheads="1"/>
          </p:cNvSpPr>
          <p:nvPr/>
        </p:nvSpPr>
        <p:spPr bwMode="auto">
          <a:xfrm>
            <a:off x="7307531" y="1877198"/>
            <a:ext cx="483961" cy="1271352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education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" name="AutoShape 28"/>
          <p:cNvSpPr>
            <a:spLocks noChangeArrowheads="1"/>
          </p:cNvSpPr>
          <p:nvPr/>
        </p:nvSpPr>
        <p:spPr bwMode="auto">
          <a:xfrm>
            <a:off x="7832820" y="1896372"/>
            <a:ext cx="483961" cy="1243559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transportation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2" name="AutoShape 28"/>
          <p:cNvSpPr>
            <a:spLocks noChangeArrowheads="1"/>
          </p:cNvSpPr>
          <p:nvPr/>
        </p:nvSpPr>
        <p:spPr bwMode="auto">
          <a:xfrm>
            <a:off x="8393397" y="1892876"/>
            <a:ext cx="485238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healthcare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3" name="AutoShape 28"/>
          <p:cNvSpPr>
            <a:spLocks noChangeArrowheads="1"/>
          </p:cNvSpPr>
          <p:nvPr/>
        </p:nvSpPr>
        <p:spPr bwMode="auto">
          <a:xfrm>
            <a:off x="8945035" y="1892876"/>
            <a:ext cx="483961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community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4" name="AutoShape 28"/>
          <p:cNvSpPr>
            <a:spLocks noChangeArrowheads="1"/>
          </p:cNvSpPr>
          <p:nvPr/>
        </p:nvSpPr>
        <p:spPr bwMode="auto">
          <a:xfrm>
            <a:off x="9490291" y="1887951"/>
            <a:ext cx="483961" cy="1242130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C00000"/>
                </a:gs>
                <a:gs pos="50000">
                  <a:srgbClr val="C00000">
                    <a:alpha val="31000"/>
                  </a:srgbClr>
                </a:gs>
              </a:gsLst>
              <a:lin ang="12600000" scaled="0"/>
            </a:gradFill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mart</a:t>
            </a:r>
            <a:endParaRPr lang="en-US" altLang="zh-CN" sz="11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campus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5" name="右大括号 34"/>
          <p:cNvSpPr/>
          <p:nvPr/>
        </p:nvSpPr>
        <p:spPr bwMode="auto">
          <a:xfrm rot="16200000">
            <a:off x="5748150" y="330380"/>
            <a:ext cx="121797" cy="2777488"/>
          </a:xfrm>
          <a:prstGeom prst="rightBrace">
            <a:avLst>
              <a:gd name="adj1" fmla="val 8333"/>
              <a:gd name="adj2" fmla="val 50000"/>
            </a:avLst>
          </a:prstGeom>
          <a:noFill/>
          <a:ln>
            <a:solidFill>
              <a:srgbClr val="2DC2EA"/>
            </a:solidFill>
          </a:ln>
          <a:effectLst/>
          <a:extLst/>
        </p:spPr>
        <p:txBody>
          <a:bodyPr vert="horz" wrap="square" lIns="121916" tIns="60958" rIns="121916" bIns="60958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78768" fontAlgn="ctr">
              <a:buClr>
                <a:srgbClr val="CC9900"/>
              </a:buClr>
              <a:buFont typeface="Wingdings" pitchFamily="2" charset="2"/>
              <a:buChar char="n"/>
            </a:pPr>
            <a:endParaRPr lang="en-US" altLang="zh-CN" sz="1733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6" name="TextBox 17"/>
          <p:cNvSpPr txBox="1">
            <a:spLocks noChangeArrowheads="1"/>
          </p:cNvSpPr>
          <p:nvPr/>
        </p:nvSpPr>
        <p:spPr bwMode="auto">
          <a:xfrm>
            <a:off x="4748952" y="1308968"/>
            <a:ext cx="2296478" cy="3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Smart management</a:t>
            </a:r>
            <a:endParaRPr lang="en-US" sz="16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右大括号 36"/>
          <p:cNvSpPr/>
          <p:nvPr/>
        </p:nvSpPr>
        <p:spPr bwMode="auto">
          <a:xfrm rot="16200000">
            <a:off x="8857896" y="116493"/>
            <a:ext cx="126261" cy="3209725"/>
          </a:xfrm>
          <a:prstGeom prst="rightBrace">
            <a:avLst>
              <a:gd name="adj1" fmla="val 8333"/>
              <a:gd name="adj2" fmla="val 50000"/>
            </a:avLst>
          </a:prstGeom>
          <a:noFill/>
          <a:ln>
            <a:solidFill>
              <a:srgbClr val="2DC2EA"/>
            </a:solidFill>
          </a:ln>
          <a:effectLst/>
          <a:extLst/>
        </p:spPr>
        <p:txBody>
          <a:bodyPr vert="horz" wrap="square" lIns="121916" tIns="60958" rIns="121916" bIns="60958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78768" fontAlgn="ctr">
              <a:buClr>
                <a:srgbClr val="CC9900"/>
              </a:buClr>
              <a:buFont typeface="Wingdings" pitchFamily="2" charset="2"/>
              <a:buChar char="n"/>
            </a:pPr>
            <a:endParaRPr lang="en-US" altLang="zh-CN" sz="1733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Box 17"/>
          <p:cNvSpPr txBox="1">
            <a:spLocks noChangeArrowheads="1"/>
          </p:cNvSpPr>
          <p:nvPr/>
        </p:nvSpPr>
        <p:spPr bwMode="auto">
          <a:xfrm>
            <a:off x="7883775" y="1335141"/>
            <a:ext cx="2366603" cy="371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600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Benefits for people</a:t>
            </a:r>
            <a:endParaRPr lang="en-US" sz="16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41" name="AutoShape 28"/>
          <p:cNvSpPr>
            <a:spLocks noChangeArrowheads="1"/>
          </p:cNvSpPr>
          <p:nvPr/>
        </p:nvSpPr>
        <p:spPr bwMode="auto">
          <a:xfrm>
            <a:off x="10577231" y="1881280"/>
            <a:ext cx="521546" cy="1242129"/>
          </a:xfrm>
          <a:prstGeom prst="roundRect">
            <a:avLst>
              <a:gd name="adj" fmla="val 4486"/>
            </a:avLst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noFill/>
            <a:round/>
            <a:headEnd/>
            <a:tailEnd/>
          </a:ln>
        </p:spPr>
        <p:txBody>
          <a:bodyPr vert="vert270" wrap="square" lIns="7200" tIns="7200" rIns="7200" bIns="7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01395" fontAlgn="ctr"/>
            <a:r>
              <a:rPr lang="en-US" sz="11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...</a:t>
            </a:r>
            <a:endParaRPr lang="en-US" altLang="zh-CN" sz="11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2" name="矩形 41"/>
          <p:cNvSpPr/>
          <p:nvPr/>
        </p:nvSpPr>
        <p:spPr bwMode="auto">
          <a:xfrm>
            <a:off x="6253562" y="3619367"/>
            <a:ext cx="1686159" cy="301636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O&amp;M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3" name="矩形 42"/>
          <p:cNvSpPr/>
          <p:nvPr/>
        </p:nvSpPr>
        <p:spPr bwMode="auto">
          <a:xfrm>
            <a:off x="8093251" y="3641931"/>
            <a:ext cx="1430816" cy="27907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 security servi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4" name="矩形 43"/>
          <p:cNvSpPr/>
          <p:nvPr/>
        </p:nvSpPr>
        <p:spPr bwMode="auto">
          <a:xfrm>
            <a:off x="9640625" y="3641931"/>
            <a:ext cx="1458156" cy="279074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</a:rPr>
              <a:t>……</a:t>
            </a:r>
            <a:endParaRPr lang="en-US" altLang="zh-CN" sz="12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7" name="矩形 46"/>
          <p:cNvSpPr/>
          <p:nvPr/>
        </p:nvSpPr>
        <p:spPr bwMode="auto">
          <a:xfrm>
            <a:off x="11193036" y="2850184"/>
            <a:ext cx="286596" cy="1099277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vert="vert270" wrap="square" lIns="96747" tIns="48373" rIns="96747" bIns="48373" anchor="ctr">
            <a:noAutofit/>
          </a:bodyPr>
          <a:lstStyle/>
          <a:p>
            <a:pPr algn="ctr" defTabSz="1219078" fontAlgn="ctr">
              <a:buClr>
                <a:srgbClr val="CC9900"/>
              </a:buClr>
              <a:defRPr/>
            </a:pPr>
            <a:r>
              <a:rPr lang="en-US" sz="1467" dirty="0" smtClean="0">
                <a:solidFill>
                  <a:srgbClr val="FFC000"/>
                </a:solidFill>
                <a:latin typeface="Arial" panose="020B0604020202020204" pitchFamily="34" charset="0"/>
              </a:rPr>
              <a:t>Data integration</a:t>
            </a:r>
            <a:endParaRPr lang="en-US" sz="1467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48" name="矩形 47"/>
          <p:cNvSpPr/>
          <p:nvPr/>
        </p:nvSpPr>
        <p:spPr bwMode="auto">
          <a:xfrm>
            <a:off x="11222361" y="4549172"/>
            <a:ext cx="286596" cy="121658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vert="vert270" wrap="square" lIns="96747" tIns="48373" rIns="96747" bIns="48373" anchor="ctr">
            <a:noAutofit/>
          </a:bodyPr>
          <a:lstStyle/>
          <a:p>
            <a:pPr algn="ctr" defTabSz="1219078" fontAlgn="ctr">
              <a:buClr>
                <a:srgbClr val="CC9900"/>
              </a:buClr>
              <a:defRPr/>
            </a:pPr>
            <a:r>
              <a:rPr lang="en-US" sz="1467" dirty="0" smtClean="0">
                <a:solidFill>
                  <a:prstClr val="white"/>
                </a:solidFill>
                <a:latin typeface="Arial" panose="020B0604020202020204" pitchFamily="34" charset="0"/>
              </a:rPr>
              <a:t>Unified</a:t>
            </a:r>
            <a:endParaRPr lang="en-US" altLang="zh-CN" sz="1467" kern="0" dirty="0" smtClean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 defTabSz="1219078" fontAlgn="ctr">
              <a:buClr>
                <a:srgbClr val="CC9900"/>
              </a:buClr>
              <a:defRPr/>
            </a:pPr>
            <a:r>
              <a:rPr lang="en-US" sz="1467" dirty="0" smtClean="0">
                <a:solidFill>
                  <a:prstClr val="white"/>
                </a:solidFill>
                <a:latin typeface="Arial" panose="020B0604020202020204" pitchFamily="34" charset="0"/>
              </a:rPr>
              <a:t>infrastructure</a:t>
            </a:r>
            <a:endParaRPr lang="en-US" sz="1467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49" name="矩形 48"/>
          <p:cNvSpPr/>
          <p:nvPr/>
        </p:nvSpPr>
        <p:spPr bwMode="auto">
          <a:xfrm>
            <a:off x="4473974" y="5751523"/>
            <a:ext cx="3283831" cy="374339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</a:rPr>
              <a:t>Sensors &amp; actuators</a:t>
            </a:r>
            <a:endParaRPr lang="en-US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0" name="矩形 49"/>
          <p:cNvSpPr/>
          <p:nvPr/>
        </p:nvSpPr>
        <p:spPr bwMode="auto">
          <a:xfrm>
            <a:off x="7812246" y="5751523"/>
            <a:ext cx="3286534" cy="375508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sz="1200" dirty="0" smtClean="0">
                <a:solidFill>
                  <a:prstClr val="white"/>
                </a:solidFill>
                <a:latin typeface="Arial" panose="020B0604020202020204" pitchFamily="34" charset="0"/>
              </a:rPr>
              <a:t>Controllers</a:t>
            </a:r>
            <a:endParaRPr lang="en-US" sz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FC5CC33C-E02D-4055-91D7-A75F3B4357EA}"/>
              </a:ext>
            </a:extLst>
          </p:cNvPr>
          <p:cNvGrpSpPr/>
          <p:nvPr/>
        </p:nvGrpSpPr>
        <p:grpSpPr>
          <a:xfrm>
            <a:off x="694825" y="1437361"/>
            <a:ext cx="1870097" cy="4611144"/>
            <a:chOff x="695005" y="1795737"/>
            <a:chExt cx="1870584" cy="4214334"/>
          </a:xfrm>
        </p:grpSpPr>
        <p:sp>
          <p:nvSpPr>
            <p:cNvPr id="52" name="圆角矩形 51"/>
            <p:cNvSpPr/>
            <p:nvPr/>
          </p:nvSpPr>
          <p:spPr bwMode="auto">
            <a:xfrm>
              <a:off x="695005" y="1795737"/>
              <a:ext cx="1870584" cy="531736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Smart infrastructure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圆角矩形 52"/>
            <p:cNvSpPr/>
            <p:nvPr/>
          </p:nvSpPr>
          <p:spPr bwMode="auto">
            <a:xfrm>
              <a:off x="695006" y="2408811"/>
              <a:ext cx="1870583" cy="62322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Efficient government collaboration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圆角矩形 53"/>
            <p:cNvSpPr/>
            <p:nvPr/>
          </p:nvSpPr>
          <p:spPr bwMode="auto">
            <a:xfrm>
              <a:off x="695006" y="3113369"/>
              <a:ext cx="1870583" cy="699452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Inclusive public services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圆角矩形 54"/>
            <p:cNvSpPr/>
            <p:nvPr/>
          </p:nvSpPr>
          <p:spPr bwMode="auto">
            <a:xfrm>
              <a:off x="695006" y="3894158"/>
              <a:ext cx="1870583" cy="664266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Refined social management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圆角矩形 55"/>
            <p:cNvSpPr/>
            <p:nvPr/>
          </p:nvSpPr>
          <p:spPr bwMode="auto">
            <a:xfrm>
              <a:off x="695006" y="4639762"/>
              <a:ext cx="1870583" cy="623220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Livable urban environment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圆角矩形 56"/>
            <p:cNvSpPr/>
            <p:nvPr/>
          </p:nvSpPr>
          <p:spPr bwMode="auto">
            <a:xfrm>
              <a:off x="695006" y="5344318"/>
              <a:ext cx="1870583" cy="66575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70C0">
                    <a:alpha val="2000"/>
                  </a:srgbClr>
                </a:gs>
                <a:gs pos="100000">
                  <a:srgbClr val="034076"/>
                </a:gs>
              </a:gsLst>
              <a:lin ang="16200000" scaled="0"/>
            </a:gradFill>
            <a:ln w="9525">
              <a:gradFill>
                <a:gsLst>
                  <a:gs pos="0">
                    <a:srgbClr val="1EF4F4"/>
                  </a:gs>
                  <a:gs pos="50000">
                    <a:srgbClr val="1EF4F4">
                      <a:alpha val="0"/>
                    </a:srgbClr>
                  </a:gs>
                </a:gsLst>
                <a:lin ang="4800000" scaled="0"/>
              </a:gradFill>
              <a:round/>
              <a:headEnd/>
              <a:tailEnd/>
            </a:ln>
          </p:spPr>
          <p:txBody>
            <a:bodyPr vert="horz" wrap="square" lIns="64733" tIns="32366" rIns="64733" bIns="32366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95" fontAlgn="ctr"/>
              <a:r>
                <a:rPr lang="en-US" sz="1334" b="1" dirty="0" smtClean="0">
                  <a:solidFill>
                    <a:srgbClr val="FFFFFF"/>
                  </a:solidFill>
                  <a:latin typeface="Arial" panose="020B0604020202020204" pitchFamily="34" charset="0"/>
                </a:rPr>
                <a:t>Modern industry development zone</a:t>
              </a:r>
              <a:endParaRPr lang="en-US" altLang="zh-CN" sz="1334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64" name="矩形 63"/>
          <p:cNvSpPr/>
          <p:nvPr/>
        </p:nvSpPr>
        <p:spPr bwMode="auto">
          <a:xfrm>
            <a:off x="4469454" y="4048454"/>
            <a:ext cx="6629326" cy="358533"/>
          </a:xfrm>
          <a:prstGeom prst="rect">
            <a:avLst/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2375381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A set of </a:t>
            </a:r>
            <a:r>
              <a:rPr lang="en-US" sz="1400" b="1" dirty="0">
                <a:solidFill>
                  <a:srgbClr val="FFC000"/>
                </a:solidFill>
                <a:latin typeface="Arial" panose="020B0604020202020204" pitchFamily="34" charset="0"/>
              </a:rPr>
              <a:t>maps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 (geographical information database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9" name="TextBox 2">
            <a:extLst>
              <a:ext uri="{FF2B5EF4-FFF2-40B4-BE49-F238E27FC236}">
                <a16:creationId xmlns="" xmlns:a16="http://schemas.microsoft.com/office/drawing/2014/main" id="{8DACBC49-530E-4825-ABD0-CE2C00C0EC7B}"/>
              </a:ext>
            </a:extLst>
          </p:cNvPr>
          <p:cNvSpPr txBox="1"/>
          <p:nvPr/>
        </p:nvSpPr>
        <p:spPr>
          <a:xfrm>
            <a:off x="541280" y="365692"/>
            <a:ext cx="11098413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Longgang High-Level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esign: 5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+ 6 +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11, Data Integration, Benefits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for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People, and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Smart Management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="" xmlns:a16="http://schemas.microsoft.com/office/drawing/2014/main" id="{2E824CC8-BA10-43A4-BC46-62413D048096}"/>
              </a:ext>
            </a:extLst>
          </p:cNvPr>
          <p:cNvCxnSpPr/>
          <p:nvPr/>
        </p:nvCxnSpPr>
        <p:spPr>
          <a:xfrm>
            <a:off x="3007088" y="4440442"/>
            <a:ext cx="80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="" xmlns:a16="http://schemas.microsoft.com/office/drawing/2014/main" id="{8C368A4E-250A-4B82-B622-2284DFA78150}"/>
              </a:ext>
            </a:extLst>
          </p:cNvPr>
          <p:cNvCxnSpPr/>
          <p:nvPr/>
        </p:nvCxnSpPr>
        <p:spPr>
          <a:xfrm>
            <a:off x="3007088" y="4867916"/>
            <a:ext cx="80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="" xmlns:a16="http://schemas.microsoft.com/office/drawing/2014/main" id="{3D3AA22C-B602-4CCB-B2D5-489E9612FDC9}"/>
              </a:ext>
            </a:extLst>
          </p:cNvPr>
          <p:cNvCxnSpPr/>
          <p:nvPr/>
        </p:nvCxnSpPr>
        <p:spPr>
          <a:xfrm>
            <a:off x="3007088" y="5289498"/>
            <a:ext cx="80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="" xmlns:a16="http://schemas.microsoft.com/office/drawing/2014/main" id="{BBD60E47-EA4F-4D69-8687-8E34C9E8D6E0}"/>
              </a:ext>
            </a:extLst>
          </p:cNvPr>
          <p:cNvCxnSpPr/>
          <p:nvPr/>
        </p:nvCxnSpPr>
        <p:spPr>
          <a:xfrm>
            <a:off x="3007088" y="5700693"/>
            <a:ext cx="80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93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836E6299-60EA-4363-BA86-AA79331E81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" r="22203" b="3253"/>
          <a:stretch/>
        </p:blipFill>
        <p:spPr>
          <a:xfrm>
            <a:off x="0" y="-7488"/>
            <a:ext cx="12192001" cy="6865389"/>
          </a:xfrm>
          <a:prstGeom prst="rect">
            <a:avLst/>
          </a:prstGeom>
        </p:spPr>
      </p:pic>
      <p:sp>
        <p:nvSpPr>
          <p:cNvPr id="58" name="矩形 57">
            <a:extLst>
              <a:ext uri="{FF2B5EF4-FFF2-40B4-BE49-F238E27FC236}">
                <a16:creationId xmlns="" xmlns:a16="http://schemas.microsoft.com/office/drawing/2014/main" id="{2A0F06A8-20D3-49EE-AE7D-AC0DB0AD56C1}"/>
              </a:ext>
            </a:extLst>
          </p:cNvPr>
          <p:cNvSpPr/>
          <p:nvPr/>
        </p:nvSpPr>
        <p:spPr>
          <a:xfrm>
            <a:off x="0" y="1686"/>
            <a:ext cx="12188826" cy="6856215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</a:srgbClr>
              </a:gs>
              <a:gs pos="52000">
                <a:srgbClr val="1F497D">
                  <a:lumMod val="50000"/>
                  <a:alpha val="37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9" name="标题 1">
            <a:extLst>
              <a:ext uri="{FF2B5EF4-FFF2-40B4-BE49-F238E27FC236}">
                <a16:creationId xmlns="" xmlns:a16="http://schemas.microsoft.com/office/drawing/2014/main" id="{8BB645EA-CEAB-4A62-A53A-4138F7D92B37}"/>
              </a:ext>
            </a:extLst>
          </p:cNvPr>
          <p:cNvSpPr txBox="1">
            <a:spLocks/>
          </p:cNvSpPr>
          <p:nvPr/>
        </p:nvSpPr>
        <p:spPr>
          <a:xfrm>
            <a:off x="501105" y="596553"/>
            <a:ext cx="11233952" cy="418712"/>
          </a:xfrm>
          <a:prstGeom prst="rect">
            <a:avLst/>
          </a:prstGeom>
        </p:spPr>
        <p:txBody>
          <a:bodyPr vert="horz" wrap="square" lIns="49745" tIns="24872" rIns="49745" bIns="24872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b="1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黑体" pitchFamily="49" charset="-122"/>
                <a:cs typeface="Arial" pitchFamily="34" charset="0"/>
              </a:defRPr>
            </a:lvl1pPr>
          </a:lstStyle>
          <a:p>
            <a:pPr fontAlgn="ctr"/>
            <a:r>
              <a:rPr lang="en-US" sz="2799" dirty="0" smtClean="0">
                <a:solidFill>
                  <a:prstClr val="white"/>
                </a:solidFill>
                <a:latin typeface="Arial" panose="020B0604020202020204" pitchFamily="34" charset="0"/>
              </a:rPr>
              <a:t>Key Success Factors for Smart City Construction</a:t>
            </a:r>
            <a:endParaRPr lang="en-US" altLang="zh-CN" sz="2799" dirty="0">
              <a:solidFill>
                <a:prstClr val="white"/>
              </a:solidFill>
              <a:latin typeface="Arial" panose="020B0604020202020204" pitchFamily="34" charset="0"/>
              <a:ea typeface="微软雅黑" pitchFamily="34" charset="-122"/>
            </a:endParaRPr>
          </a:p>
        </p:txBody>
      </p:sp>
      <p:sp>
        <p:nvSpPr>
          <p:cNvPr id="60" name="Oval 9">
            <a:extLst>
              <a:ext uri="{FF2B5EF4-FFF2-40B4-BE49-F238E27FC236}">
                <a16:creationId xmlns="" xmlns:a16="http://schemas.microsoft.com/office/drawing/2014/main" id="{14E25410-ABB6-4AE5-9C41-F188F9D99A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96031" y="2749248"/>
            <a:ext cx="1585360" cy="1498886"/>
          </a:xfrm>
          <a:prstGeom prst="ellipse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="" xmlns:a16="http://schemas.microsoft.com/office/drawing/2014/main" id="{6451EAD1-B86C-4DD6-A9CF-070BA10008D6}"/>
              </a:ext>
            </a:extLst>
          </p:cNvPr>
          <p:cNvSpPr/>
          <p:nvPr/>
        </p:nvSpPr>
        <p:spPr>
          <a:xfrm>
            <a:off x="7668231" y="2048864"/>
            <a:ext cx="2458576" cy="3692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Industry-leading digital partners</a:t>
            </a:r>
            <a:endParaRPr lang="en-US" altLang="zh-CN" sz="1799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62" name="Shape 58">
            <a:extLst>
              <a:ext uri="{FF2B5EF4-FFF2-40B4-BE49-F238E27FC236}">
                <a16:creationId xmlns="" xmlns:a16="http://schemas.microsoft.com/office/drawing/2014/main" id="{9F97807C-3739-4025-A333-42ABD3D17C5D}"/>
              </a:ext>
            </a:extLst>
          </p:cNvPr>
          <p:cNvSpPr/>
          <p:nvPr/>
        </p:nvSpPr>
        <p:spPr>
          <a:xfrm>
            <a:off x="7921269" y="4651891"/>
            <a:ext cx="1765656" cy="1174131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square" lIns="47988" tIns="47988" rIns="47988" bIns="47988">
            <a:noAutofit/>
          </a:bodyPr>
          <a:lstStyle/>
          <a:p>
            <a:pPr algn="ctr" defTabSz="580249" eaLnBrk="0" fontAlgn="ctr" hangingPunct="0">
              <a:buClr>
                <a:srgbClr val="1F497D"/>
              </a:buClr>
              <a:buSzPct val="100000"/>
              <a:defRPr/>
            </a:pP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Technology, platform, ecosystem, and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experience</a:t>
            </a:r>
            <a:endParaRPr kumimoji="1" lang="en-US" altLang="zh-CN" sz="14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  <a:sym typeface="Calibri"/>
            </a:endParaRPr>
          </a:p>
        </p:txBody>
      </p:sp>
      <p:grpSp>
        <p:nvGrpSpPr>
          <p:cNvPr id="63" name="组合 62">
            <a:extLst>
              <a:ext uri="{FF2B5EF4-FFF2-40B4-BE49-F238E27FC236}">
                <a16:creationId xmlns="" xmlns:a16="http://schemas.microsoft.com/office/drawing/2014/main" id="{3BB68E9F-C2E8-49C3-98EE-36AE8EDA1AEB}"/>
              </a:ext>
            </a:extLst>
          </p:cNvPr>
          <p:cNvGrpSpPr/>
          <p:nvPr/>
        </p:nvGrpSpPr>
        <p:grpSpPr>
          <a:xfrm>
            <a:off x="8225044" y="3162110"/>
            <a:ext cx="1118413" cy="767013"/>
            <a:chOff x="8188490" y="3726922"/>
            <a:chExt cx="1118704" cy="767213"/>
          </a:xfrm>
          <a:solidFill>
            <a:srgbClr val="1597FC"/>
          </a:solidFill>
        </p:grpSpPr>
        <p:sp>
          <p:nvSpPr>
            <p:cNvPr id="64" name="Freeform 139">
              <a:extLst>
                <a:ext uri="{FF2B5EF4-FFF2-40B4-BE49-F238E27FC236}">
                  <a16:creationId xmlns="" xmlns:a16="http://schemas.microsoft.com/office/drawing/2014/main" id="{AC4A10AC-D300-4083-AE0F-6818A848E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9234" y="3726922"/>
              <a:ext cx="96348" cy="96348"/>
            </a:xfrm>
            <a:custGeom>
              <a:avLst/>
              <a:gdLst/>
              <a:ahLst/>
              <a:cxnLst>
                <a:cxn ang="0">
                  <a:pos x="1404" y="702"/>
                </a:cxn>
                <a:cxn ang="0">
                  <a:pos x="1404" y="858"/>
                </a:cxn>
                <a:cxn ang="0">
                  <a:pos x="1353" y="988"/>
                </a:cxn>
                <a:cxn ang="0">
                  <a:pos x="1275" y="1092"/>
                </a:cxn>
                <a:cxn ang="0">
                  <a:pos x="1197" y="1196"/>
                </a:cxn>
                <a:cxn ang="0">
                  <a:pos x="1093" y="1300"/>
                </a:cxn>
                <a:cxn ang="0">
                  <a:pos x="963" y="1352"/>
                </a:cxn>
                <a:cxn ang="0">
                  <a:pos x="833" y="1404"/>
                </a:cxn>
                <a:cxn ang="0">
                  <a:pos x="703" y="1404"/>
                </a:cxn>
                <a:cxn ang="0">
                  <a:pos x="547" y="1404"/>
                </a:cxn>
                <a:cxn ang="0">
                  <a:pos x="417" y="1352"/>
                </a:cxn>
                <a:cxn ang="0">
                  <a:pos x="313" y="1300"/>
                </a:cxn>
                <a:cxn ang="0">
                  <a:pos x="209" y="1196"/>
                </a:cxn>
                <a:cxn ang="0">
                  <a:pos x="105" y="1092"/>
                </a:cxn>
                <a:cxn ang="0">
                  <a:pos x="53" y="988"/>
                </a:cxn>
                <a:cxn ang="0">
                  <a:pos x="0" y="858"/>
                </a:cxn>
                <a:cxn ang="0">
                  <a:pos x="0" y="702"/>
                </a:cxn>
                <a:cxn ang="0">
                  <a:pos x="0" y="572"/>
                </a:cxn>
                <a:cxn ang="0">
                  <a:pos x="53" y="416"/>
                </a:cxn>
                <a:cxn ang="0">
                  <a:pos x="105" y="312"/>
                </a:cxn>
                <a:cxn ang="0">
                  <a:pos x="209" y="208"/>
                </a:cxn>
                <a:cxn ang="0">
                  <a:pos x="313" y="130"/>
                </a:cxn>
                <a:cxn ang="0">
                  <a:pos x="417" y="52"/>
                </a:cxn>
                <a:cxn ang="0">
                  <a:pos x="547" y="0"/>
                </a:cxn>
                <a:cxn ang="0">
                  <a:pos x="703" y="0"/>
                </a:cxn>
                <a:cxn ang="0">
                  <a:pos x="833" y="0"/>
                </a:cxn>
                <a:cxn ang="0">
                  <a:pos x="963" y="52"/>
                </a:cxn>
                <a:cxn ang="0">
                  <a:pos x="1093" y="130"/>
                </a:cxn>
                <a:cxn ang="0">
                  <a:pos x="1197" y="208"/>
                </a:cxn>
                <a:cxn ang="0">
                  <a:pos x="1275" y="312"/>
                </a:cxn>
                <a:cxn ang="0">
                  <a:pos x="1353" y="416"/>
                </a:cxn>
                <a:cxn ang="0">
                  <a:pos x="1404" y="572"/>
                </a:cxn>
                <a:cxn ang="0">
                  <a:pos x="1404" y="702"/>
                </a:cxn>
              </a:cxnLst>
              <a:rect l="0" t="0" r="r" b="b"/>
              <a:pathLst>
                <a:path w="1404" h="1404">
                  <a:moveTo>
                    <a:pt x="1404" y="702"/>
                  </a:moveTo>
                  <a:lnTo>
                    <a:pt x="1404" y="858"/>
                  </a:lnTo>
                  <a:lnTo>
                    <a:pt x="1353" y="988"/>
                  </a:lnTo>
                  <a:lnTo>
                    <a:pt x="1275" y="1092"/>
                  </a:lnTo>
                  <a:lnTo>
                    <a:pt x="1197" y="1196"/>
                  </a:lnTo>
                  <a:lnTo>
                    <a:pt x="1093" y="1300"/>
                  </a:lnTo>
                  <a:lnTo>
                    <a:pt x="963" y="1352"/>
                  </a:lnTo>
                  <a:lnTo>
                    <a:pt x="833" y="1404"/>
                  </a:lnTo>
                  <a:lnTo>
                    <a:pt x="703" y="1404"/>
                  </a:lnTo>
                  <a:lnTo>
                    <a:pt x="547" y="1404"/>
                  </a:lnTo>
                  <a:lnTo>
                    <a:pt x="417" y="1352"/>
                  </a:lnTo>
                  <a:lnTo>
                    <a:pt x="313" y="1300"/>
                  </a:lnTo>
                  <a:lnTo>
                    <a:pt x="209" y="1196"/>
                  </a:lnTo>
                  <a:lnTo>
                    <a:pt x="105" y="1092"/>
                  </a:lnTo>
                  <a:lnTo>
                    <a:pt x="53" y="988"/>
                  </a:lnTo>
                  <a:lnTo>
                    <a:pt x="0" y="858"/>
                  </a:lnTo>
                  <a:lnTo>
                    <a:pt x="0" y="702"/>
                  </a:lnTo>
                  <a:lnTo>
                    <a:pt x="0" y="572"/>
                  </a:lnTo>
                  <a:lnTo>
                    <a:pt x="53" y="416"/>
                  </a:lnTo>
                  <a:lnTo>
                    <a:pt x="105" y="312"/>
                  </a:lnTo>
                  <a:lnTo>
                    <a:pt x="209" y="208"/>
                  </a:lnTo>
                  <a:lnTo>
                    <a:pt x="313" y="130"/>
                  </a:lnTo>
                  <a:lnTo>
                    <a:pt x="417" y="52"/>
                  </a:lnTo>
                  <a:lnTo>
                    <a:pt x="547" y="0"/>
                  </a:lnTo>
                  <a:lnTo>
                    <a:pt x="703" y="0"/>
                  </a:lnTo>
                  <a:lnTo>
                    <a:pt x="833" y="0"/>
                  </a:lnTo>
                  <a:lnTo>
                    <a:pt x="963" y="52"/>
                  </a:lnTo>
                  <a:lnTo>
                    <a:pt x="1093" y="130"/>
                  </a:lnTo>
                  <a:lnTo>
                    <a:pt x="1197" y="208"/>
                  </a:lnTo>
                  <a:lnTo>
                    <a:pt x="1275" y="312"/>
                  </a:lnTo>
                  <a:lnTo>
                    <a:pt x="1353" y="416"/>
                  </a:lnTo>
                  <a:lnTo>
                    <a:pt x="1404" y="572"/>
                  </a:lnTo>
                  <a:lnTo>
                    <a:pt x="1404" y="7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Freeform 140">
              <a:extLst>
                <a:ext uri="{FF2B5EF4-FFF2-40B4-BE49-F238E27FC236}">
                  <a16:creationId xmlns="" xmlns:a16="http://schemas.microsoft.com/office/drawing/2014/main" id="{25D83CE2-435F-40F0-AC73-E1DED0BE9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2512" y="3830407"/>
              <a:ext cx="249791" cy="581653"/>
            </a:xfrm>
            <a:custGeom>
              <a:avLst/>
              <a:gdLst/>
              <a:ahLst/>
              <a:cxnLst>
                <a:cxn ang="0">
                  <a:pos x="3432" y="1066"/>
                </a:cxn>
                <a:cxn ang="0">
                  <a:pos x="3380" y="910"/>
                </a:cxn>
                <a:cxn ang="0">
                  <a:pos x="3223" y="728"/>
                </a:cxn>
                <a:cxn ang="0">
                  <a:pos x="2730" y="468"/>
                </a:cxn>
                <a:cxn ang="0">
                  <a:pos x="2314" y="234"/>
                </a:cxn>
                <a:cxn ang="0">
                  <a:pos x="2236" y="52"/>
                </a:cxn>
                <a:cxn ang="0">
                  <a:pos x="2184" y="0"/>
                </a:cxn>
                <a:cxn ang="0">
                  <a:pos x="2002" y="156"/>
                </a:cxn>
                <a:cxn ang="0">
                  <a:pos x="2002" y="364"/>
                </a:cxn>
                <a:cxn ang="0">
                  <a:pos x="1898" y="468"/>
                </a:cxn>
                <a:cxn ang="0">
                  <a:pos x="2002" y="1014"/>
                </a:cxn>
                <a:cxn ang="0">
                  <a:pos x="2054" y="1482"/>
                </a:cxn>
                <a:cxn ang="0">
                  <a:pos x="1950" y="2028"/>
                </a:cxn>
                <a:cxn ang="0">
                  <a:pos x="1846" y="2366"/>
                </a:cxn>
                <a:cxn ang="0">
                  <a:pos x="1794" y="2366"/>
                </a:cxn>
                <a:cxn ang="0">
                  <a:pos x="1664" y="2028"/>
                </a:cxn>
                <a:cxn ang="0">
                  <a:pos x="1560" y="1482"/>
                </a:cxn>
                <a:cxn ang="0">
                  <a:pos x="1638" y="1014"/>
                </a:cxn>
                <a:cxn ang="0">
                  <a:pos x="1742" y="468"/>
                </a:cxn>
                <a:cxn ang="0">
                  <a:pos x="1638" y="364"/>
                </a:cxn>
                <a:cxn ang="0">
                  <a:pos x="1638" y="156"/>
                </a:cxn>
                <a:cxn ang="0">
                  <a:pos x="1456" y="0"/>
                </a:cxn>
                <a:cxn ang="0">
                  <a:pos x="1404" y="52"/>
                </a:cxn>
                <a:cxn ang="0">
                  <a:pos x="1326" y="234"/>
                </a:cxn>
                <a:cxn ang="0">
                  <a:pos x="910" y="468"/>
                </a:cxn>
                <a:cxn ang="0">
                  <a:pos x="390" y="728"/>
                </a:cxn>
                <a:cxn ang="0">
                  <a:pos x="260" y="910"/>
                </a:cxn>
                <a:cxn ang="0">
                  <a:pos x="208" y="1066"/>
                </a:cxn>
                <a:cxn ang="0">
                  <a:pos x="0" y="3978"/>
                </a:cxn>
                <a:cxn ang="0">
                  <a:pos x="156" y="4212"/>
                </a:cxn>
                <a:cxn ang="0">
                  <a:pos x="390" y="4290"/>
                </a:cxn>
                <a:cxn ang="0">
                  <a:pos x="624" y="4212"/>
                </a:cxn>
                <a:cxn ang="0">
                  <a:pos x="728" y="4108"/>
                </a:cxn>
                <a:cxn ang="0">
                  <a:pos x="754" y="7591"/>
                </a:cxn>
                <a:cxn ang="0">
                  <a:pos x="806" y="7956"/>
                </a:cxn>
                <a:cxn ang="0">
                  <a:pos x="910" y="8216"/>
                </a:cxn>
                <a:cxn ang="0">
                  <a:pos x="1066" y="8372"/>
                </a:cxn>
                <a:cxn ang="0">
                  <a:pos x="1248" y="8450"/>
                </a:cxn>
                <a:cxn ang="0">
                  <a:pos x="1430" y="8450"/>
                </a:cxn>
                <a:cxn ang="0">
                  <a:pos x="1586" y="8398"/>
                </a:cxn>
                <a:cxn ang="0">
                  <a:pos x="1716" y="8268"/>
                </a:cxn>
                <a:cxn ang="0">
                  <a:pos x="1794" y="8112"/>
                </a:cxn>
                <a:cxn ang="0">
                  <a:pos x="1820" y="8112"/>
                </a:cxn>
                <a:cxn ang="0">
                  <a:pos x="1898" y="8268"/>
                </a:cxn>
                <a:cxn ang="0">
                  <a:pos x="2054" y="8398"/>
                </a:cxn>
                <a:cxn ang="0">
                  <a:pos x="2210" y="8450"/>
                </a:cxn>
                <a:cxn ang="0">
                  <a:pos x="2392" y="8450"/>
                </a:cxn>
                <a:cxn ang="0">
                  <a:pos x="2574" y="8372"/>
                </a:cxn>
                <a:cxn ang="0">
                  <a:pos x="2730" y="8216"/>
                </a:cxn>
                <a:cxn ang="0">
                  <a:pos x="2834" y="7956"/>
                </a:cxn>
                <a:cxn ang="0">
                  <a:pos x="2860" y="7591"/>
                </a:cxn>
                <a:cxn ang="0">
                  <a:pos x="2886" y="4108"/>
                </a:cxn>
                <a:cxn ang="0">
                  <a:pos x="2912" y="4134"/>
                </a:cxn>
                <a:cxn ang="0">
                  <a:pos x="3120" y="4264"/>
                </a:cxn>
                <a:cxn ang="0">
                  <a:pos x="3380" y="4290"/>
                </a:cxn>
                <a:cxn ang="0">
                  <a:pos x="3588" y="4134"/>
                </a:cxn>
                <a:cxn ang="0">
                  <a:pos x="3640" y="3770"/>
                </a:cxn>
              </a:cxnLst>
              <a:rect l="0" t="0" r="r" b="b"/>
              <a:pathLst>
                <a:path w="3640" h="8476">
                  <a:moveTo>
                    <a:pt x="3640" y="3770"/>
                  </a:moveTo>
                  <a:lnTo>
                    <a:pt x="3432" y="1066"/>
                  </a:lnTo>
                  <a:lnTo>
                    <a:pt x="3406" y="1014"/>
                  </a:lnTo>
                  <a:lnTo>
                    <a:pt x="3380" y="910"/>
                  </a:lnTo>
                  <a:lnTo>
                    <a:pt x="3302" y="780"/>
                  </a:lnTo>
                  <a:lnTo>
                    <a:pt x="3223" y="728"/>
                  </a:lnTo>
                  <a:lnTo>
                    <a:pt x="3172" y="676"/>
                  </a:lnTo>
                  <a:lnTo>
                    <a:pt x="2730" y="468"/>
                  </a:lnTo>
                  <a:lnTo>
                    <a:pt x="2418" y="286"/>
                  </a:lnTo>
                  <a:lnTo>
                    <a:pt x="2314" y="234"/>
                  </a:lnTo>
                  <a:lnTo>
                    <a:pt x="2262" y="156"/>
                  </a:lnTo>
                  <a:lnTo>
                    <a:pt x="2236" y="52"/>
                  </a:lnTo>
                  <a:lnTo>
                    <a:pt x="2210" y="0"/>
                  </a:lnTo>
                  <a:lnTo>
                    <a:pt x="2184" y="0"/>
                  </a:lnTo>
                  <a:lnTo>
                    <a:pt x="1976" y="78"/>
                  </a:lnTo>
                  <a:lnTo>
                    <a:pt x="2002" y="156"/>
                  </a:lnTo>
                  <a:lnTo>
                    <a:pt x="2028" y="260"/>
                  </a:lnTo>
                  <a:lnTo>
                    <a:pt x="2002" y="364"/>
                  </a:lnTo>
                  <a:lnTo>
                    <a:pt x="1976" y="416"/>
                  </a:lnTo>
                  <a:lnTo>
                    <a:pt x="1898" y="468"/>
                  </a:lnTo>
                  <a:lnTo>
                    <a:pt x="1924" y="728"/>
                  </a:lnTo>
                  <a:lnTo>
                    <a:pt x="2002" y="1014"/>
                  </a:lnTo>
                  <a:lnTo>
                    <a:pt x="2054" y="1274"/>
                  </a:lnTo>
                  <a:lnTo>
                    <a:pt x="2054" y="1482"/>
                  </a:lnTo>
                  <a:lnTo>
                    <a:pt x="2028" y="1716"/>
                  </a:lnTo>
                  <a:lnTo>
                    <a:pt x="1950" y="2028"/>
                  </a:lnTo>
                  <a:lnTo>
                    <a:pt x="1872" y="2288"/>
                  </a:lnTo>
                  <a:lnTo>
                    <a:pt x="1846" y="2366"/>
                  </a:lnTo>
                  <a:lnTo>
                    <a:pt x="1820" y="2392"/>
                  </a:lnTo>
                  <a:lnTo>
                    <a:pt x="1794" y="2366"/>
                  </a:lnTo>
                  <a:lnTo>
                    <a:pt x="1768" y="2288"/>
                  </a:lnTo>
                  <a:lnTo>
                    <a:pt x="1664" y="2028"/>
                  </a:lnTo>
                  <a:lnTo>
                    <a:pt x="1612" y="1716"/>
                  </a:lnTo>
                  <a:lnTo>
                    <a:pt x="1560" y="1482"/>
                  </a:lnTo>
                  <a:lnTo>
                    <a:pt x="1586" y="1274"/>
                  </a:lnTo>
                  <a:lnTo>
                    <a:pt x="1638" y="1014"/>
                  </a:lnTo>
                  <a:lnTo>
                    <a:pt x="1690" y="728"/>
                  </a:lnTo>
                  <a:lnTo>
                    <a:pt x="1742" y="468"/>
                  </a:lnTo>
                  <a:lnTo>
                    <a:pt x="1664" y="416"/>
                  </a:lnTo>
                  <a:lnTo>
                    <a:pt x="1638" y="364"/>
                  </a:lnTo>
                  <a:lnTo>
                    <a:pt x="1638" y="260"/>
                  </a:lnTo>
                  <a:lnTo>
                    <a:pt x="1638" y="156"/>
                  </a:lnTo>
                  <a:lnTo>
                    <a:pt x="1664" y="78"/>
                  </a:lnTo>
                  <a:lnTo>
                    <a:pt x="1456" y="0"/>
                  </a:lnTo>
                  <a:lnTo>
                    <a:pt x="1430" y="0"/>
                  </a:lnTo>
                  <a:lnTo>
                    <a:pt x="1404" y="52"/>
                  </a:lnTo>
                  <a:lnTo>
                    <a:pt x="1378" y="156"/>
                  </a:lnTo>
                  <a:lnTo>
                    <a:pt x="1326" y="234"/>
                  </a:lnTo>
                  <a:lnTo>
                    <a:pt x="1222" y="286"/>
                  </a:lnTo>
                  <a:lnTo>
                    <a:pt x="910" y="468"/>
                  </a:lnTo>
                  <a:lnTo>
                    <a:pt x="468" y="676"/>
                  </a:lnTo>
                  <a:lnTo>
                    <a:pt x="390" y="728"/>
                  </a:lnTo>
                  <a:lnTo>
                    <a:pt x="338" y="780"/>
                  </a:lnTo>
                  <a:lnTo>
                    <a:pt x="260" y="910"/>
                  </a:lnTo>
                  <a:lnTo>
                    <a:pt x="234" y="1014"/>
                  </a:lnTo>
                  <a:lnTo>
                    <a:pt x="208" y="1066"/>
                  </a:lnTo>
                  <a:lnTo>
                    <a:pt x="0" y="3770"/>
                  </a:lnTo>
                  <a:lnTo>
                    <a:pt x="0" y="3978"/>
                  </a:lnTo>
                  <a:lnTo>
                    <a:pt x="52" y="4134"/>
                  </a:lnTo>
                  <a:lnTo>
                    <a:pt x="156" y="4212"/>
                  </a:lnTo>
                  <a:lnTo>
                    <a:pt x="260" y="4290"/>
                  </a:lnTo>
                  <a:lnTo>
                    <a:pt x="390" y="4290"/>
                  </a:lnTo>
                  <a:lnTo>
                    <a:pt x="520" y="4264"/>
                  </a:lnTo>
                  <a:lnTo>
                    <a:pt x="624" y="4212"/>
                  </a:lnTo>
                  <a:lnTo>
                    <a:pt x="702" y="4134"/>
                  </a:lnTo>
                  <a:lnTo>
                    <a:pt x="728" y="4108"/>
                  </a:lnTo>
                  <a:lnTo>
                    <a:pt x="728" y="4134"/>
                  </a:lnTo>
                  <a:lnTo>
                    <a:pt x="754" y="7591"/>
                  </a:lnTo>
                  <a:lnTo>
                    <a:pt x="780" y="7774"/>
                  </a:lnTo>
                  <a:lnTo>
                    <a:pt x="806" y="7956"/>
                  </a:lnTo>
                  <a:lnTo>
                    <a:pt x="858" y="8086"/>
                  </a:lnTo>
                  <a:lnTo>
                    <a:pt x="910" y="8216"/>
                  </a:lnTo>
                  <a:lnTo>
                    <a:pt x="988" y="8320"/>
                  </a:lnTo>
                  <a:lnTo>
                    <a:pt x="1066" y="8372"/>
                  </a:lnTo>
                  <a:lnTo>
                    <a:pt x="1144" y="8424"/>
                  </a:lnTo>
                  <a:lnTo>
                    <a:pt x="1248" y="8450"/>
                  </a:lnTo>
                  <a:lnTo>
                    <a:pt x="1326" y="8476"/>
                  </a:lnTo>
                  <a:lnTo>
                    <a:pt x="1430" y="8450"/>
                  </a:lnTo>
                  <a:lnTo>
                    <a:pt x="1508" y="8424"/>
                  </a:lnTo>
                  <a:lnTo>
                    <a:pt x="1586" y="8398"/>
                  </a:lnTo>
                  <a:lnTo>
                    <a:pt x="1664" y="8346"/>
                  </a:lnTo>
                  <a:lnTo>
                    <a:pt x="1716" y="8268"/>
                  </a:lnTo>
                  <a:lnTo>
                    <a:pt x="1768" y="8190"/>
                  </a:lnTo>
                  <a:lnTo>
                    <a:pt x="1794" y="8112"/>
                  </a:lnTo>
                  <a:lnTo>
                    <a:pt x="1820" y="8086"/>
                  </a:lnTo>
                  <a:lnTo>
                    <a:pt x="1820" y="8112"/>
                  </a:lnTo>
                  <a:lnTo>
                    <a:pt x="1872" y="8190"/>
                  </a:lnTo>
                  <a:lnTo>
                    <a:pt x="1898" y="8268"/>
                  </a:lnTo>
                  <a:lnTo>
                    <a:pt x="1976" y="8346"/>
                  </a:lnTo>
                  <a:lnTo>
                    <a:pt x="2054" y="8398"/>
                  </a:lnTo>
                  <a:lnTo>
                    <a:pt x="2132" y="8424"/>
                  </a:lnTo>
                  <a:lnTo>
                    <a:pt x="2210" y="8450"/>
                  </a:lnTo>
                  <a:lnTo>
                    <a:pt x="2314" y="8476"/>
                  </a:lnTo>
                  <a:lnTo>
                    <a:pt x="2392" y="8450"/>
                  </a:lnTo>
                  <a:lnTo>
                    <a:pt x="2496" y="8424"/>
                  </a:lnTo>
                  <a:lnTo>
                    <a:pt x="2574" y="8372"/>
                  </a:lnTo>
                  <a:lnTo>
                    <a:pt x="2652" y="8320"/>
                  </a:lnTo>
                  <a:lnTo>
                    <a:pt x="2730" y="8216"/>
                  </a:lnTo>
                  <a:lnTo>
                    <a:pt x="2782" y="8086"/>
                  </a:lnTo>
                  <a:lnTo>
                    <a:pt x="2834" y="7956"/>
                  </a:lnTo>
                  <a:lnTo>
                    <a:pt x="2860" y="7774"/>
                  </a:lnTo>
                  <a:lnTo>
                    <a:pt x="2860" y="7591"/>
                  </a:lnTo>
                  <a:lnTo>
                    <a:pt x="2886" y="4134"/>
                  </a:lnTo>
                  <a:lnTo>
                    <a:pt x="2886" y="4108"/>
                  </a:lnTo>
                  <a:lnTo>
                    <a:pt x="2912" y="4108"/>
                  </a:lnTo>
                  <a:lnTo>
                    <a:pt x="2912" y="4134"/>
                  </a:lnTo>
                  <a:lnTo>
                    <a:pt x="3016" y="4212"/>
                  </a:lnTo>
                  <a:lnTo>
                    <a:pt x="3120" y="4264"/>
                  </a:lnTo>
                  <a:lnTo>
                    <a:pt x="3250" y="4290"/>
                  </a:lnTo>
                  <a:lnTo>
                    <a:pt x="3380" y="4290"/>
                  </a:lnTo>
                  <a:lnTo>
                    <a:pt x="3484" y="4212"/>
                  </a:lnTo>
                  <a:lnTo>
                    <a:pt x="3588" y="4134"/>
                  </a:lnTo>
                  <a:lnTo>
                    <a:pt x="3640" y="3978"/>
                  </a:lnTo>
                  <a:lnTo>
                    <a:pt x="3640" y="37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Freeform 141">
              <a:extLst>
                <a:ext uri="{FF2B5EF4-FFF2-40B4-BE49-F238E27FC236}">
                  <a16:creationId xmlns="" xmlns:a16="http://schemas.microsoft.com/office/drawing/2014/main" id="{2F6C4CA6-9CFC-4D87-98AA-641214A31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1891" y="4365671"/>
              <a:ext cx="469249" cy="128464"/>
            </a:xfrm>
            <a:custGeom>
              <a:avLst/>
              <a:gdLst/>
              <a:ahLst/>
              <a:cxnLst>
                <a:cxn ang="0">
                  <a:pos x="5902" y="104"/>
                </a:cxn>
                <a:cxn ang="0">
                  <a:pos x="6188" y="338"/>
                </a:cxn>
                <a:cxn ang="0">
                  <a:pos x="6239" y="468"/>
                </a:cxn>
                <a:cxn ang="0">
                  <a:pos x="6188" y="624"/>
                </a:cxn>
                <a:cxn ang="0">
                  <a:pos x="6006" y="780"/>
                </a:cxn>
                <a:cxn ang="0">
                  <a:pos x="5408" y="1040"/>
                </a:cxn>
                <a:cxn ang="0">
                  <a:pos x="4524" y="1222"/>
                </a:cxn>
                <a:cxn ang="0">
                  <a:pos x="3406" y="1274"/>
                </a:cxn>
                <a:cxn ang="0">
                  <a:pos x="2314" y="1222"/>
                </a:cxn>
                <a:cxn ang="0">
                  <a:pos x="1430" y="1040"/>
                </a:cxn>
                <a:cxn ang="0">
                  <a:pos x="832" y="780"/>
                </a:cxn>
                <a:cxn ang="0">
                  <a:pos x="650" y="624"/>
                </a:cxn>
                <a:cxn ang="0">
                  <a:pos x="598" y="468"/>
                </a:cxn>
                <a:cxn ang="0">
                  <a:pos x="624" y="338"/>
                </a:cxn>
                <a:cxn ang="0">
                  <a:pos x="910" y="130"/>
                </a:cxn>
                <a:cxn ang="0">
                  <a:pos x="650" y="182"/>
                </a:cxn>
                <a:cxn ang="0">
                  <a:pos x="312" y="364"/>
                </a:cxn>
                <a:cxn ang="0">
                  <a:pos x="78" y="572"/>
                </a:cxn>
                <a:cxn ang="0">
                  <a:pos x="0" y="806"/>
                </a:cxn>
                <a:cxn ang="0">
                  <a:pos x="78" y="1014"/>
                </a:cxn>
                <a:cxn ang="0">
                  <a:pos x="286" y="1222"/>
                </a:cxn>
                <a:cxn ang="0">
                  <a:pos x="598" y="1404"/>
                </a:cxn>
                <a:cxn ang="0">
                  <a:pos x="1508" y="1690"/>
                </a:cxn>
                <a:cxn ang="0">
                  <a:pos x="2729" y="1846"/>
                </a:cxn>
                <a:cxn ang="0">
                  <a:pos x="4108" y="1846"/>
                </a:cxn>
                <a:cxn ang="0">
                  <a:pos x="5330" y="1690"/>
                </a:cxn>
                <a:cxn ang="0">
                  <a:pos x="6266" y="1404"/>
                </a:cxn>
                <a:cxn ang="0">
                  <a:pos x="6578" y="1222"/>
                </a:cxn>
                <a:cxn ang="0">
                  <a:pos x="6786" y="1014"/>
                </a:cxn>
                <a:cxn ang="0">
                  <a:pos x="6838" y="806"/>
                </a:cxn>
                <a:cxn ang="0">
                  <a:pos x="6760" y="572"/>
                </a:cxn>
                <a:cxn ang="0">
                  <a:pos x="6526" y="338"/>
                </a:cxn>
                <a:cxn ang="0">
                  <a:pos x="6162" y="156"/>
                </a:cxn>
                <a:cxn ang="0">
                  <a:pos x="5668" y="0"/>
                </a:cxn>
              </a:cxnLst>
              <a:rect l="0" t="0" r="r" b="b"/>
              <a:pathLst>
                <a:path w="6838" h="1872">
                  <a:moveTo>
                    <a:pt x="5668" y="0"/>
                  </a:moveTo>
                  <a:lnTo>
                    <a:pt x="5902" y="104"/>
                  </a:lnTo>
                  <a:lnTo>
                    <a:pt x="6084" y="208"/>
                  </a:lnTo>
                  <a:lnTo>
                    <a:pt x="6188" y="338"/>
                  </a:lnTo>
                  <a:lnTo>
                    <a:pt x="6214" y="416"/>
                  </a:lnTo>
                  <a:lnTo>
                    <a:pt x="6239" y="468"/>
                  </a:lnTo>
                  <a:lnTo>
                    <a:pt x="6214" y="546"/>
                  </a:lnTo>
                  <a:lnTo>
                    <a:pt x="6188" y="624"/>
                  </a:lnTo>
                  <a:lnTo>
                    <a:pt x="6110" y="702"/>
                  </a:lnTo>
                  <a:lnTo>
                    <a:pt x="6006" y="780"/>
                  </a:lnTo>
                  <a:lnTo>
                    <a:pt x="5746" y="910"/>
                  </a:lnTo>
                  <a:lnTo>
                    <a:pt x="5408" y="1040"/>
                  </a:lnTo>
                  <a:lnTo>
                    <a:pt x="4992" y="1144"/>
                  </a:lnTo>
                  <a:lnTo>
                    <a:pt x="4524" y="1222"/>
                  </a:lnTo>
                  <a:lnTo>
                    <a:pt x="3978" y="1248"/>
                  </a:lnTo>
                  <a:lnTo>
                    <a:pt x="3406" y="1274"/>
                  </a:lnTo>
                  <a:lnTo>
                    <a:pt x="2860" y="1248"/>
                  </a:lnTo>
                  <a:lnTo>
                    <a:pt x="2314" y="1222"/>
                  </a:lnTo>
                  <a:lnTo>
                    <a:pt x="1846" y="1144"/>
                  </a:lnTo>
                  <a:lnTo>
                    <a:pt x="1430" y="1040"/>
                  </a:lnTo>
                  <a:lnTo>
                    <a:pt x="1092" y="910"/>
                  </a:lnTo>
                  <a:lnTo>
                    <a:pt x="832" y="780"/>
                  </a:lnTo>
                  <a:lnTo>
                    <a:pt x="728" y="702"/>
                  </a:lnTo>
                  <a:lnTo>
                    <a:pt x="650" y="624"/>
                  </a:lnTo>
                  <a:lnTo>
                    <a:pt x="624" y="546"/>
                  </a:lnTo>
                  <a:lnTo>
                    <a:pt x="598" y="468"/>
                  </a:lnTo>
                  <a:lnTo>
                    <a:pt x="598" y="416"/>
                  </a:lnTo>
                  <a:lnTo>
                    <a:pt x="624" y="338"/>
                  </a:lnTo>
                  <a:lnTo>
                    <a:pt x="728" y="234"/>
                  </a:lnTo>
                  <a:lnTo>
                    <a:pt x="910" y="130"/>
                  </a:lnTo>
                  <a:lnTo>
                    <a:pt x="1118" y="26"/>
                  </a:lnTo>
                  <a:lnTo>
                    <a:pt x="650" y="182"/>
                  </a:lnTo>
                  <a:lnTo>
                    <a:pt x="468" y="260"/>
                  </a:lnTo>
                  <a:lnTo>
                    <a:pt x="312" y="364"/>
                  </a:lnTo>
                  <a:lnTo>
                    <a:pt x="182" y="468"/>
                  </a:lnTo>
                  <a:lnTo>
                    <a:pt x="78" y="572"/>
                  </a:lnTo>
                  <a:lnTo>
                    <a:pt x="26" y="676"/>
                  </a:lnTo>
                  <a:lnTo>
                    <a:pt x="0" y="806"/>
                  </a:lnTo>
                  <a:lnTo>
                    <a:pt x="26" y="910"/>
                  </a:lnTo>
                  <a:lnTo>
                    <a:pt x="78" y="1014"/>
                  </a:lnTo>
                  <a:lnTo>
                    <a:pt x="156" y="1118"/>
                  </a:lnTo>
                  <a:lnTo>
                    <a:pt x="286" y="1222"/>
                  </a:lnTo>
                  <a:lnTo>
                    <a:pt x="416" y="1300"/>
                  </a:lnTo>
                  <a:lnTo>
                    <a:pt x="598" y="1404"/>
                  </a:lnTo>
                  <a:lnTo>
                    <a:pt x="1014" y="1560"/>
                  </a:lnTo>
                  <a:lnTo>
                    <a:pt x="1508" y="1690"/>
                  </a:lnTo>
                  <a:lnTo>
                    <a:pt x="2106" y="1768"/>
                  </a:lnTo>
                  <a:lnTo>
                    <a:pt x="2729" y="1846"/>
                  </a:lnTo>
                  <a:lnTo>
                    <a:pt x="3432" y="1872"/>
                  </a:lnTo>
                  <a:lnTo>
                    <a:pt x="4108" y="1846"/>
                  </a:lnTo>
                  <a:lnTo>
                    <a:pt x="4758" y="1768"/>
                  </a:lnTo>
                  <a:lnTo>
                    <a:pt x="5330" y="1690"/>
                  </a:lnTo>
                  <a:lnTo>
                    <a:pt x="5850" y="1560"/>
                  </a:lnTo>
                  <a:lnTo>
                    <a:pt x="6266" y="1404"/>
                  </a:lnTo>
                  <a:lnTo>
                    <a:pt x="6448" y="1300"/>
                  </a:lnTo>
                  <a:lnTo>
                    <a:pt x="6578" y="1222"/>
                  </a:lnTo>
                  <a:lnTo>
                    <a:pt x="6682" y="1118"/>
                  </a:lnTo>
                  <a:lnTo>
                    <a:pt x="6786" y="1014"/>
                  </a:lnTo>
                  <a:lnTo>
                    <a:pt x="6838" y="910"/>
                  </a:lnTo>
                  <a:lnTo>
                    <a:pt x="6838" y="806"/>
                  </a:lnTo>
                  <a:lnTo>
                    <a:pt x="6838" y="676"/>
                  </a:lnTo>
                  <a:lnTo>
                    <a:pt x="6760" y="572"/>
                  </a:lnTo>
                  <a:lnTo>
                    <a:pt x="6656" y="442"/>
                  </a:lnTo>
                  <a:lnTo>
                    <a:pt x="6526" y="338"/>
                  </a:lnTo>
                  <a:lnTo>
                    <a:pt x="6344" y="260"/>
                  </a:lnTo>
                  <a:lnTo>
                    <a:pt x="6162" y="156"/>
                  </a:lnTo>
                  <a:lnTo>
                    <a:pt x="5928" y="78"/>
                  </a:lnTo>
                  <a:lnTo>
                    <a:pt x="566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 142">
              <a:extLst>
                <a:ext uri="{FF2B5EF4-FFF2-40B4-BE49-F238E27FC236}">
                  <a16:creationId xmlns="" xmlns:a16="http://schemas.microsoft.com/office/drawing/2014/main" id="{BC6D7CF5-09E3-4EDF-BEA8-28E8FE97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0766" y="3983850"/>
              <a:ext cx="35685" cy="35684"/>
            </a:xfrm>
            <a:custGeom>
              <a:avLst/>
              <a:gdLst/>
              <a:ahLst/>
              <a:cxnLst>
                <a:cxn ang="0">
                  <a:pos x="520" y="260"/>
                </a:cxn>
                <a:cxn ang="0">
                  <a:pos x="520" y="364"/>
                </a:cxn>
                <a:cxn ang="0">
                  <a:pos x="442" y="443"/>
                </a:cxn>
                <a:cxn ang="0">
                  <a:pos x="364" y="494"/>
                </a:cxn>
                <a:cxn ang="0">
                  <a:pos x="260" y="520"/>
                </a:cxn>
                <a:cxn ang="0">
                  <a:pos x="156" y="494"/>
                </a:cxn>
                <a:cxn ang="0">
                  <a:pos x="78" y="443"/>
                </a:cxn>
                <a:cxn ang="0">
                  <a:pos x="0" y="364"/>
                </a:cxn>
                <a:cxn ang="0">
                  <a:pos x="0" y="260"/>
                </a:cxn>
                <a:cxn ang="0">
                  <a:pos x="0" y="156"/>
                </a:cxn>
                <a:cxn ang="0">
                  <a:pos x="78" y="78"/>
                </a:cxn>
                <a:cxn ang="0">
                  <a:pos x="156" y="0"/>
                </a:cxn>
                <a:cxn ang="0">
                  <a:pos x="260" y="0"/>
                </a:cxn>
                <a:cxn ang="0">
                  <a:pos x="364" y="0"/>
                </a:cxn>
                <a:cxn ang="0">
                  <a:pos x="442" y="78"/>
                </a:cxn>
                <a:cxn ang="0">
                  <a:pos x="520" y="156"/>
                </a:cxn>
                <a:cxn ang="0">
                  <a:pos x="520" y="260"/>
                </a:cxn>
              </a:cxnLst>
              <a:rect l="0" t="0" r="r" b="b"/>
              <a:pathLst>
                <a:path w="520" h="520">
                  <a:moveTo>
                    <a:pt x="520" y="260"/>
                  </a:moveTo>
                  <a:lnTo>
                    <a:pt x="520" y="364"/>
                  </a:lnTo>
                  <a:lnTo>
                    <a:pt x="442" y="443"/>
                  </a:lnTo>
                  <a:lnTo>
                    <a:pt x="364" y="494"/>
                  </a:lnTo>
                  <a:lnTo>
                    <a:pt x="260" y="520"/>
                  </a:lnTo>
                  <a:lnTo>
                    <a:pt x="156" y="494"/>
                  </a:lnTo>
                  <a:lnTo>
                    <a:pt x="78" y="443"/>
                  </a:lnTo>
                  <a:lnTo>
                    <a:pt x="0" y="364"/>
                  </a:lnTo>
                  <a:lnTo>
                    <a:pt x="0" y="260"/>
                  </a:lnTo>
                  <a:lnTo>
                    <a:pt x="0" y="156"/>
                  </a:lnTo>
                  <a:lnTo>
                    <a:pt x="78" y="78"/>
                  </a:lnTo>
                  <a:lnTo>
                    <a:pt x="156" y="0"/>
                  </a:lnTo>
                  <a:lnTo>
                    <a:pt x="260" y="0"/>
                  </a:lnTo>
                  <a:lnTo>
                    <a:pt x="364" y="0"/>
                  </a:lnTo>
                  <a:lnTo>
                    <a:pt x="442" y="78"/>
                  </a:lnTo>
                  <a:lnTo>
                    <a:pt x="520" y="156"/>
                  </a:lnTo>
                  <a:lnTo>
                    <a:pt x="520" y="2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 143">
              <a:extLst>
                <a:ext uri="{FF2B5EF4-FFF2-40B4-BE49-F238E27FC236}">
                  <a16:creationId xmlns="" xmlns:a16="http://schemas.microsoft.com/office/drawing/2014/main" id="{D440762D-9420-4EE6-8B3F-13B410F2B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435" y="4023102"/>
              <a:ext cx="96348" cy="221243"/>
            </a:xfrm>
            <a:custGeom>
              <a:avLst/>
              <a:gdLst/>
              <a:ahLst/>
              <a:cxnLst>
                <a:cxn ang="0">
                  <a:pos x="1326" y="390"/>
                </a:cxn>
                <a:cxn ang="0">
                  <a:pos x="1274" y="286"/>
                </a:cxn>
                <a:cxn ang="0">
                  <a:pos x="1040" y="182"/>
                </a:cxn>
                <a:cxn ang="0">
                  <a:pos x="858" y="52"/>
                </a:cxn>
                <a:cxn ang="0">
                  <a:pos x="832" y="0"/>
                </a:cxn>
                <a:cxn ang="0">
                  <a:pos x="780" y="104"/>
                </a:cxn>
                <a:cxn ang="0">
                  <a:pos x="728" y="182"/>
                </a:cxn>
                <a:cxn ang="0">
                  <a:pos x="806" y="571"/>
                </a:cxn>
                <a:cxn ang="0">
                  <a:pos x="702" y="910"/>
                </a:cxn>
                <a:cxn ang="0">
                  <a:pos x="598" y="571"/>
                </a:cxn>
                <a:cxn ang="0">
                  <a:pos x="676" y="182"/>
                </a:cxn>
                <a:cxn ang="0">
                  <a:pos x="624" y="104"/>
                </a:cxn>
                <a:cxn ang="0">
                  <a:pos x="572" y="0"/>
                </a:cxn>
                <a:cxn ang="0">
                  <a:pos x="546" y="52"/>
                </a:cxn>
                <a:cxn ang="0">
                  <a:pos x="364" y="182"/>
                </a:cxn>
                <a:cxn ang="0">
                  <a:pos x="130" y="286"/>
                </a:cxn>
                <a:cxn ang="0">
                  <a:pos x="78" y="390"/>
                </a:cxn>
                <a:cxn ang="0">
                  <a:pos x="0" y="1508"/>
                </a:cxn>
                <a:cxn ang="0">
                  <a:pos x="52" y="1612"/>
                </a:cxn>
                <a:cxn ang="0">
                  <a:pos x="208" y="1638"/>
                </a:cxn>
                <a:cxn ang="0">
                  <a:pos x="286" y="1560"/>
                </a:cxn>
                <a:cxn ang="0">
                  <a:pos x="286" y="2886"/>
                </a:cxn>
                <a:cxn ang="0">
                  <a:pos x="364" y="3146"/>
                </a:cxn>
                <a:cxn ang="0">
                  <a:pos x="468" y="3224"/>
                </a:cxn>
                <a:cxn ang="0">
                  <a:pos x="624" y="3198"/>
                </a:cxn>
                <a:cxn ang="0">
                  <a:pos x="702" y="3094"/>
                </a:cxn>
                <a:cxn ang="0">
                  <a:pos x="780" y="3198"/>
                </a:cxn>
                <a:cxn ang="0">
                  <a:pos x="910" y="3224"/>
                </a:cxn>
                <a:cxn ang="0">
                  <a:pos x="1040" y="3146"/>
                </a:cxn>
                <a:cxn ang="0">
                  <a:pos x="1118" y="2886"/>
                </a:cxn>
                <a:cxn ang="0">
                  <a:pos x="1118" y="1560"/>
                </a:cxn>
                <a:cxn ang="0">
                  <a:pos x="1196" y="1638"/>
                </a:cxn>
                <a:cxn ang="0">
                  <a:pos x="1352" y="1612"/>
                </a:cxn>
                <a:cxn ang="0">
                  <a:pos x="1404" y="1508"/>
                </a:cxn>
              </a:cxnLst>
              <a:rect l="0" t="0" r="r" b="b"/>
              <a:pathLst>
                <a:path w="1404" h="3224">
                  <a:moveTo>
                    <a:pt x="1404" y="1430"/>
                  </a:moveTo>
                  <a:lnTo>
                    <a:pt x="1326" y="390"/>
                  </a:lnTo>
                  <a:lnTo>
                    <a:pt x="1300" y="338"/>
                  </a:lnTo>
                  <a:lnTo>
                    <a:pt x="1274" y="286"/>
                  </a:lnTo>
                  <a:lnTo>
                    <a:pt x="1222" y="260"/>
                  </a:lnTo>
                  <a:lnTo>
                    <a:pt x="1040" y="182"/>
                  </a:lnTo>
                  <a:lnTo>
                    <a:pt x="936" y="104"/>
                  </a:lnTo>
                  <a:lnTo>
                    <a:pt x="858" y="52"/>
                  </a:lnTo>
                  <a:lnTo>
                    <a:pt x="858" y="0"/>
                  </a:lnTo>
                  <a:lnTo>
                    <a:pt x="832" y="0"/>
                  </a:lnTo>
                  <a:lnTo>
                    <a:pt x="754" y="26"/>
                  </a:lnTo>
                  <a:lnTo>
                    <a:pt x="780" y="104"/>
                  </a:lnTo>
                  <a:lnTo>
                    <a:pt x="754" y="156"/>
                  </a:lnTo>
                  <a:lnTo>
                    <a:pt x="728" y="182"/>
                  </a:lnTo>
                  <a:lnTo>
                    <a:pt x="780" y="390"/>
                  </a:lnTo>
                  <a:lnTo>
                    <a:pt x="806" y="571"/>
                  </a:lnTo>
                  <a:lnTo>
                    <a:pt x="754" y="780"/>
                  </a:lnTo>
                  <a:lnTo>
                    <a:pt x="702" y="910"/>
                  </a:lnTo>
                  <a:lnTo>
                    <a:pt x="650" y="780"/>
                  </a:lnTo>
                  <a:lnTo>
                    <a:pt x="598" y="571"/>
                  </a:lnTo>
                  <a:lnTo>
                    <a:pt x="624" y="390"/>
                  </a:lnTo>
                  <a:lnTo>
                    <a:pt x="676" y="182"/>
                  </a:lnTo>
                  <a:lnTo>
                    <a:pt x="650" y="156"/>
                  </a:lnTo>
                  <a:lnTo>
                    <a:pt x="624" y="104"/>
                  </a:lnTo>
                  <a:lnTo>
                    <a:pt x="650" y="26"/>
                  </a:lnTo>
                  <a:lnTo>
                    <a:pt x="572" y="0"/>
                  </a:lnTo>
                  <a:lnTo>
                    <a:pt x="546" y="0"/>
                  </a:lnTo>
                  <a:lnTo>
                    <a:pt x="546" y="52"/>
                  </a:lnTo>
                  <a:lnTo>
                    <a:pt x="468" y="104"/>
                  </a:lnTo>
                  <a:lnTo>
                    <a:pt x="364" y="182"/>
                  </a:lnTo>
                  <a:lnTo>
                    <a:pt x="182" y="260"/>
                  </a:lnTo>
                  <a:lnTo>
                    <a:pt x="130" y="286"/>
                  </a:lnTo>
                  <a:lnTo>
                    <a:pt x="104" y="338"/>
                  </a:lnTo>
                  <a:lnTo>
                    <a:pt x="78" y="390"/>
                  </a:lnTo>
                  <a:lnTo>
                    <a:pt x="0" y="1430"/>
                  </a:lnTo>
                  <a:lnTo>
                    <a:pt x="0" y="1508"/>
                  </a:lnTo>
                  <a:lnTo>
                    <a:pt x="26" y="1560"/>
                  </a:lnTo>
                  <a:lnTo>
                    <a:pt x="52" y="1612"/>
                  </a:lnTo>
                  <a:lnTo>
                    <a:pt x="104" y="1638"/>
                  </a:lnTo>
                  <a:lnTo>
                    <a:pt x="208" y="1638"/>
                  </a:lnTo>
                  <a:lnTo>
                    <a:pt x="234" y="1612"/>
                  </a:lnTo>
                  <a:lnTo>
                    <a:pt x="286" y="1560"/>
                  </a:lnTo>
                  <a:lnTo>
                    <a:pt x="286" y="1586"/>
                  </a:lnTo>
                  <a:lnTo>
                    <a:pt x="286" y="2886"/>
                  </a:lnTo>
                  <a:lnTo>
                    <a:pt x="312" y="3042"/>
                  </a:lnTo>
                  <a:lnTo>
                    <a:pt x="364" y="3146"/>
                  </a:lnTo>
                  <a:lnTo>
                    <a:pt x="416" y="3198"/>
                  </a:lnTo>
                  <a:lnTo>
                    <a:pt x="468" y="3224"/>
                  </a:lnTo>
                  <a:lnTo>
                    <a:pt x="546" y="3224"/>
                  </a:lnTo>
                  <a:lnTo>
                    <a:pt x="624" y="3198"/>
                  </a:lnTo>
                  <a:lnTo>
                    <a:pt x="676" y="3172"/>
                  </a:lnTo>
                  <a:lnTo>
                    <a:pt x="702" y="3094"/>
                  </a:lnTo>
                  <a:lnTo>
                    <a:pt x="728" y="3172"/>
                  </a:lnTo>
                  <a:lnTo>
                    <a:pt x="780" y="3198"/>
                  </a:lnTo>
                  <a:lnTo>
                    <a:pt x="858" y="3224"/>
                  </a:lnTo>
                  <a:lnTo>
                    <a:pt x="910" y="3224"/>
                  </a:lnTo>
                  <a:lnTo>
                    <a:pt x="988" y="3198"/>
                  </a:lnTo>
                  <a:lnTo>
                    <a:pt x="1040" y="3146"/>
                  </a:lnTo>
                  <a:lnTo>
                    <a:pt x="1092" y="3042"/>
                  </a:lnTo>
                  <a:lnTo>
                    <a:pt x="1118" y="2886"/>
                  </a:lnTo>
                  <a:lnTo>
                    <a:pt x="1118" y="1586"/>
                  </a:lnTo>
                  <a:lnTo>
                    <a:pt x="1118" y="1560"/>
                  </a:lnTo>
                  <a:lnTo>
                    <a:pt x="1170" y="1612"/>
                  </a:lnTo>
                  <a:lnTo>
                    <a:pt x="1196" y="1638"/>
                  </a:lnTo>
                  <a:lnTo>
                    <a:pt x="1300" y="1638"/>
                  </a:lnTo>
                  <a:lnTo>
                    <a:pt x="1352" y="1612"/>
                  </a:lnTo>
                  <a:lnTo>
                    <a:pt x="1378" y="1560"/>
                  </a:lnTo>
                  <a:lnTo>
                    <a:pt x="1404" y="1508"/>
                  </a:lnTo>
                  <a:lnTo>
                    <a:pt x="1404" y="14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 144">
              <a:extLst>
                <a:ext uri="{FF2B5EF4-FFF2-40B4-BE49-F238E27FC236}">
                  <a16:creationId xmlns="" xmlns:a16="http://schemas.microsoft.com/office/drawing/2014/main" id="{D51576B5-A46F-4E5B-BC4D-603A553B7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9398" y="4228287"/>
              <a:ext cx="178422" cy="48174"/>
            </a:xfrm>
            <a:custGeom>
              <a:avLst/>
              <a:gdLst/>
              <a:ahLst/>
              <a:cxnLst>
                <a:cxn ang="0">
                  <a:pos x="2158" y="0"/>
                </a:cxn>
                <a:cxn ang="0">
                  <a:pos x="2313" y="78"/>
                </a:cxn>
                <a:cxn ang="0">
                  <a:pos x="2366" y="130"/>
                </a:cxn>
                <a:cxn ang="0">
                  <a:pos x="2366" y="182"/>
                </a:cxn>
                <a:cxn ang="0">
                  <a:pos x="2340" y="234"/>
                </a:cxn>
                <a:cxn ang="0">
                  <a:pos x="2288" y="286"/>
                </a:cxn>
                <a:cxn ang="0">
                  <a:pos x="2184" y="339"/>
                </a:cxn>
                <a:cxn ang="0">
                  <a:pos x="2054" y="391"/>
                </a:cxn>
                <a:cxn ang="0">
                  <a:pos x="1716" y="468"/>
                </a:cxn>
                <a:cxn ang="0">
                  <a:pos x="1300" y="468"/>
                </a:cxn>
                <a:cxn ang="0">
                  <a:pos x="884" y="468"/>
                </a:cxn>
                <a:cxn ang="0">
                  <a:pos x="520" y="391"/>
                </a:cxn>
                <a:cxn ang="0">
                  <a:pos x="390" y="339"/>
                </a:cxn>
                <a:cxn ang="0">
                  <a:pos x="312" y="286"/>
                </a:cxn>
                <a:cxn ang="0">
                  <a:pos x="234" y="234"/>
                </a:cxn>
                <a:cxn ang="0">
                  <a:pos x="208" y="182"/>
                </a:cxn>
                <a:cxn ang="0">
                  <a:pos x="234" y="130"/>
                </a:cxn>
                <a:cxn ang="0">
                  <a:pos x="260" y="78"/>
                </a:cxn>
                <a:cxn ang="0">
                  <a:pos x="416" y="0"/>
                </a:cxn>
                <a:cxn ang="0">
                  <a:pos x="234" y="52"/>
                </a:cxn>
                <a:cxn ang="0">
                  <a:pos x="104" y="130"/>
                </a:cxn>
                <a:cxn ang="0">
                  <a:pos x="26" y="208"/>
                </a:cxn>
                <a:cxn ang="0">
                  <a:pos x="0" y="286"/>
                </a:cxn>
                <a:cxn ang="0">
                  <a:pos x="26" y="391"/>
                </a:cxn>
                <a:cxn ang="0">
                  <a:pos x="104" y="468"/>
                </a:cxn>
                <a:cxn ang="0">
                  <a:pos x="208" y="520"/>
                </a:cxn>
                <a:cxn ang="0">
                  <a:pos x="364" y="598"/>
                </a:cxn>
                <a:cxn ang="0">
                  <a:pos x="572" y="624"/>
                </a:cxn>
                <a:cxn ang="0">
                  <a:pos x="780" y="676"/>
                </a:cxn>
                <a:cxn ang="0">
                  <a:pos x="1040" y="702"/>
                </a:cxn>
                <a:cxn ang="0">
                  <a:pos x="1300" y="702"/>
                </a:cxn>
                <a:cxn ang="0">
                  <a:pos x="1560" y="702"/>
                </a:cxn>
                <a:cxn ang="0">
                  <a:pos x="1820" y="676"/>
                </a:cxn>
                <a:cxn ang="0">
                  <a:pos x="2028" y="624"/>
                </a:cxn>
                <a:cxn ang="0">
                  <a:pos x="2236" y="598"/>
                </a:cxn>
                <a:cxn ang="0">
                  <a:pos x="2392" y="520"/>
                </a:cxn>
                <a:cxn ang="0">
                  <a:pos x="2496" y="468"/>
                </a:cxn>
                <a:cxn ang="0">
                  <a:pos x="2574" y="391"/>
                </a:cxn>
                <a:cxn ang="0">
                  <a:pos x="2600" y="286"/>
                </a:cxn>
                <a:cxn ang="0">
                  <a:pos x="2574" y="208"/>
                </a:cxn>
                <a:cxn ang="0">
                  <a:pos x="2496" y="130"/>
                </a:cxn>
                <a:cxn ang="0">
                  <a:pos x="2340" y="52"/>
                </a:cxn>
                <a:cxn ang="0">
                  <a:pos x="2158" y="0"/>
                </a:cxn>
              </a:cxnLst>
              <a:rect l="0" t="0" r="r" b="b"/>
              <a:pathLst>
                <a:path w="2600" h="702">
                  <a:moveTo>
                    <a:pt x="2158" y="0"/>
                  </a:moveTo>
                  <a:lnTo>
                    <a:pt x="2313" y="78"/>
                  </a:lnTo>
                  <a:lnTo>
                    <a:pt x="2366" y="130"/>
                  </a:lnTo>
                  <a:lnTo>
                    <a:pt x="2366" y="182"/>
                  </a:lnTo>
                  <a:lnTo>
                    <a:pt x="2340" y="234"/>
                  </a:lnTo>
                  <a:lnTo>
                    <a:pt x="2288" y="286"/>
                  </a:lnTo>
                  <a:lnTo>
                    <a:pt x="2184" y="339"/>
                  </a:lnTo>
                  <a:lnTo>
                    <a:pt x="2054" y="391"/>
                  </a:lnTo>
                  <a:lnTo>
                    <a:pt x="1716" y="468"/>
                  </a:lnTo>
                  <a:lnTo>
                    <a:pt x="1300" y="468"/>
                  </a:lnTo>
                  <a:lnTo>
                    <a:pt x="884" y="468"/>
                  </a:lnTo>
                  <a:lnTo>
                    <a:pt x="520" y="391"/>
                  </a:lnTo>
                  <a:lnTo>
                    <a:pt x="390" y="339"/>
                  </a:lnTo>
                  <a:lnTo>
                    <a:pt x="312" y="286"/>
                  </a:lnTo>
                  <a:lnTo>
                    <a:pt x="234" y="234"/>
                  </a:lnTo>
                  <a:lnTo>
                    <a:pt x="208" y="182"/>
                  </a:lnTo>
                  <a:lnTo>
                    <a:pt x="234" y="130"/>
                  </a:lnTo>
                  <a:lnTo>
                    <a:pt x="260" y="78"/>
                  </a:lnTo>
                  <a:lnTo>
                    <a:pt x="416" y="0"/>
                  </a:lnTo>
                  <a:lnTo>
                    <a:pt x="234" y="52"/>
                  </a:lnTo>
                  <a:lnTo>
                    <a:pt x="104" y="130"/>
                  </a:lnTo>
                  <a:lnTo>
                    <a:pt x="26" y="208"/>
                  </a:lnTo>
                  <a:lnTo>
                    <a:pt x="0" y="286"/>
                  </a:lnTo>
                  <a:lnTo>
                    <a:pt x="26" y="391"/>
                  </a:lnTo>
                  <a:lnTo>
                    <a:pt x="104" y="468"/>
                  </a:lnTo>
                  <a:lnTo>
                    <a:pt x="208" y="520"/>
                  </a:lnTo>
                  <a:lnTo>
                    <a:pt x="364" y="598"/>
                  </a:lnTo>
                  <a:lnTo>
                    <a:pt x="572" y="624"/>
                  </a:lnTo>
                  <a:lnTo>
                    <a:pt x="780" y="676"/>
                  </a:lnTo>
                  <a:lnTo>
                    <a:pt x="1040" y="702"/>
                  </a:lnTo>
                  <a:lnTo>
                    <a:pt x="1300" y="702"/>
                  </a:lnTo>
                  <a:lnTo>
                    <a:pt x="1560" y="702"/>
                  </a:lnTo>
                  <a:lnTo>
                    <a:pt x="1820" y="676"/>
                  </a:lnTo>
                  <a:lnTo>
                    <a:pt x="2028" y="624"/>
                  </a:lnTo>
                  <a:lnTo>
                    <a:pt x="2236" y="598"/>
                  </a:lnTo>
                  <a:lnTo>
                    <a:pt x="2392" y="520"/>
                  </a:lnTo>
                  <a:lnTo>
                    <a:pt x="2496" y="468"/>
                  </a:lnTo>
                  <a:lnTo>
                    <a:pt x="2574" y="391"/>
                  </a:lnTo>
                  <a:lnTo>
                    <a:pt x="2600" y="286"/>
                  </a:lnTo>
                  <a:lnTo>
                    <a:pt x="2574" y="208"/>
                  </a:lnTo>
                  <a:lnTo>
                    <a:pt x="2496" y="130"/>
                  </a:lnTo>
                  <a:lnTo>
                    <a:pt x="2340" y="52"/>
                  </a:lnTo>
                  <a:lnTo>
                    <a:pt x="215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 145">
              <a:extLst>
                <a:ext uri="{FF2B5EF4-FFF2-40B4-BE49-F238E27FC236}">
                  <a16:creationId xmlns="" xmlns:a16="http://schemas.microsoft.com/office/drawing/2014/main" id="{0713B666-548A-4F1B-9049-266B2BDB9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3751" y="3942813"/>
              <a:ext cx="53526" cy="51742"/>
            </a:xfrm>
            <a:custGeom>
              <a:avLst/>
              <a:gdLst/>
              <a:ahLst/>
              <a:cxnLst>
                <a:cxn ang="0">
                  <a:pos x="780" y="390"/>
                </a:cxn>
                <a:cxn ang="0">
                  <a:pos x="728" y="520"/>
                </a:cxn>
                <a:cxn ang="0">
                  <a:pos x="650" y="650"/>
                </a:cxn>
                <a:cxn ang="0">
                  <a:pos x="546" y="728"/>
                </a:cxn>
                <a:cxn ang="0">
                  <a:pos x="390" y="754"/>
                </a:cxn>
                <a:cxn ang="0">
                  <a:pos x="234" y="728"/>
                </a:cxn>
                <a:cxn ang="0">
                  <a:pos x="130" y="650"/>
                </a:cxn>
                <a:cxn ang="0">
                  <a:pos x="26" y="520"/>
                </a:cxn>
                <a:cxn ang="0">
                  <a:pos x="0" y="390"/>
                </a:cxn>
                <a:cxn ang="0">
                  <a:pos x="26" y="234"/>
                </a:cxn>
                <a:cxn ang="0">
                  <a:pos x="130" y="104"/>
                </a:cxn>
                <a:cxn ang="0">
                  <a:pos x="234" y="26"/>
                </a:cxn>
                <a:cxn ang="0">
                  <a:pos x="390" y="0"/>
                </a:cxn>
                <a:cxn ang="0">
                  <a:pos x="546" y="26"/>
                </a:cxn>
                <a:cxn ang="0">
                  <a:pos x="650" y="104"/>
                </a:cxn>
                <a:cxn ang="0">
                  <a:pos x="728" y="234"/>
                </a:cxn>
                <a:cxn ang="0">
                  <a:pos x="780" y="390"/>
                </a:cxn>
              </a:cxnLst>
              <a:rect l="0" t="0" r="r" b="b"/>
              <a:pathLst>
                <a:path w="780" h="754">
                  <a:moveTo>
                    <a:pt x="780" y="390"/>
                  </a:moveTo>
                  <a:lnTo>
                    <a:pt x="728" y="520"/>
                  </a:lnTo>
                  <a:lnTo>
                    <a:pt x="650" y="650"/>
                  </a:lnTo>
                  <a:lnTo>
                    <a:pt x="546" y="728"/>
                  </a:lnTo>
                  <a:lnTo>
                    <a:pt x="390" y="754"/>
                  </a:lnTo>
                  <a:lnTo>
                    <a:pt x="234" y="728"/>
                  </a:lnTo>
                  <a:lnTo>
                    <a:pt x="130" y="650"/>
                  </a:lnTo>
                  <a:lnTo>
                    <a:pt x="26" y="520"/>
                  </a:lnTo>
                  <a:lnTo>
                    <a:pt x="0" y="390"/>
                  </a:lnTo>
                  <a:lnTo>
                    <a:pt x="26" y="234"/>
                  </a:lnTo>
                  <a:lnTo>
                    <a:pt x="130" y="104"/>
                  </a:lnTo>
                  <a:lnTo>
                    <a:pt x="234" y="26"/>
                  </a:lnTo>
                  <a:lnTo>
                    <a:pt x="390" y="0"/>
                  </a:lnTo>
                  <a:lnTo>
                    <a:pt x="546" y="26"/>
                  </a:lnTo>
                  <a:lnTo>
                    <a:pt x="650" y="104"/>
                  </a:lnTo>
                  <a:lnTo>
                    <a:pt x="728" y="234"/>
                  </a:lnTo>
                  <a:lnTo>
                    <a:pt x="780" y="3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46">
              <a:extLst>
                <a:ext uri="{FF2B5EF4-FFF2-40B4-BE49-F238E27FC236}">
                  <a16:creationId xmlns="" xmlns:a16="http://schemas.microsoft.com/office/drawing/2014/main" id="{7080F85D-1C1A-4992-8169-AAA1180CC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2714" y="3998123"/>
              <a:ext cx="135600" cy="312238"/>
            </a:xfrm>
            <a:custGeom>
              <a:avLst/>
              <a:gdLst/>
              <a:ahLst/>
              <a:cxnLst>
                <a:cxn ang="0">
                  <a:pos x="1847" y="572"/>
                </a:cxn>
                <a:cxn ang="0">
                  <a:pos x="1769" y="416"/>
                </a:cxn>
                <a:cxn ang="0">
                  <a:pos x="1483" y="260"/>
                </a:cxn>
                <a:cxn ang="0">
                  <a:pos x="1223" y="104"/>
                </a:cxn>
                <a:cxn ang="0">
                  <a:pos x="1171" y="0"/>
                </a:cxn>
                <a:cxn ang="0">
                  <a:pos x="1093" y="156"/>
                </a:cxn>
                <a:cxn ang="0">
                  <a:pos x="1067" y="235"/>
                </a:cxn>
                <a:cxn ang="0">
                  <a:pos x="1067" y="546"/>
                </a:cxn>
                <a:cxn ang="0">
                  <a:pos x="1093" y="935"/>
                </a:cxn>
                <a:cxn ang="0">
                  <a:pos x="1015" y="1222"/>
                </a:cxn>
                <a:cxn ang="0">
                  <a:pos x="963" y="1222"/>
                </a:cxn>
                <a:cxn ang="0">
                  <a:pos x="859" y="935"/>
                </a:cxn>
                <a:cxn ang="0">
                  <a:pos x="885" y="546"/>
                </a:cxn>
                <a:cxn ang="0">
                  <a:pos x="911" y="235"/>
                </a:cxn>
                <a:cxn ang="0">
                  <a:pos x="911" y="52"/>
                </a:cxn>
                <a:cxn ang="0">
                  <a:pos x="781" y="26"/>
                </a:cxn>
                <a:cxn ang="0">
                  <a:pos x="755" y="104"/>
                </a:cxn>
                <a:cxn ang="0">
                  <a:pos x="495" y="260"/>
                </a:cxn>
                <a:cxn ang="0">
                  <a:pos x="183" y="416"/>
                </a:cxn>
                <a:cxn ang="0">
                  <a:pos x="131" y="572"/>
                </a:cxn>
                <a:cxn ang="0">
                  <a:pos x="0" y="2132"/>
                </a:cxn>
                <a:cxn ang="0">
                  <a:pos x="79" y="2288"/>
                </a:cxn>
                <a:cxn ang="0">
                  <a:pos x="209" y="2314"/>
                </a:cxn>
                <a:cxn ang="0">
                  <a:pos x="339" y="2262"/>
                </a:cxn>
                <a:cxn ang="0">
                  <a:pos x="417" y="2210"/>
                </a:cxn>
                <a:cxn ang="0">
                  <a:pos x="417" y="4082"/>
                </a:cxn>
                <a:cxn ang="0">
                  <a:pos x="495" y="4420"/>
                </a:cxn>
                <a:cxn ang="0">
                  <a:pos x="677" y="4550"/>
                </a:cxn>
                <a:cxn ang="0">
                  <a:pos x="859" y="4524"/>
                </a:cxn>
                <a:cxn ang="0">
                  <a:pos x="989" y="4368"/>
                </a:cxn>
                <a:cxn ang="0">
                  <a:pos x="989" y="4368"/>
                </a:cxn>
                <a:cxn ang="0">
                  <a:pos x="1119" y="4524"/>
                </a:cxn>
                <a:cxn ang="0">
                  <a:pos x="1301" y="4550"/>
                </a:cxn>
                <a:cxn ang="0">
                  <a:pos x="1483" y="4420"/>
                </a:cxn>
                <a:cxn ang="0">
                  <a:pos x="1561" y="4082"/>
                </a:cxn>
                <a:cxn ang="0">
                  <a:pos x="1561" y="2210"/>
                </a:cxn>
                <a:cxn ang="0">
                  <a:pos x="1639" y="2262"/>
                </a:cxn>
                <a:cxn ang="0">
                  <a:pos x="1743" y="2314"/>
                </a:cxn>
                <a:cxn ang="0">
                  <a:pos x="1873" y="2288"/>
                </a:cxn>
                <a:cxn ang="0">
                  <a:pos x="1977" y="2132"/>
                </a:cxn>
              </a:cxnLst>
              <a:rect l="0" t="0" r="r" b="b"/>
              <a:pathLst>
                <a:path w="1977" h="4550">
                  <a:moveTo>
                    <a:pt x="1977" y="2028"/>
                  </a:moveTo>
                  <a:lnTo>
                    <a:pt x="1847" y="572"/>
                  </a:lnTo>
                  <a:lnTo>
                    <a:pt x="1821" y="494"/>
                  </a:lnTo>
                  <a:lnTo>
                    <a:pt x="1769" y="416"/>
                  </a:lnTo>
                  <a:lnTo>
                    <a:pt x="1717" y="364"/>
                  </a:lnTo>
                  <a:lnTo>
                    <a:pt x="1483" y="260"/>
                  </a:lnTo>
                  <a:lnTo>
                    <a:pt x="1301" y="156"/>
                  </a:lnTo>
                  <a:lnTo>
                    <a:pt x="1223" y="104"/>
                  </a:lnTo>
                  <a:lnTo>
                    <a:pt x="1197" y="26"/>
                  </a:lnTo>
                  <a:lnTo>
                    <a:pt x="1171" y="0"/>
                  </a:lnTo>
                  <a:lnTo>
                    <a:pt x="1067" y="52"/>
                  </a:lnTo>
                  <a:lnTo>
                    <a:pt x="1093" y="156"/>
                  </a:lnTo>
                  <a:lnTo>
                    <a:pt x="1093" y="208"/>
                  </a:lnTo>
                  <a:lnTo>
                    <a:pt x="1067" y="235"/>
                  </a:lnTo>
                  <a:lnTo>
                    <a:pt x="1041" y="260"/>
                  </a:lnTo>
                  <a:lnTo>
                    <a:pt x="1067" y="546"/>
                  </a:lnTo>
                  <a:lnTo>
                    <a:pt x="1119" y="806"/>
                  </a:lnTo>
                  <a:lnTo>
                    <a:pt x="1093" y="935"/>
                  </a:lnTo>
                  <a:lnTo>
                    <a:pt x="1067" y="1092"/>
                  </a:lnTo>
                  <a:lnTo>
                    <a:pt x="1015" y="1222"/>
                  </a:lnTo>
                  <a:lnTo>
                    <a:pt x="989" y="1300"/>
                  </a:lnTo>
                  <a:lnTo>
                    <a:pt x="963" y="1222"/>
                  </a:lnTo>
                  <a:lnTo>
                    <a:pt x="911" y="1092"/>
                  </a:lnTo>
                  <a:lnTo>
                    <a:pt x="859" y="935"/>
                  </a:lnTo>
                  <a:lnTo>
                    <a:pt x="859" y="806"/>
                  </a:lnTo>
                  <a:lnTo>
                    <a:pt x="885" y="546"/>
                  </a:lnTo>
                  <a:lnTo>
                    <a:pt x="937" y="260"/>
                  </a:lnTo>
                  <a:lnTo>
                    <a:pt x="911" y="235"/>
                  </a:lnTo>
                  <a:lnTo>
                    <a:pt x="885" y="156"/>
                  </a:lnTo>
                  <a:lnTo>
                    <a:pt x="911" y="52"/>
                  </a:lnTo>
                  <a:lnTo>
                    <a:pt x="807" y="0"/>
                  </a:lnTo>
                  <a:lnTo>
                    <a:pt x="781" y="26"/>
                  </a:lnTo>
                  <a:lnTo>
                    <a:pt x="755" y="26"/>
                  </a:lnTo>
                  <a:lnTo>
                    <a:pt x="755" y="104"/>
                  </a:lnTo>
                  <a:lnTo>
                    <a:pt x="677" y="156"/>
                  </a:lnTo>
                  <a:lnTo>
                    <a:pt x="495" y="260"/>
                  </a:lnTo>
                  <a:lnTo>
                    <a:pt x="261" y="364"/>
                  </a:lnTo>
                  <a:lnTo>
                    <a:pt x="183" y="416"/>
                  </a:lnTo>
                  <a:lnTo>
                    <a:pt x="157" y="494"/>
                  </a:lnTo>
                  <a:lnTo>
                    <a:pt x="131" y="572"/>
                  </a:lnTo>
                  <a:lnTo>
                    <a:pt x="0" y="2028"/>
                  </a:lnTo>
                  <a:lnTo>
                    <a:pt x="0" y="2132"/>
                  </a:lnTo>
                  <a:lnTo>
                    <a:pt x="53" y="2210"/>
                  </a:lnTo>
                  <a:lnTo>
                    <a:pt x="79" y="2288"/>
                  </a:lnTo>
                  <a:lnTo>
                    <a:pt x="157" y="2314"/>
                  </a:lnTo>
                  <a:lnTo>
                    <a:pt x="209" y="2314"/>
                  </a:lnTo>
                  <a:lnTo>
                    <a:pt x="287" y="2314"/>
                  </a:lnTo>
                  <a:lnTo>
                    <a:pt x="339" y="2262"/>
                  </a:lnTo>
                  <a:lnTo>
                    <a:pt x="391" y="2210"/>
                  </a:lnTo>
                  <a:lnTo>
                    <a:pt x="417" y="2210"/>
                  </a:lnTo>
                  <a:lnTo>
                    <a:pt x="417" y="2236"/>
                  </a:lnTo>
                  <a:lnTo>
                    <a:pt x="417" y="4082"/>
                  </a:lnTo>
                  <a:lnTo>
                    <a:pt x="443" y="4290"/>
                  </a:lnTo>
                  <a:lnTo>
                    <a:pt x="495" y="4420"/>
                  </a:lnTo>
                  <a:lnTo>
                    <a:pt x="573" y="4498"/>
                  </a:lnTo>
                  <a:lnTo>
                    <a:pt x="677" y="4550"/>
                  </a:lnTo>
                  <a:lnTo>
                    <a:pt x="781" y="4550"/>
                  </a:lnTo>
                  <a:lnTo>
                    <a:pt x="859" y="4524"/>
                  </a:lnTo>
                  <a:lnTo>
                    <a:pt x="937" y="4446"/>
                  </a:lnTo>
                  <a:lnTo>
                    <a:pt x="989" y="4368"/>
                  </a:lnTo>
                  <a:lnTo>
                    <a:pt x="989" y="4342"/>
                  </a:lnTo>
                  <a:lnTo>
                    <a:pt x="989" y="4368"/>
                  </a:lnTo>
                  <a:lnTo>
                    <a:pt x="1041" y="4446"/>
                  </a:lnTo>
                  <a:lnTo>
                    <a:pt x="1119" y="4524"/>
                  </a:lnTo>
                  <a:lnTo>
                    <a:pt x="1197" y="4550"/>
                  </a:lnTo>
                  <a:lnTo>
                    <a:pt x="1301" y="4550"/>
                  </a:lnTo>
                  <a:lnTo>
                    <a:pt x="1404" y="4498"/>
                  </a:lnTo>
                  <a:lnTo>
                    <a:pt x="1483" y="4420"/>
                  </a:lnTo>
                  <a:lnTo>
                    <a:pt x="1535" y="4290"/>
                  </a:lnTo>
                  <a:lnTo>
                    <a:pt x="1561" y="4082"/>
                  </a:lnTo>
                  <a:lnTo>
                    <a:pt x="1561" y="2236"/>
                  </a:lnTo>
                  <a:lnTo>
                    <a:pt x="1561" y="2210"/>
                  </a:lnTo>
                  <a:lnTo>
                    <a:pt x="1587" y="2210"/>
                  </a:lnTo>
                  <a:lnTo>
                    <a:pt x="1639" y="2262"/>
                  </a:lnTo>
                  <a:lnTo>
                    <a:pt x="1691" y="2314"/>
                  </a:lnTo>
                  <a:lnTo>
                    <a:pt x="1743" y="2314"/>
                  </a:lnTo>
                  <a:lnTo>
                    <a:pt x="1821" y="2314"/>
                  </a:lnTo>
                  <a:lnTo>
                    <a:pt x="1873" y="2288"/>
                  </a:lnTo>
                  <a:lnTo>
                    <a:pt x="1925" y="2210"/>
                  </a:lnTo>
                  <a:lnTo>
                    <a:pt x="1977" y="2132"/>
                  </a:lnTo>
                  <a:lnTo>
                    <a:pt x="1977" y="20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Freeform 147">
              <a:extLst>
                <a:ext uri="{FF2B5EF4-FFF2-40B4-BE49-F238E27FC236}">
                  <a16:creationId xmlns="" xmlns:a16="http://schemas.microsoft.com/office/drawing/2014/main" id="{1B7E94AB-A1FF-4413-A8BD-2BBC6E8BA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3835" y="4285381"/>
              <a:ext cx="253359" cy="69584"/>
            </a:xfrm>
            <a:custGeom>
              <a:avLst/>
              <a:gdLst/>
              <a:ahLst/>
              <a:cxnLst>
                <a:cxn ang="0">
                  <a:pos x="3042" y="0"/>
                </a:cxn>
                <a:cxn ang="0">
                  <a:pos x="3172" y="78"/>
                </a:cxn>
                <a:cxn ang="0">
                  <a:pos x="3276" y="130"/>
                </a:cxn>
                <a:cxn ang="0">
                  <a:pos x="3328" y="208"/>
                </a:cxn>
                <a:cxn ang="0">
                  <a:pos x="3354" y="260"/>
                </a:cxn>
                <a:cxn ang="0">
                  <a:pos x="3328" y="364"/>
                </a:cxn>
                <a:cxn ang="0">
                  <a:pos x="3224" y="442"/>
                </a:cxn>
                <a:cxn ang="0">
                  <a:pos x="3094" y="520"/>
                </a:cxn>
                <a:cxn ang="0">
                  <a:pos x="2912" y="572"/>
                </a:cxn>
                <a:cxn ang="0">
                  <a:pos x="2678" y="624"/>
                </a:cxn>
                <a:cxn ang="0">
                  <a:pos x="2418" y="650"/>
                </a:cxn>
                <a:cxn ang="0">
                  <a:pos x="2132" y="676"/>
                </a:cxn>
                <a:cxn ang="0">
                  <a:pos x="1846" y="702"/>
                </a:cxn>
                <a:cxn ang="0">
                  <a:pos x="1534" y="676"/>
                </a:cxn>
                <a:cxn ang="0">
                  <a:pos x="1248" y="650"/>
                </a:cxn>
                <a:cxn ang="0">
                  <a:pos x="988" y="624"/>
                </a:cxn>
                <a:cxn ang="0">
                  <a:pos x="780" y="572"/>
                </a:cxn>
                <a:cxn ang="0">
                  <a:pos x="572" y="520"/>
                </a:cxn>
                <a:cxn ang="0">
                  <a:pos x="442" y="442"/>
                </a:cxn>
                <a:cxn ang="0">
                  <a:pos x="364" y="364"/>
                </a:cxn>
                <a:cxn ang="0">
                  <a:pos x="312" y="260"/>
                </a:cxn>
                <a:cxn ang="0">
                  <a:pos x="338" y="208"/>
                </a:cxn>
                <a:cxn ang="0">
                  <a:pos x="390" y="130"/>
                </a:cxn>
                <a:cxn ang="0">
                  <a:pos x="494" y="78"/>
                </a:cxn>
                <a:cxn ang="0">
                  <a:pos x="598" y="26"/>
                </a:cxn>
                <a:cxn ang="0">
                  <a:pos x="364" y="104"/>
                </a:cxn>
                <a:cxn ang="0">
                  <a:pos x="155" y="208"/>
                </a:cxn>
                <a:cxn ang="0">
                  <a:pos x="52" y="312"/>
                </a:cxn>
                <a:cxn ang="0">
                  <a:pos x="26" y="390"/>
                </a:cxn>
                <a:cxn ang="0">
                  <a:pos x="0" y="442"/>
                </a:cxn>
                <a:cxn ang="0">
                  <a:pos x="26" y="494"/>
                </a:cxn>
                <a:cxn ang="0">
                  <a:pos x="52" y="546"/>
                </a:cxn>
                <a:cxn ang="0">
                  <a:pos x="155" y="676"/>
                </a:cxn>
                <a:cxn ang="0">
                  <a:pos x="312" y="754"/>
                </a:cxn>
                <a:cxn ang="0">
                  <a:pos x="546" y="858"/>
                </a:cxn>
                <a:cxn ang="0">
                  <a:pos x="806" y="910"/>
                </a:cxn>
                <a:cxn ang="0">
                  <a:pos x="1118" y="961"/>
                </a:cxn>
                <a:cxn ang="0">
                  <a:pos x="1482" y="988"/>
                </a:cxn>
                <a:cxn ang="0">
                  <a:pos x="1846" y="1014"/>
                </a:cxn>
                <a:cxn ang="0">
                  <a:pos x="2210" y="988"/>
                </a:cxn>
                <a:cxn ang="0">
                  <a:pos x="2548" y="961"/>
                </a:cxn>
                <a:cxn ang="0">
                  <a:pos x="2860" y="910"/>
                </a:cxn>
                <a:cxn ang="0">
                  <a:pos x="3146" y="858"/>
                </a:cxn>
                <a:cxn ang="0">
                  <a:pos x="3354" y="754"/>
                </a:cxn>
                <a:cxn ang="0">
                  <a:pos x="3536" y="676"/>
                </a:cxn>
                <a:cxn ang="0">
                  <a:pos x="3640" y="546"/>
                </a:cxn>
                <a:cxn ang="0">
                  <a:pos x="3666" y="494"/>
                </a:cxn>
                <a:cxn ang="0">
                  <a:pos x="3692" y="442"/>
                </a:cxn>
                <a:cxn ang="0">
                  <a:pos x="3666" y="390"/>
                </a:cxn>
                <a:cxn ang="0">
                  <a:pos x="3640" y="312"/>
                </a:cxn>
                <a:cxn ang="0">
                  <a:pos x="3510" y="208"/>
                </a:cxn>
                <a:cxn ang="0">
                  <a:pos x="3302" y="104"/>
                </a:cxn>
                <a:cxn ang="0">
                  <a:pos x="3042" y="0"/>
                </a:cxn>
              </a:cxnLst>
              <a:rect l="0" t="0" r="r" b="b"/>
              <a:pathLst>
                <a:path w="3692" h="1014">
                  <a:moveTo>
                    <a:pt x="3042" y="0"/>
                  </a:moveTo>
                  <a:lnTo>
                    <a:pt x="3172" y="78"/>
                  </a:lnTo>
                  <a:lnTo>
                    <a:pt x="3276" y="130"/>
                  </a:lnTo>
                  <a:lnTo>
                    <a:pt x="3328" y="208"/>
                  </a:lnTo>
                  <a:lnTo>
                    <a:pt x="3354" y="260"/>
                  </a:lnTo>
                  <a:lnTo>
                    <a:pt x="3328" y="364"/>
                  </a:lnTo>
                  <a:lnTo>
                    <a:pt x="3224" y="442"/>
                  </a:lnTo>
                  <a:lnTo>
                    <a:pt x="3094" y="520"/>
                  </a:lnTo>
                  <a:lnTo>
                    <a:pt x="2912" y="572"/>
                  </a:lnTo>
                  <a:lnTo>
                    <a:pt x="2678" y="624"/>
                  </a:lnTo>
                  <a:lnTo>
                    <a:pt x="2418" y="650"/>
                  </a:lnTo>
                  <a:lnTo>
                    <a:pt x="2132" y="676"/>
                  </a:lnTo>
                  <a:lnTo>
                    <a:pt x="1846" y="702"/>
                  </a:lnTo>
                  <a:lnTo>
                    <a:pt x="1534" y="676"/>
                  </a:lnTo>
                  <a:lnTo>
                    <a:pt x="1248" y="650"/>
                  </a:lnTo>
                  <a:lnTo>
                    <a:pt x="988" y="624"/>
                  </a:lnTo>
                  <a:lnTo>
                    <a:pt x="780" y="572"/>
                  </a:lnTo>
                  <a:lnTo>
                    <a:pt x="572" y="520"/>
                  </a:lnTo>
                  <a:lnTo>
                    <a:pt x="442" y="442"/>
                  </a:lnTo>
                  <a:lnTo>
                    <a:pt x="364" y="364"/>
                  </a:lnTo>
                  <a:lnTo>
                    <a:pt x="312" y="260"/>
                  </a:lnTo>
                  <a:lnTo>
                    <a:pt x="338" y="208"/>
                  </a:lnTo>
                  <a:lnTo>
                    <a:pt x="390" y="130"/>
                  </a:lnTo>
                  <a:lnTo>
                    <a:pt x="494" y="78"/>
                  </a:lnTo>
                  <a:lnTo>
                    <a:pt x="598" y="26"/>
                  </a:lnTo>
                  <a:lnTo>
                    <a:pt x="364" y="104"/>
                  </a:lnTo>
                  <a:lnTo>
                    <a:pt x="155" y="208"/>
                  </a:lnTo>
                  <a:lnTo>
                    <a:pt x="52" y="312"/>
                  </a:lnTo>
                  <a:lnTo>
                    <a:pt x="26" y="390"/>
                  </a:lnTo>
                  <a:lnTo>
                    <a:pt x="0" y="442"/>
                  </a:lnTo>
                  <a:lnTo>
                    <a:pt x="26" y="494"/>
                  </a:lnTo>
                  <a:lnTo>
                    <a:pt x="52" y="546"/>
                  </a:lnTo>
                  <a:lnTo>
                    <a:pt x="155" y="676"/>
                  </a:lnTo>
                  <a:lnTo>
                    <a:pt x="312" y="754"/>
                  </a:lnTo>
                  <a:lnTo>
                    <a:pt x="546" y="858"/>
                  </a:lnTo>
                  <a:lnTo>
                    <a:pt x="806" y="910"/>
                  </a:lnTo>
                  <a:lnTo>
                    <a:pt x="1118" y="961"/>
                  </a:lnTo>
                  <a:lnTo>
                    <a:pt x="1482" y="988"/>
                  </a:lnTo>
                  <a:lnTo>
                    <a:pt x="1846" y="1014"/>
                  </a:lnTo>
                  <a:lnTo>
                    <a:pt x="2210" y="988"/>
                  </a:lnTo>
                  <a:lnTo>
                    <a:pt x="2548" y="961"/>
                  </a:lnTo>
                  <a:lnTo>
                    <a:pt x="2860" y="910"/>
                  </a:lnTo>
                  <a:lnTo>
                    <a:pt x="3146" y="858"/>
                  </a:lnTo>
                  <a:lnTo>
                    <a:pt x="3354" y="754"/>
                  </a:lnTo>
                  <a:lnTo>
                    <a:pt x="3536" y="676"/>
                  </a:lnTo>
                  <a:lnTo>
                    <a:pt x="3640" y="546"/>
                  </a:lnTo>
                  <a:lnTo>
                    <a:pt x="3666" y="494"/>
                  </a:lnTo>
                  <a:lnTo>
                    <a:pt x="3692" y="442"/>
                  </a:lnTo>
                  <a:lnTo>
                    <a:pt x="3666" y="390"/>
                  </a:lnTo>
                  <a:lnTo>
                    <a:pt x="3640" y="312"/>
                  </a:lnTo>
                  <a:lnTo>
                    <a:pt x="3510" y="208"/>
                  </a:lnTo>
                  <a:lnTo>
                    <a:pt x="3302" y="104"/>
                  </a:lnTo>
                  <a:lnTo>
                    <a:pt x="304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48">
              <a:extLst>
                <a:ext uri="{FF2B5EF4-FFF2-40B4-BE49-F238E27FC236}">
                  <a16:creationId xmlns="" xmlns:a16="http://schemas.microsoft.com/office/drawing/2014/main" id="{6766E0FA-E0E5-4740-88A2-52538118C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5791" y="4001691"/>
              <a:ext cx="21410" cy="21410"/>
            </a:xfrm>
            <a:custGeom>
              <a:avLst/>
              <a:gdLst/>
              <a:ahLst/>
              <a:cxnLst>
                <a:cxn ang="0">
                  <a:pos x="312" y="156"/>
                </a:cxn>
                <a:cxn ang="0">
                  <a:pos x="312" y="234"/>
                </a:cxn>
                <a:cxn ang="0">
                  <a:pos x="260" y="260"/>
                </a:cxn>
                <a:cxn ang="0">
                  <a:pos x="234" y="312"/>
                </a:cxn>
                <a:cxn ang="0">
                  <a:pos x="156" y="312"/>
                </a:cxn>
                <a:cxn ang="0">
                  <a:pos x="104" y="312"/>
                </a:cxn>
                <a:cxn ang="0">
                  <a:pos x="52" y="260"/>
                </a:cxn>
                <a:cxn ang="0">
                  <a:pos x="26" y="234"/>
                </a:cxn>
                <a:cxn ang="0">
                  <a:pos x="0" y="156"/>
                </a:cxn>
                <a:cxn ang="0">
                  <a:pos x="26" y="104"/>
                </a:cxn>
                <a:cxn ang="0">
                  <a:pos x="52" y="52"/>
                </a:cxn>
                <a:cxn ang="0">
                  <a:pos x="104" y="26"/>
                </a:cxn>
                <a:cxn ang="0">
                  <a:pos x="156" y="0"/>
                </a:cxn>
                <a:cxn ang="0">
                  <a:pos x="234" y="26"/>
                </a:cxn>
                <a:cxn ang="0">
                  <a:pos x="260" y="52"/>
                </a:cxn>
                <a:cxn ang="0">
                  <a:pos x="312" y="104"/>
                </a:cxn>
                <a:cxn ang="0">
                  <a:pos x="312" y="156"/>
                </a:cxn>
              </a:cxnLst>
              <a:rect l="0" t="0" r="r" b="b"/>
              <a:pathLst>
                <a:path w="312" h="312">
                  <a:moveTo>
                    <a:pt x="312" y="156"/>
                  </a:moveTo>
                  <a:lnTo>
                    <a:pt x="312" y="234"/>
                  </a:lnTo>
                  <a:lnTo>
                    <a:pt x="260" y="260"/>
                  </a:lnTo>
                  <a:lnTo>
                    <a:pt x="234" y="312"/>
                  </a:lnTo>
                  <a:lnTo>
                    <a:pt x="156" y="312"/>
                  </a:lnTo>
                  <a:lnTo>
                    <a:pt x="104" y="312"/>
                  </a:lnTo>
                  <a:lnTo>
                    <a:pt x="52" y="260"/>
                  </a:lnTo>
                  <a:lnTo>
                    <a:pt x="26" y="234"/>
                  </a:lnTo>
                  <a:lnTo>
                    <a:pt x="0" y="156"/>
                  </a:lnTo>
                  <a:lnTo>
                    <a:pt x="26" y="104"/>
                  </a:lnTo>
                  <a:lnTo>
                    <a:pt x="52" y="52"/>
                  </a:lnTo>
                  <a:lnTo>
                    <a:pt x="104" y="26"/>
                  </a:lnTo>
                  <a:lnTo>
                    <a:pt x="156" y="0"/>
                  </a:lnTo>
                  <a:lnTo>
                    <a:pt x="234" y="26"/>
                  </a:lnTo>
                  <a:lnTo>
                    <a:pt x="260" y="52"/>
                  </a:lnTo>
                  <a:lnTo>
                    <a:pt x="312" y="104"/>
                  </a:lnTo>
                  <a:lnTo>
                    <a:pt x="312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Freeform 149">
              <a:extLst>
                <a:ext uri="{FF2B5EF4-FFF2-40B4-BE49-F238E27FC236}">
                  <a16:creationId xmlns="" xmlns:a16="http://schemas.microsoft.com/office/drawing/2014/main" id="{D325935A-BF28-4BC7-8A6E-2EE07912C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9733" y="4024886"/>
              <a:ext cx="55311" cy="128464"/>
            </a:xfrm>
            <a:custGeom>
              <a:avLst/>
              <a:gdLst/>
              <a:ahLst/>
              <a:cxnLst>
                <a:cxn ang="0">
                  <a:pos x="806" y="832"/>
                </a:cxn>
                <a:cxn ang="0">
                  <a:pos x="754" y="234"/>
                </a:cxn>
                <a:cxn ang="0">
                  <a:pos x="728" y="208"/>
                </a:cxn>
                <a:cxn ang="0">
                  <a:pos x="702" y="156"/>
                </a:cxn>
                <a:cxn ang="0">
                  <a:pos x="598" y="104"/>
                </a:cxn>
                <a:cxn ang="0">
                  <a:pos x="494" y="26"/>
                </a:cxn>
                <a:cxn ang="0">
                  <a:pos x="494" y="0"/>
                </a:cxn>
                <a:cxn ang="0">
                  <a:pos x="468" y="0"/>
                </a:cxn>
                <a:cxn ang="0">
                  <a:pos x="442" y="26"/>
                </a:cxn>
                <a:cxn ang="0">
                  <a:pos x="442" y="52"/>
                </a:cxn>
                <a:cxn ang="0">
                  <a:pos x="442" y="104"/>
                </a:cxn>
                <a:cxn ang="0">
                  <a:pos x="416" y="104"/>
                </a:cxn>
                <a:cxn ang="0">
                  <a:pos x="442" y="338"/>
                </a:cxn>
                <a:cxn ang="0">
                  <a:pos x="416" y="442"/>
                </a:cxn>
                <a:cxn ang="0">
                  <a:pos x="390" y="520"/>
                </a:cxn>
                <a:cxn ang="0">
                  <a:pos x="364" y="442"/>
                </a:cxn>
                <a:cxn ang="0">
                  <a:pos x="338" y="338"/>
                </a:cxn>
                <a:cxn ang="0">
                  <a:pos x="364" y="104"/>
                </a:cxn>
                <a:cxn ang="0">
                  <a:pos x="364" y="52"/>
                </a:cxn>
                <a:cxn ang="0">
                  <a:pos x="364" y="26"/>
                </a:cxn>
                <a:cxn ang="0">
                  <a:pos x="311" y="0"/>
                </a:cxn>
                <a:cxn ang="0">
                  <a:pos x="311" y="26"/>
                </a:cxn>
                <a:cxn ang="0">
                  <a:pos x="182" y="104"/>
                </a:cxn>
                <a:cxn ang="0">
                  <a:pos x="104" y="156"/>
                </a:cxn>
                <a:cxn ang="0">
                  <a:pos x="52" y="208"/>
                </a:cxn>
                <a:cxn ang="0">
                  <a:pos x="52" y="234"/>
                </a:cxn>
                <a:cxn ang="0">
                  <a:pos x="0" y="832"/>
                </a:cxn>
                <a:cxn ang="0">
                  <a:pos x="0" y="910"/>
                </a:cxn>
                <a:cxn ang="0">
                  <a:pos x="52" y="936"/>
                </a:cxn>
                <a:cxn ang="0">
                  <a:pos x="104" y="936"/>
                </a:cxn>
                <a:cxn ang="0">
                  <a:pos x="156" y="910"/>
                </a:cxn>
                <a:cxn ang="0">
                  <a:pos x="156" y="1664"/>
                </a:cxn>
                <a:cxn ang="0">
                  <a:pos x="182" y="1768"/>
                </a:cxn>
                <a:cxn ang="0">
                  <a:pos x="182" y="1820"/>
                </a:cxn>
                <a:cxn ang="0">
                  <a:pos x="234" y="1846"/>
                </a:cxn>
                <a:cxn ang="0">
                  <a:pos x="260" y="1872"/>
                </a:cxn>
                <a:cxn ang="0">
                  <a:pos x="338" y="1846"/>
                </a:cxn>
                <a:cxn ang="0">
                  <a:pos x="364" y="1820"/>
                </a:cxn>
                <a:cxn ang="0">
                  <a:pos x="390" y="1794"/>
                </a:cxn>
                <a:cxn ang="0">
                  <a:pos x="416" y="1820"/>
                </a:cxn>
                <a:cxn ang="0">
                  <a:pos x="442" y="1846"/>
                </a:cxn>
                <a:cxn ang="0">
                  <a:pos x="520" y="1872"/>
                </a:cxn>
                <a:cxn ang="0">
                  <a:pos x="572" y="1846"/>
                </a:cxn>
                <a:cxn ang="0">
                  <a:pos x="598" y="1820"/>
                </a:cxn>
                <a:cxn ang="0">
                  <a:pos x="624" y="1768"/>
                </a:cxn>
                <a:cxn ang="0">
                  <a:pos x="624" y="1664"/>
                </a:cxn>
                <a:cxn ang="0">
                  <a:pos x="624" y="910"/>
                </a:cxn>
                <a:cxn ang="0">
                  <a:pos x="650" y="910"/>
                </a:cxn>
                <a:cxn ang="0">
                  <a:pos x="676" y="936"/>
                </a:cxn>
                <a:cxn ang="0">
                  <a:pos x="728" y="936"/>
                </a:cxn>
                <a:cxn ang="0">
                  <a:pos x="780" y="910"/>
                </a:cxn>
                <a:cxn ang="0">
                  <a:pos x="806" y="832"/>
                </a:cxn>
              </a:cxnLst>
              <a:rect l="0" t="0" r="r" b="b"/>
              <a:pathLst>
                <a:path w="806" h="1872">
                  <a:moveTo>
                    <a:pt x="806" y="832"/>
                  </a:moveTo>
                  <a:lnTo>
                    <a:pt x="754" y="234"/>
                  </a:lnTo>
                  <a:lnTo>
                    <a:pt x="728" y="208"/>
                  </a:lnTo>
                  <a:lnTo>
                    <a:pt x="702" y="156"/>
                  </a:lnTo>
                  <a:lnTo>
                    <a:pt x="598" y="104"/>
                  </a:lnTo>
                  <a:lnTo>
                    <a:pt x="494" y="26"/>
                  </a:lnTo>
                  <a:lnTo>
                    <a:pt x="494" y="0"/>
                  </a:lnTo>
                  <a:lnTo>
                    <a:pt x="468" y="0"/>
                  </a:lnTo>
                  <a:lnTo>
                    <a:pt x="442" y="26"/>
                  </a:lnTo>
                  <a:lnTo>
                    <a:pt x="442" y="52"/>
                  </a:lnTo>
                  <a:lnTo>
                    <a:pt x="442" y="104"/>
                  </a:lnTo>
                  <a:lnTo>
                    <a:pt x="416" y="104"/>
                  </a:lnTo>
                  <a:lnTo>
                    <a:pt x="442" y="338"/>
                  </a:lnTo>
                  <a:lnTo>
                    <a:pt x="416" y="442"/>
                  </a:lnTo>
                  <a:lnTo>
                    <a:pt x="390" y="520"/>
                  </a:lnTo>
                  <a:lnTo>
                    <a:pt x="364" y="442"/>
                  </a:lnTo>
                  <a:lnTo>
                    <a:pt x="338" y="338"/>
                  </a:lnTo>
                  <a:lnTo>
                    <a:pt x="364" y="104"/>
                  </a:lnTo>
                  <a:lnTo>
                    <a:pt x="364" y="52"/>
                  </a:lnTo>
                  <a:lnTo>
                    <a:pt x="364" y="26"/>
                  </a:lnTo>
                  <a:lnTo>
                    <a:pt x="311" y="0"/>
                  </a:lnTo>
                  <a:lnTo>
                    <a:pt x="311" y="26"/>
                  </a:lnTo>
                  <a:lnTo>
                    <a:pt x="182" y="104"/>
                  </a:lnTo>
                  <a:lnTo>
                    <a:pt x="104" y="156"/>
                  </a:lnTo>
                  <a:lnTo>
                    <a:pt x="52" y="208"/>
                  </a:lnTo>
                  <a:lnTo>
                    <a:pt x="52" y="234"/>
                  </a:lnTo>
                  <a:lnTo>
                    <a:pt x="0" y="832"/>
                  </a:lnTo>
                  <a:lnTo>
                    <a:pt x="0" y="910"/>
                  </a:lnTo>
                  <a:lnTo>
                    <a:pt x="52" y="936"/>
                  </a:lnTo>
                  <a:lnTo>
                    <a:pt x="104" y="936"/>
                  </a:lnTo>
                  <a:lnTo>
                    <a:pt x="156" y="910"/>
                  </a:lnTo>
                  <a:lnTo>
                    <a:pt x="156" y="1664"/>
                  </a:lnTo>
                  <a:lnTo>
                    <a:pt x="182" y="1768"/>
                  </a:lnTo>
                  <a:lnTo>
                    <a:pt x="182" y="1820"/>
                  </a:lnTo>
                  <a:lnTo>
                    <a:pt x="234" y="1846"/>
                  </a:lnTo>
                  <a:lnTo>
                    <a:pt x="260" y="1872"/>
                  </a:lnTo>
                  <a:lnTo>
                    <a:pt x="338" y="1846"/>
                  </a:lnTo>
                  <a:lnTo>
                    <a:pt x="364" y="1820"/>
                  </a:lnTo>
                  <a:lnTo>
                    <a:pt x="390" y="1794"/>
                  </a:lnTo>
                  <a:lnTo>
                    <a:pt x="416" y="1820"/>
                  </a:lnTo>
                  <a:lnTo>
                    <a:pt x="442" y="1846"/>
                  </a:lnTo>
                  <a:lnTo>
                    <a:pt x="520" y="1872"/>
                  </a:lnTo>
                  <a:lnTo>
                    <a:pt x="572" y="1846"/>
                  </a:lnTo>
                  <a:lnTo>
                    <a:pt x="598" y="1820"/>
                  </a:lnTo>
                  <a:lnTo>
                    <a:pt x="624" y="1768"/>
                  </a:lnTo>
                  <a:lnTo>
                    <a:pt x="624" y="1664"/>
                  </a:lnTo>
                  <a:lnTo>
                    <a:pt x="624" y="910"/>
                  </a:lnTo>
                  <a:lnTo>
                    <a:pt x="650" y="910"/>
                  </a:lnTo>
                  <a:lnTo>
                    <a:pt x="676" y="936"/>
                  </a:lnTo>
                  <a:lnTo>
                    <a:pt x="728" y="936"/>
                  </a:lnTo>
                  <a:lnTo>
                    <a:pt x="780" y="910"/>
                  </a:lnTo>
                  <a:lnTo>
                    <a:pt x="806" y="8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Freeform 150">
              <a:extLst>
                <a:ext uri="{FF2B5EF4-FFF2-40B4-BE49-F238E27FC236}">
                  <a16:creationId xmlns="" xmlns:a16="http://schemas.microsoft.com/office/drawing/2014/main" id="{A9430115-AD60-4847-B25D-1D4DC1AB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4754" y="4142644"/>
              <a:ext cx="103485" cy="28547"/>
            </a:xfrm>
            <a:custGeom>
              <a:avLst/>
              <a:gdLst/>
              <a:ahLst/>
              <a:cxnLst>
                <a:cxn ang="0">
                  <a:pos x="1248" y="0"/>
                </a:cxn>
                <a:cxn ang="0">
                  <a:pos x="1352" y="52"/>
                </a:cxn>
                <a:cxn ang="0">
                  <a:pos x="1378" y="104"/>
                </a:cxn>
                <a:cxn ang="0">
                  <a:pos x="1352" y="156"/>
                </a:cxn>
                <a:cxn ang="0">
                  <a:pos x="1326" y="182"/>
                </a:cxn>
                <a:cxn ang="0">
                  <a:pos x="1196" y="235"/>
                </a:cxn>
                <a:cxn ang="0">
                  <a:pos x="988" y="260"/>
                </a:cxn>
                <a:cxn ang="0">
                  <a:pos x="754" y="286"/>
                </a:cxn>
                <a:cxn ang="0">
                  <a:pos x="520" y="260"/>
                </a:cxn>
                <a:cxn ang="0">
                  <a:pos x="312" y="235"/>
                </a:cxn>
                <a:cxn ang="0">
                  <a:pos x="182" y="182"/>
                </a:cxn>
                <a:cxn ang="0">
                  <a:pos x="156" y="156"/>
                </a:cxn>
                <a:cxn ang="0">
                  <a:pos x="130" y="104"/>
                </a:cxn>
                <a:cxn ang="0">
                  <a:pos x="156" y="52"/>
                </a:cxn>
                <a:cxn ang="0">
                  <a:pos x="260" y="0"/>
                </a:cxn>
                <a:cxn ang="0">
                  <a:pos x="78" y="78"/>
                </a:cxn>
                <a:cxn ang="0">
                  <a:pos x="26" y="130"/>
                </a:cxn>
                <a:cxn ang="0">
                  <a:pos x="0" y="182"/>
                </a:cxn>
                <a:cxn ang="0">
                  <a:pos x="26" y="235"/>
                </a:cxn>
                <a:cxn ang="0">
                  <a:pos x="52" y="260"/>
                </a:cxn>
                <a:cxn ang="0">
                  <a:pos x="234" y="338"/>
                </a:cxn>
                <a:cxn ang="0">
                  <a:pos x="468" y="390"/>
                </a:cxn>
                <a:cxn ang="0">
                  <a:pos x="754" y="416"/>
                </a:cxn>
                <a:cxn ang="0">
                  <a:pos x="1040" y="390"/>
                </a:cxn>
                <a:cxn ang="0">
                  <a:pos x="1300" y="338"/>
                </a:cxn>
                <a:cxn ang="0">
                  <a:pos x="1456" y="260"/>
                </a:cxn>
                <a:cxn ang="0">
                  <a:pos x="1508" y="235"/>
                </a:cxn>
                <a:cxn ang="0">
                  <a:pos x="1508" y="182"/>
                </a:cxn>
                <a:cxn ang="0">
                  <a:pos x="1482" y="130"/>
                </a:cxn>
                <a:cxn ang="0">
                  <a:pos x="1430" y="78"/>
                </a:cxn>
                <a:cxn ang="0">
                  <a:pos x="1352" y="52"/>
                </a:cxn>
                <a:cxn ang="0">
                  <a:pos x="1248" y="0"/>
                </a:cxn>
              </a:cxnLst>
              <a:rect l="0" t="0" r="r" b="b"/>
              <a:pathLst>
                <a:path w="1508" h="416">
                  <a:moveTo>
                    <a:pt x="1248" y="0"/>
                  </a:moveTo>
                  <a:lnTo>
                    <a:pt x="1352" y="52"/>
                  </a:lnTo>
                  <a:lnTo>
                    <a:pt x="1378" y="104"/>
                  </a:lnTo>
                  <a:lnTo>
                    <a:pt x="1352" y="156"/>
                  </a:lnTo>
                  <a:lnTo>
                    <a:pt x="1326" y="182"/>
                  </a:lnTo>
                  <a:lnTo>
                    <a:pt x="1196" y="235"/>
                  </a:lnTo>
                  <a:lnTo>
                    <a:pt x="988" y="260"/>
                  </a:lnTo>
                  <a:lnTo>
                    <a:pt x="754" y="286"/>
                  </a:lnTo>
                  <a:lnTo>
                    <a:pt x="520" y="260"/>
                  </a:lnTo>
                  <a:lnTo>
                    <a:pt x="312" y="235"/>
                  </a:lnTo>
                  <a:lnTo>
                    <a:pt x="182" y="182"/>
                  </a:lnTo>
                  <a:lnTo>
                    <a:pt x="156" y="156"/>
                  </a:lnTo>
                  <a:lnTo>
                    <a:pt x="130" y="104"/>
                  </a:lnTo>
                  <a:lnTo>
                    <a:pt x="156" y="52"/>
                  </a:lnTo>
                  <a:lnTo>
                    <a:pt x="260" y="0"/>
                  </a:lnTo>
                  <a:lnTo>
                    <a:pt x="78" y="78"/>
                  </a:lnTo>
                  <a:lnTo>
                    <a:pt x="26" y="130"/>
                  </a:lnTo>
                  <a:lnTo>
                    <a:pt x="0" y="182"/>
                  </a:lnTo>
                  <a:lnTo>
                    <a:pt x="26" y="235"/>
                  </a:lnTo>
                  <a:lnTo>
                    <a:pt x="52" y="260"/>
                  </a:lnTo>
                  <a:lnTo>
                    <a:pt x="234" y="338"/>
                  </a:lnTo>
                  <a:lnTo>
                    <a:pt x="468" y="390"/>
                  </a:lnTo>
                  <a:lnTo>
                    <a:pt x="754" y="416"/>
                  </a:lnTo>
                  <a:lnTo>
                    <a:pt x="1040" y="390"/>
                  </a:lnTo>
                  <a:lnTo>
                    <a:pt x="1300" y="338"/>
                  </a:lnTo>
                  <a:lnTo>
                    <a:pt x="1456" y="260"/>
                  </a:lnTo>
                  <a:lnTo>
                    <a:pt x="1508" y="235"/>
                  </a:lnTo>
                  <a:lnTo>
                    <a:pt x="1508" y="182"/>
                  </a:lnTo>
                  <a:lnTo>
                    <a:pt x="1482" y="130"/>
                  </a:lnTo>
                  <a:lnTo>
                    <a:pt x="1430" y="78"/>
                  </a:lnTo>
                  <a:lnTo>
                    <a:pt x="1352" y="52"/>
                  </a:lnTo>
                  <a:lnTo>
                    <a:pt x="12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51">
              <a:extLst>
                <a:ext uri="{FF2B5EF4-FFF2-40B4-BE49-F238E27FC236}">
                  <a16:creationId xmlns="" xmlns:a16="http://schemas.microsoft.com/office/drawing/2014/main" id="{B016BA6C-9F94-4434-8D1F-51101FE3B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1719" y="3941028"/>
              <a:ext cx="21410" cy="23195"/>
            </a:xfrm>
            <a:custGeom>
              <a:avLst/>
              <a:gdLst/>
              <a:ahLst/>
              <a:cxnLst>
                <a:cxn ang="0">
                  <a:pos x="312" y="156"/>
                </a:cxn>
                <a:cxn ang="0">
                  <a:pos x="312" y="234"/>
                </a:cxn>
                <a:cxn ang="0">
                  <a:pos x="260" y="286"/>
                </a:cxn>
                <a:cxn ang="0">
                  <a:pos x="234" y="312"/>
                </a:cxn>
                <a:cxn ang="0">
                  <a:pos x="156" y="338"/>
                </a:cxn>
                <a:cxn ang="0">
                  <a:pos x="104" y="312"/>
                </a:cxn>
                <a:cxn ang="0">
                  <a:pos x="52" y="286"/>
                </a:cxn>
                <a:cxn ang="0">
                  <a:pos x="0" y="234"/>
                </a:cxn>
                <a:cxn ang="0">
                  <a:pos x="0" y="156"/>
                </a:cxn>
                <a:cxn ang="0">
                  <a:pos x="0" y="104"/>
                </a:cxn>
                <a:cxn ang="0">
                  <a:pos x="52" y="52"/>
                </a:cxn>
                <a:cxn ang="0">
                  <a:pos x="104" y="26"/>
                </a:cxn>
                <a:cxn ang="0">
                  <a:pos x="156" y="0"/>
                </a:cxn>
                <a:cxn ang="0">
                  <a:pos x="234" y="26"/>
                </a:cxn>
                <a:cxn ang="0">
                  <a:pos x="260" y="52"/>
                </a:cxn>
                <a:cxn ang="0">
                  <a:pos x="312" y="104"/>
                </a:cxn>
                <a:cxn ang="0">
                  <a:pos x="312" y="156"/>
                </a:cxn>
              </a:cxnLst>
              <a:rect l="0" t="0" r="r" b="b"/>
              <a:pathLst>
                <a:path w="312" h="338">
                  <a:moveTo>
                    <a:pt x="312" y="156"/>
                  </a:moveTo>
                  <a:lnTo>
                    <a:pt x="312" y="234"/>
                  </a:lnTo>
                  <a:lnTo>
                    <a:pt x="260" y="286"/>
                  </a:lnTo>
                  <a:lnTo>
                    <a:pt x="234" y="312"/>
                  </a:lnTo>
                  <a:lnTo>
                    <a:pt x="156" y="338"/>
                  </a:lnTo>
                  <a:lnTo>
                    <a:pt x="104" y="312"/>
                  </a:lnTo>
                  <a:lnTo>
                    <a:pt x="52" y="286"/>
                  </a:lnTo>
                  <a:lnTo>
                    <a:pt x="0" y="234"/>
                  </a:lnTo>
                  <a:lnTo>
                    <a:pt x="0" y="156"/>
                  </a:lnTo>
                  <a:lnTo>
                    <a:pt x="0" y="104"/>
                  </a:lnTo>
                  <a:lnTo>
                    <a:pt x="52" y="52"/>
                  </a:lnTo>
                  <a:lnTo>
                    <a:pt x="104" y="26"/>
                  </a:lnTo>
                  <a:lnTo>
                    <a:pt x="156" y="0"/>
                  </a:lnTo>
                  <a:lnTo>
                    <a:pt x="234" y="26"/>
                  </a:lnTo>
                  <a:lnTo>
                    <a:pt x="260" y="52"/>
                  </a:lnTo>
                  <a:lnTo>
                    <a:pt x="312" y="104"/>
                  </a:lnTo>
                  <a:lnTo>
                    <a:pt x="312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152">
              <a:extLst>
                <a:ext uri="{FF2B5EF4-FFF2-40B4-BE49-F238E27FC236}">
                  <a16:creationId xmlns="" xmlns:a16="http://schemas.microsoft.com/office/drawing/2014/main" id="{9EBBB445-4775-4F03-B0F8-BED587BAE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3877" y="3966007"/>
              <a:ext cx="57095" cy="133816"/>
            </a:xfrm>
            <a:custGeom>
              <a:avLst/>
              <a:gdLst/>
              <a:ahLst/>
              <a:cxnLst>
                <a:cxn ang="0">
                  <a:pos x="832" y="859"/>
                </a:cxn>
                <a:cxn ang="0">
                  <a:pos x="780" y="235"/>
                </a:cxn>
                <a:cxn ang="0">
                  <a:pos x="780" y="209"/>
                </a:cxn>
                <a:cxn ang="0">
                  <a:pos x="754" y="183"/>
                </a:cxn>
                <a:cxn ang="0">
                  <a:pos x="728" y="157"/>
                </a:cxn>
                <a:cxn ang="0">
                  <a:pos x="624" y="105"/>
                </a:cxn>
                <a:cxn ang="0">
                  <a:pos x="520" y="27"/>
                </a:cxn>
                <a:cxn ang="0">
                  <a:pos x="520" y="0"/>
                </a:cxn>
                <a:cxn ang="0">
                  <a:pos x="494" y="0"/>
                </a:cxn>
                <a:cxn ang="0">
                  <a:pos x="468" y="0"/>
                </a:cxn>
                <a:cxn ang="0">
                  <a:pos x="468" y="53"/>
                </a:cxn>
                <a:cxn ang="0">
                  <a:pos x="442" y="79"/>
                </a:cxn>
                <a:cxn ang="0">
                  <a:pos x="442" y="105"/>
                </a:cxn>
                <a:cxn ang="0">
                  <a:pos x="468" y="339"/>
                </a:cxn>
                <a:cxn ang="0">
                  <a:pos x="442" y="469"/>
                </a:cxn>
                <a:cxn ang="0">
                  <a:pos x="416" y="547"/>
                </a:cxn>
                <a:cxn ang="0">
                  <a:pos x="390" y="469"/>
                </a:cxn>
                <a:cxn ang="0">
                  <a:pos x="364" y="339"/>
                </a:cxn>
                <a:cxn ang="0">
                  <a:pos x="390" y="105"/>
                </a:cxn>
                <a:cxn ang="0">
                  <a:pos x="390" y="79"/>
                </a:cxn>
                <a:cxn ang="0">
                  <a:pos x="364" y="53"/>
                </a:cxn>
                <a:cxn ang="0">
                  <a:pos x="390" y="0"/>
                </a:cxn>
                <a:cxn ang="0">
                  <a:pos x="338" y="0"/>
                </a:cxn>
                <a:cxn ang="0">
                  <a:pos x="312" y="0"/>
                </a:cxn>
                <a:cxn ang="0">
                  <a:pos x="312" y="27"/>
                </a:cxn>
                <a:cxn ang="0">
                  <a:pos x="208" y="105"/>
                </a:cxn>
                <a:cxn ang="0">
                  <a:pos x="104" y="157"/>
                </a:cxn>
                <a:cxn ang="0">
                  <a:pos x="78" y="183"/>
                </a:cxn>
                <a:cxn ang="0">
                  <a:pos x="52" y="209"/>
                </a:cxn>
                <a:cxn ang="0">
                  <a:pos x="52" y="235"/>
                </a:cxn>
                <a:cxn ang="0">
                  <a:pos x="0" y="859"/>
                </a:cxn>
                <a:cxn ang="0">
                  <a:pos x="0" y="937"/>
                </a:cxn>
                <a:cxn ang="0">
                  <a:pos x="52" y="989"/>
                </a:cxn>
                <a:cxn ang="0">
                  <a:pos x="130" y="963"/>
                </a:cxn>
                <a:cxn ang="0">
                  <a:pos x="156" y="937"/>
                </a:cxn>
                <a:cxn ang="0">
                  <a:pos x="182" y="937"/>
                </a:cxn>
                <a:cxn ang="0">
                  <a:pos x="182" y="1743"/>
                </a:cxn>
                <a:cxn ang="0">
                  <a:pos x="182" y="1821"/>
                </a:cxn>
                <a:cxn ang="0">
                  <a:pos x="208" y="1873"/>
                </a:cxn>
                <a:cxn ang="0">
                  <a:pos x="234" y="1925"/>
                </a:cxn>
                <a:cxn ang="0">
                  <a:pos x="286" y="1951"/>
                </a:cxn>
                <a:cxn ang="0">
                  <a:pos x="338" y="1951"/>
                </a:cxn>
                <a:cxn ang="0">
                  <a:pos x="364" y="1925"/>
                </a:cxn>
                <a:cxn ang="0">
                  <a:pos x="390" y="1899"/>
                </a:cxn>
                <a:cxn ang="0">
                  <a:pos x="416" y="1847"/>
                </a:cxn>
                <a:cxn ang="0">
                  <a:pos x="442" y="1899"/>
                </a:cxn>
                <a:cxn ang="0">
                  <a:pos x="468" y="1925"/>
                </a:cxn>
                <a:cxn ang="0">
                  <a:pos x="520" y="1951"/>
                </a:cxn>
                <a:cxn ang="0">
                  <a:pos x="546" y="1951"/>
                </a:cxn>
                <a:cxn ang="0">
                  <a:pos x="598" y="1925"/>
                </a:cxn>
                <a:cxn ang="0">
                  <a:pos x="624" y="1873"/>
                </a:cxn>
                <a:cxn ang="0">
                  <a:pos x="650" y="1821"/>
                </a:cxn>
                <a:cxn ang="0">
                  <a:pos x="650" y="1743"/>
                </a:cxn>
                <a:cxn ang="0">
                  <a:pos x="676" y="937"/>
                </a:cxn>
                <a:cxn ang="0">
                  <a:pos x="728" y="963"/>
                </a:cxn>
                <a:cxn ang="0">
                  <a:pos x="780" y="989"/>
                </a:cxn>
                <a:cxn ang="0">
                  <a:pos x="832" y="937"/>
                </a:cxn>
                <a:cxn ang="0">
                  <a:pos x="832" y="859"/>
                </a:cxn>
              </a:cxnLst>
              <a:rect l="0" t="0" r="r" b="b"/>
              <a:pathLst>
                <a:path w="832" h="1951">
                  <a:moveTo>
                    <a:pt x="832" y="859"/>
                  </a:moveTo>
                  <a:lnTo>
                    <a:pt x="780" y="235"/>
                  </a:lnTo>
                  <a:lnTo>
                    <a:pt x="780" y="209"/>
                  </a:lnTo>
                  <a:lnTo>
                    <a:pt x="754" y="183"/>
                  </a:lnTo>
                  <a:lnTo>
                    <a:pt x="728" y="157"/>
                  </a:lnTo>
                  <a:lnTo>
                    <a:pt x="624" y="105"/>
                  </a:lnTo>
                  <a:lnTo>
                    <a:pt x="520" y="27"/>
                  </a:lnTo>
                  <a:lnTo>
                    <a:pt x="520" y="0"/>
                  </a:lnTo>
                  <a:lnTo>
                    <a:pt x="494" y="0"/>
                  </a:lnTo>
                  <a:lnTo>
                    <a:pt x="468" y="0"/>
                  </a:lnTo>
                  <a:lnTo>
                    <a:pt x="468" y="53"/>
                  </a:lnTo>
                  <a:lnTo>
                    <a:pt x="442" y="79"/>
                  </a:lnTo>
                  <a:lnTo>
                    <a:pt x="442" y="105"/>
                  </a:lnTo>
                  <a:lnTo>
                    <a:pt x="468" y="339"/>
                  </a:lnTo>
                  <a:lnTo>
                    <a:pt x="442" y="469"/>
                  </a:lnTo>
                  <a:lnTo>
                    <a:pt x="416" y="547"/>
                  </a:lnTo>
                  <a:lnTo>
                    <a:pt x="390" y="469"/>
                  </a:lnTo>
                  <a:lnTo>
                    <a:pt x="364" y="339"/>
                  </a:lnTo>
                  <a:lnTo>
                    <a:pt x="390" y="105"/>
                  </a:lnTo>
                  <a:lnTo>
                    <a:pt x="390" y="79"/>
                  </a:lnTo>
                  <a:lnTo>
                    <a:pt x="364" y="53"/>
                  </a:lnTo>
                  <a:lnTo>
                    <a:pt x="390" y="0"/>
                  </a:lnTo>
                  <a:lnTo>
                    <a:pt x="338" y="0"/>
                  </a:lnTo>
                  <a:lnTo>
                    <a:pt x="312" y="0"/>
                  </a:lnTo>
                  <a:lnTo>
                    <a:pt x="312" y="27"/>
                  </a:lnTo>
                  <a:lnTo>
                    <a:pt x="208" y="105"/>
                  </a:lnTo>
                  <a:lnTo>
                    <a:pt x="104" y="157"/>
                  </a:lnTo>
                  <a:lnTo>
                    <a:pt x="78" y="183"/>
                  </a:lnTo>
                  <a:lnTo>
                    <a:pt x="52" y="209"/>
                  </a:lnTo>
                  <a:lnTo>
                    <a:pt x="52" y="235"/>
                  </a:lnTo>
                  <a:lnTo>
                    <a:pt x="0" y="859"/>
                  </a:lnTo>
                  <a:lnTo>
                    <a:pt x="0" y="937"/>
                  </a:lnTo>
                  <a:lnTo>
                    <a:pt x="52" y="989"/>
                  </a:lnTo>
                  <a:lnTo>
                    <a:pt x="130" y="963"/>
                  </a:lnTo>
                  <a:lnTo>
                    <a:pt x="156" y="937"/>
                  </a:lnTo>
                  <a:lnTo>
                    <a:pt x="182" y="937"/>
                  </a:lnTo>
                  <a:lnTo>
                    <a:pt x="182" y="1743"/>
                  </a:lnTo>
                  <a:lnTo>
                    <a:pt x="182" y="1821"/>
                  </a:lnTo>
                  <a:lnTo>
                    <a:pt x="208" y="1873"/>
                  </a:lnTo>
                  <a:lnTo>
                    <a:pt x="234" y="1925"/>
                  </a:lnTo>
                  <a:lnTo>
                    <a:pt x="286" y="1951"/>
                  </a:lnTo>
                  <a:lnTo>
                    <a:pt x="338" y="1951"/>
                  </a:lnTo>
                  <a:lnTo>
                    <a:pt x="364" y="1925"/>
                  </a:lnTo>
                  <a:lnTo>
                    <a:pt x="390" y="1899"/>
                  </a:lnTo>
                  <a:lnTo>
                    <a:pt x="416" y="1847"/>
                  </a:lnTo>
                  <a:lnTo>
                    <a:pt x="442" y="1899"/>
                  </a:lnTo>
                  <a:lnTo>
                    <a:pt x="468" y="1925"/>
                  </a:lnTo>
                  <a:lnTo>
                    <a:pt x="520" y="1951"/>
                  </a:lnTo>
                  <a:lnTo>
                    <a:pt x="546" y="1951"/>
                  </a:lnTo>
                  <a:lnTo>
                    <a:pt x="598" y="1925"/>
                  </a:lnTo>
                  <a:lnTo>
                    <a:pt x="624" y="1873"/>
                  </a:lnTo>
                  <a:lnTo>
                    <a:pt x="650" y="1821"/>
                  </a:lnTo>
                  <a:lnTo>
                    <a:pt x="650" y="1743"/>
                  </a:lnTo>
                  <a:lnTo>
                    <a:pt x="676" y="937"/>
                  </a:lnTo>
                  <a:lnTo>
                    <a:pt x="728" y="963"/>
                  </a:lnTo>
                  <a:lnTo>
                    <a:pt x="780" y="989"/>
                  </a:lnTo>
                  <a:lnTo>
                    <a:pt x="832" y="937"/>
                  </a:lnTo>
                  <a:lnTo>
                    <a:pt x="832" y="8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Freeform 153">
              <a:extLst>
                <a:ext uri="{FF2B5EF4-FFF2-40B4-BE49-F238E27FC236}">
                  <a16:creationId xmlns="" xmlns:a16="http://schemas.microsoft.com/office/drawing/2014/main" id="{80AE9037-A943-45BD-9957-5AF1435DB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8897" y="4089118"/>
              <a:ext cx="107053" cy="28547"/>
            </a:xfrm>
            <a:custGeom>
              <a:avLst/>
              <a:gdLst/>
              <a:ahLst/>
              <a:cxnLst>
                <a:cxn ang="0">
                  <a:pos x="1300" y="0"/>
                </a:cxn>
                <a:cxn ang="0">
                  <a:pos x="1404" y="52"/>
                </a:cxn>
                <a:cxn ang="0">
                  <a:pos x="1430" y="78"/>
                </a:cxn>
                <a:cxn ang="0">
                  <a:pos x="1430" y="104"/>
                </a:cxn>
                <a:cxn ang="0">
                  <a:pos x="1404" y="130"/>
                </a:cxn>
                <a:cxn ang="0">
                  <a:pos x="1378" y="182"/>
                </a:cxn>
                <a:cxn ang="0">
                  <a:pos x="1247" y="234"/>
                </a:cxn>
                <a:cxn ang="0">
                  <a:pos x="1040" y="260"/>
                </a:cxn>
                <a:cxn ang="0">
                  <a:pos x="780" y="286"/>
                </a:cxn>
                <a:cxn ang="0">
                  <a:pos x="520" y="260"/>
                </a:cxn>
                <a:cxn ang="0">
                  <a:pos x="312" y="234"/>
                </a:cxn>
                <a:cxn ang="0">
                  <a:pos x="182" y="182"/>
                </a:cxn>
                <a:cxn ang="0">
                  <a:pos x="156" y="130"/>
                </a:cxn>
                <a:cxn ang="0">
                  <a:pos x="130" y="104"/>
                </a:cxn>
                <a:cxn ang="0">
                  <a:pos x="156" y="52"/>
                </a:cxn>
                <a:cxn ang="0">
                  <a:pos x="260" y="0"/>
                </a:cxn>
                <a:cxn ang="0">
                  <a:pos x="156" y="26"/>
                </a:cxn>
                <a:cxn ang="0">
                  <a:pos x="52" y="78"/>
                </a:cxn>
                <a:cxn ang="0">
                  <a:pos x="0" y="130"/>
                </a:cxn>
                <a:cxn ang="0">
                  <a:pos x="0" y="182"/>
                </a:cxn>
                <a:cxn ang="0">
                  <a:pos x="0" y="234"/>
                </a:cxn>
                <a:cxn ang="0">
                  <a:pos x="52" y="260"/>
                </a:cxn>
                <a:cxn ang="0">
                  <a:pos x="234" y="338"/>
                </a:cxn>
                <a:cxn ang="0">
                  <a:pos x="468" y="390"/>
                </a:cxn>
                <a:cxn ang="0">
                  <a:pos x="780" y="416"/>
                </a:cxn>
                <a:cxn ang="0">
                  <a:pos x="1092" y="390"/>
                </a:cxn>
                <a:cxn ang="0">
                  <a:pos x="1326" y="338"/>
                </a:cxn>
                <a:cxn ang="0">
                  <a:pos x="1508" y="260"/>
                </a:cxn>
                <a:cxn ang="0">
                  <a:pos x="1560" y="234"/>
                </a:cxn>
                <a:cxn ang="0">
                  <a:pos x="1560" y="182"/>
                </a:cxn>
                <a:cxn ang="0">
                  <a:pos x="1560" y="130"/>
                </a:cxn>
                <a:cxn ang="0">
                  <a:pos x="1508" y="78"/>
                </a:cxn>
                <a:cxn ang="0">
                  <a:pos x="1404" y="26"/>
                </a:cxn>
                <a:cxn ang="0">
                  <a:pos x="1300" y="0"/>
                </a:cxn>
              </a:cxnLst>
              <a:rect l="0" t="0" r="r" b="b"/>
              <a:pathLst>
                <a:path w="1560" h="416">
                  <a:moveTo>
                    <a:pt x="1300" y="0"/>
                  </a:moveTo>
                  <a:lnTo>
                    <a:pt x="1404" y="52"/>
                  </a:lnTo>
                  <a:lnTo>
                    <a:pt x="1430" y="78"/>
                  </a:lnTo>
                  <a:lnTo>
                    <a:pt x="1430" y="104"/>
                  </a:lnTo>
                  <a:lnTo>
                    <a:pt x="1404" y="130"/>
                  </a:lnTo>
                  <a:lnTo>
                    <a:pt x="1378" y="182"/>
                  </a:lnTo>
                  <a:lnTo>
                    <a:pt x="1247" y="234"/>
                  </a:lnTo>
                  <a:lnTo>
                    <a:pt x="1040" y="260"/>
                  </a:lnTo>
                  <a:lnTo>
                    <a:pt x="780" y="286"/>
                  </a:lnTo>
                  <a:lnTo>
                    <a:pt x="520" y="260"/>
                  </a:lnTo>
                  <a:lnTo>
                    <a:pt x="312" y="234"/>
                  </a:lnTo>
                  <a:lnTo>
                    <a:pt x="182" y="182"/>
                  </a:lnTo>
                  <a:lnTo>
                    <a:pt x="156" y="130"/>
                  </a:lnTo>
                  <a:lnTo>
                    <a:pt x="130" y="104"/>
                  </a:lnTo>
                  <a:lnTo>
                    <a:pt x="156" y="52"/>
                  </a:lnTo>
                  <a:lnTo>
                    <a:pt x="260" y="0"/>
                  </a:lnTo>
                  <a:lnTo>
                    <a:pt x="156" y="26"/>
                  </a:lnTo>
                  <a:lnTo>
                    <a:pt x="52" y="78"/>
                  </a:lnTo>
                  <a:lnTo>
                    <a:pt x="0" y="130"/>
                  </a:lnTo>
                  <a:lnTo>
                    <a:pt x="0" y="182"/>
                  </a:lnTo>
                  <a:lnTo>
                    <a:pt x="0" y="234"/>
                  </a:lnTo>
                  <a:lnTo>
                    <a:pt x="52" y="260"/>
                  </a:lnTo>
                  <a:lnTo>
                    <a:pt x="234" y="338"/>
                  </a:lnTo>
                  <a:lnTo>
                    <a:pt x="468" y="390"/>
                  </a:lnTo>
                  <a:lnTo>
                    <a:pt x="780" y="416"/>
                  </a:lnTo>
                  <a:lnTo>
                    <a:pt x="1092" y="390"/>
                  </a:lnTo>
                  <a:lnTo>
                    <a:pt x="1326" y="338"/>
                  </a:lnTo>
                  <a:lnTo>
                    <a:pt x="1508" y="260"/>
                  </a:lnTo>
                  <a:lnTo>
                    <a:pt x="1560" y="234"/>
                  </a:lnTo>
                  <a:lnTo>
                    <a:pt x="1560" y="182"/>
                  </a:lnTo>
                  <a:lnTo>
                    <a:pt x="1560" y="130"/>
                  </a:lnTo>
                  <a:lnTo>
                    <a:pt x="1508" y="78"/>
                  </a:lnTo>
                  <a:lnTo>
                    <a:pt x="1404" y="26"/>
                  </a:lnTo>
                  <a:lnTo>
                    <a:pt x="130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54">
              <a:extLst>
                <a:ext uri="{FF2B5EF4-FFF2-40B4-BE49-F238E27FC236}">
                  <a16:creationId xmlns="" xmlns:a16="http://schemas.microsoft.com/office/drawing/2014/main" id="{DA8173FE-E7F7-421A-ABBC-5B67EE0F7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908" y="3917834"/>
              <a:ext cx="16058" cy="14274"/>
            </a:xfrm>
            <a:custGeom>
              <a:avLst/>
              <a:gdLst/>
              <a:ahLst/>
              <a:cxnLst>
                <a:cxn ang="0">
                  <a:pos x="234" y="104"/>
                </a:cxn>
                <a:cxn ang="0">
                  <a:pos x="234" y="156"/>
                </a:cxn>
                <a:cxn ang="0">
                  <a:pos x="208" y="182"/>
                </a:cxn>
                <a:cxn ang="0">
                  <a:pos x="156" y="208"/>
                </a:cxn>
                <a:cxn ang="0">
                  <a:pos x="130" y="208"/>
                </a:cxn>
                <a:cxn ang="0">
                  <a:pos x="78" y="208"/>
                </a:cxn>
                <a:cxn ang="0">
                  <a:pos x="26" y="182"/>
                </a:cxn>
                <a:cxn ang="0">
                  <a:pos x="0" y="156"/>
                </a:cxn>
                <a:cxn ang="0">
                  <a:pos x="0" y="104"/>
                </a:cxn>
                <a:cxn ang="0">
                  <a:pos x="0" y="52"/>
                </a:cxn>
                <a:cxn ang="0">
                  <a:pos x="26" y="26"/>
                </a:cxn>
                <a:cxn ang="0">
                  <a:pos x="78" y="0"/>
                </a:cxn>
                <a:cxn ang="0">
                  <a:pos x="130" y="0"/>
                </a:cxn>
                <a:cxn ang="0">
                  <a:pos x="156" y="0"/>
                </a:cxn>
                <a:cxn ang="0">
                  <a:pos x="208" y="26"/>
                </a:cxn>
                <a:cxn ang="0">
                  <a:pos x="234" y="52"/>
                </a:cxn>
                <a:cxn ang="0">
                  <a:pos x="234" y="104"/>
                </a:cxn>
              </a:cxnLst>
              <a:rect l="0" t="0" r="r" b="b"/>
              <a:pathLst>
                <a:path w="234" h="208">
                  <a:moveTo>
                    <a:pt x="234" y="104"/>
                  </a:moveTo>
                  <a:lnTo>
                    <a:pt x="234" y="156"/>
                  </a:lnTo>
                  <a:lnTo>
                    <a:pt x="208" y="182"/>
                  </a:lnTo>
                  <a:lnTo>
                    <a:pt x="156" y="208"/>
                  </a:lnTo>
                  <a:lnTo>
                    <a:pt x="130" y="208"/>
                  </a:lnTo>
                  <a:lnTo>
                    <a:pt x="78" y="208"/>
                  </a:lnTo>
                  <a:lnTo>
                    <a:pt x="26" y="182"/>
                  </a:lnTo>
                  <a:lnTo>
                    <a:pt x="0" y="156"/>
                  </a:lnTo>
                  <a:lnTo>
                    <a:pt x="0" y="104"/>
                  </a:lnTo>
                  <a:lnTo>
                    <a:pt x="0" y="52"/>
                  </a:lnTo>
                  <a:lnTo>
                    <a:pt x="26" y="26"/>
                  </a:lnTo>
                  <a:lnTo>
                    <a:pt x="78" y="0"/>
                  </a:lnTo>
                  <a:lnTo>
                    <a:pt x="130" y="0"/>
                  </a:lnTo>
                  <a:lnTo>
                    <a:pt x="156" y="0"/>
                  </a:lnTo>
                  <a:lnTo>
                    <a:pt x="208" y="26"/>
                  </a:lnTo>
                  <a:lnTo>
                    <a:pt x="234" y="52"/>
                  </a:lnTo>
                  <a:lnTo>
                    <a:pt x="234" y="1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Freeform 155">
              <a:extLst>
                <a:ext uri="{FF2B5EF4-FFF2-40B4-BE49-F238E27FC236}">
                  <a16:creationId xmlns="" xmlns:a16="http://schemas.microsoft.com/office/drawing/2014/main" id="{FE0A20D0-18C8-43EF-A6E1-8C2E4E10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4418" y="3933891"/>
              <a:ext cx="41037" cy="92779"/>
            </a:xfrm>
            <a:custGeom>
              <a:avLst/>
              <a:gdLst/>
              <a:ahLst/>
              <a:cxnLst>
                <a:cxn ang="0">
                  <a:pos x="598" y="598"/>
                </a:cxn>
                <a:cxn ang="0">
                  <a:pos x="546" y="156"/>
                </a:cxn>
                <a:cxn ang="0">
                  <a:pos x="519" y="104"/>
                </a:cxn>
                <a:cxn ang="0">
                  <a:pos x="442" y="78"/>
                </a:cxn>
                <a:cxn ang="0">
                  <a:pos x="364" y="26"/>
                </a:cxn>
                <a:cxn ang="0">
                  <a:pos x="364" y="0"/>
                </a:cxn>
                <a:cxn ang="0">
                  <a:pos x="338" y="0"/>
                </a:cxn>
                <a:cxn ang="0">
                  <a:pos x="312" y="78"/>
                </a:cxn>
                <a:cxn ang="0">
                  <a:pos x="338" y="234"/>
                </a:cxn>
                <a:cxn ang="0">
                  <a:pos x="312" y="390"/>
                </a:cxn>
                <a:cxn ang="0">
                  <a:pos x="260" y="234"/>
                </a:cxn>
                <a:cxn ang="0">
                  <a:pos x="286" y="78"/>
                </a:cxn>
                <a:cxn ang="0">
                  <a:pos x="286" y="0"/>
                </a:cxn>
                <a:cxn ang="0">
                  <a:pos x="234" y="0"/>
                </a:cxn>
                <a:cxn ang="0">
                  <a:pos x="234" y="26"/>
                </a:cxn>
                <a:cxn ang="0">
                  <a:pos x="156" y="78"/>
                </a:cxn>
                <a:cxn ang="0">
                  <a:pos x="78" y="104"/>
                </a:cxn>
                <a:cxn ang="0">
                  <a:pos x="52" y="156"/>
                </a:cxn>
                <a:cxn ang="0">
                  <a:pos x="0" y="598"/>
                </a:cxn>
                <a:cxn ang="0">
                  <a:pos x="26" y="650"/>
                </a:cxn>
                <a:cxn ang="0">
                  <a:pos x="52" y="676"/>
                </a:cxn>
                <a:cxn ang="0">
                  <a:pos x="78" y="676"/>
                </a:cxn>
                <a:cxn ang="0">
                  <a:pos x="130" y="650"/>
                </a:cxn>
                <a:cxn ang="0">
                  <a:pos x="130" y="1222"/>
                </a:cxn>
                <a:cxn ang="0">
                  <a:pos x="156" y="1326"/>
                </a:cxn>
                <a:cxn ang="0">
                  <a:pos x="208" y="1352"/>
                </a:cxn>
                <a:cxn ang="0">
                  <a:pos x="260" y="1352"/>
                </a:cxn>
                <a:cxn ang="0">
                  <a:pos x="286" y="1300"/>
                </a:cxn>
                <a:cxn ang="0">
                  <a:pos x="312" y="1300"/>
                </a:cxn>
                <a:cxn ang="0">
                  <a:pos x="338" y="1352"/>
                </a:cxn>
                <a:cxn ang="0">
                  <a:pos x="390" y="1352"/>
                </a:cxn>
                <a:cxn ang="0">
                  <a:pos x="442" y="1326"/>
                </a:cxn>
                <a:cxn ang="0">
                  <a:pos x="468" y="1222"/>
                </a:cxn>
                <a:cxn ang="0">
                  <a:pos x="468" y="650"/>
                </a:cxn>
                <a:cxn ang="0">
                  <a:pos x="519" y="676"/>
                </a:cxn>
                <a:cxn ang="0">
                  <a:pos x="546" y="676"/>
                </a:cxn>
                <a:cxn ang="0">
                  <a:pos x="572" y="650"/>
                </a:cxn>
                <a:cxn ang="0">
                  <a:pos x="598" y="598"/>
                </a:cxn>
              </a:cxnLst>
              <a:rect l="0" t="0" r="r" b="b"/>
              <a:pathLst>
                <a:path w="598" h="1352">
                  <a:moveTo>
                    <a:pt x="598" y="598"/>
                  </a:moveTo>
                  <a:lnTo>
                    <a:pt x="546" y="156"/>
                  </a:lnTo>
                  <a:lnTo>
                    <a:pt x="519" y="104"/>
                  </a:lnTo>
                  <a:lnTo>
                    <a:pt x="442" y="78"/>
                  </a:lnTo>
                  <a:lnTo>
                    <a:pt x="364" y="26"/>
                  </a:lnTo>
                  <a:lnTo>
                    <a:pt x="364" y="0"/>
                  </a:lnTo>
                  <a:lnTo>
                    <a:pt x="338" y="0"/>
                  </a:lnTo>
                  <a:lnTo>
                    <a:pt x="312" y="78"/>
                  </a:lnTo>
                  <a:lnTo>
                    <a:pt x="338" y="234"/>
                  </a:lnTo>
                  <a:lnTo>
                    <a:pt x="312" y="390"/>
                  </a:lnTo>
                  <a:lnTo>
                    <a:pt x="260" y="234"/>
                  </a:lnTo>
                  <a:lnTo>
                    <a:pt x="286" y="78"/>
                  </a:lnTo>
                  <a:lnTo>
                    <a:pt x="286" y="0"/>
                  </a:lnTo>
                  <a:lnTo>
                    <a:pt x="234" y="0"/>
                  </a:lnTo>
                  <a:lnTo>
                    <a:pt x="234" y="26"/>
                  </a:lnTo>
                  <a:lnTo>
                    <a:pt x="156" y="78"/>
                  </a:lnTo>
                  <a:lnTo>
                    <a:pt x="78" y="104"/>
                  </a:lnTo>
                  <a:lnTo>
                    <a:pt x="52" y="156"/>
                  </a:lnTo>
                  <a:lnTo>
                    <a:pt x="0" y="598"/>
                  </a:lnTo>
                  <a:lnTo>
                    <a:pt x="26" y="650"/>
                  </a:lnTo>
                  <a:lnTo>
                    <a:pt x="52" y="676"/>
                  </a:lnTo>
                  <a:lnTo>
                    <a:pt x="78" y="676"/>
                  </a:lnTo>
                  <a:lnTo>
                    <a:pt x="130" y="650"/>
                  </a:lnTo>
                  <a:lnTo>
                    <a:pt x="130" y="1222"/>
                  </a:lnTo>
                  <a:lnTo>
                    <a:pt x="156" y="1326"/>
                  </a:lnTo>
                  <a:lnTo>
                    <a:pt x="208" y="1352"/>
                  </a:lnTo>
                  <a:lnTo>
                    <a:pt x="260" y="1352"/>
                  </a:lnTo>
                  <a:lnTo>
                    <a:pt x="286" y="1300"/>
                  </a:lnTo>
                  <a:lnTo>
                    <a:pt x="312" y="1300"/>
                  </a:lnTo>
                  <a:lnTo>
                    <a:pt x="338" y="1352"/>
                  </a:lnTo>
                  <a:lnTo>
                    <a:pt x="390" y="1352"/>
                  </a:lnTo>
                  <a:lnTo>
                    <a:pt x="442" y="1326"/>
                  </a:lnTo>
                  <a:lnTo>
                    <a:pt x="468" y="1222"/>
                  </a:lnTo>
                  <a:lnTo>
                    <a:pt x="468" y="650"/>
                  </a:lnTo>
                  <a:lnTo>
                    <a:pt x="519" y="676"/>
                  </a:lnTo>
                  <a:lnTo>
                    <a:pt x="546" y="676"/>
                  </a:lnTo>
                  <a:lnTo>
                    <a:pt x="572" y="650"/>
                  </a:lnTo>
                  <a:lnTo>
                    <a:pt x="598" y="5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Freeform 156">
              <a:extLst>
                <a:ext uri="{FF2B5EF4-FFF2-40B4-BE49-F238E27FC236}">
                  <a16:creationId xmlns="" xmlns:a16="http://schemas.microsoft.com/office/drawing/2014/main" id="{178D9C85-5D26-4783-8AB2-0B5ED6570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576" y="4019534"/>
              <a:ext cx="76721" cy="19627"/>
            </a:xfrm>
            <a:custGeom>
              <a:avLst/>
              <a:gdLst/>
              <a:ahLst/>
              <a:cxnLst>
                <a:cxn ang="0">
                  <a:pos x="910" y="0"/>
                </a:cxn>
                <a:cxn ang="0">
                  <a:pos x="988" y="26"/>
                </a:cxn>
                <a:cxn ang="0">
                  <a:pos x="1014" y="78"/>
                </a:cxn>
                <a:cxn ang="0">
                  <a:pos x="962" y="130"/>
                </a:cxn>
                <a:cxn ang="0">
                  <a:pos x="884" y="156"/>
                </a:cxn>
                <a:cxn ang="0">
                  <a:pos x="728" y="182"/>
                </a:cxn>
                <a:cxn ang="0">
                  <a:pos x="546" y="208"/>
                </a:cxn>
                <a:cxn ang="0">
                  <a:pos x="390" y="182"/>
                </a:cxn>
                <a:cxn ang="0">
                  <a:pos x="234" y="156"/>
                </a:cxn>
                <a:cxn ang="0">
                  <a:pos x="130" y="130"/>
                </a:cxn>
                <a:cxn ang="0">
                  <a:pos x="104" y="78"/>
                </a:cxn>
                <a:cxn ang="0">
                  <a:pos x="130" y="26"/>
                </a:cxn>
                <a:cxn ang="0">
                  <a:pos x="182" y="0"/>
                </a:cxn>
                <a:cxn ang="0">
                  <a:pos x="52" y="52"/>
                </a:cxn>
                <a:cxn ang="0">
                  <a:pos x="26" y="104"/>
                </a:cxn>
                <a:cxn ang="0">
                  <a:pos x="0" y="130"/>
                </a:cxn>
                <a:cxn ang="0">
                  <a:pos x="26" y="156"/>
                </a:cxn>
                <a:cxn ang="0">
                  <a:pos x="52" y="182"/>
                </a:cxn>
                <a:cxn ang="0">
                  <a:pos x="182" y="260"/>
                </a:cxn>
                <a:cxn ang="0">
                  <a:pos x="338" y="286"/>
                </a:cxn>
                <a:cxn ang="0">
                  <a:pos x="572" y="286"/>
                </a:cxn>
                <a:cxn ang="0">
                  <a:pos x="779" y="286"/>
                </a:cxn>
                <a:cxn ang="0">
                  <a:pos x="936" y="260"/>
                </a:cxn>
                <a:cxn ang="0">
                  <a:pos x="1066" y="182"/>
                </a:cxn>
                <a:cxn ang="0">
                  <a:pos x="1092" y="156"/>
                </a:cxn>
                <a:cxn ang="0">
                  <a:pos x="1118" y="130"/>
                </a:cxn>
                <a:cxn ang="0">
                  <a:pos x="1092" y="78"/>
                </a:cxn>
                <a:cxn ang="0">
                  <a:pos x="1066" y="52"/>
                </a:cxn>
                <a:cxn ang="0">
                  <a:pos x="910" y="0"/>
                </a:cxn>
              </a:cxnLst>
              <a:rect l="0" t="0" r="r" b="b"/>
              <a:pathLst>
                <a:path w="1118" h="286">
                  <a:moveTo>
                    <a:pt x="910" y="0"/>
                  </a:moveTo>
                  <a:lnTo>
                    <a:pt x="988" y="26"/>
                  </a:lnTo>
                  <a:lnTo>
                    <a:pt x="1014" y="78"/>
                  </a:lnTo>
                  <a:lnTo>
                    <a:pt x="962" y="130"/>
                  </a:lnTo>
                  <a:lnTo>
                    <a:pt x="884" y="156"/>
                  </a:lnTo>
                  <a:lnTo>
                    <a:pt x="728" y="182"/>
                  </a:lnTo>
                  <a:lnTo>
                    <a:pt x="546" y="208"/>
                  </a:lnTo>
                  <a:lnTo>
                    <a:pt x="390" y="182"/>
                  </a:lnTo>
                  <a:lnTo>
                    <a:pt x="234" y="156"/>
                  </a:lnTo>
                  <a:lnTo>
                    <a:pt x="130" y="130"/>
                  </a:lnTo>
                  <a:lnTo>
                    <a:pt x="104" y="78"/>
                  </a:lnTo>
                  <a:lnTo>
                    <a:pt x="130" y="26"/>
                  </a:lnTo>
                  <a:lnTo>
                    <a:pt x="182" y="0"/>
                  </a:lnTo>
                  <a:lnTo>
                    <a:pt x="52" y="52"/>
                  </a:lnTo>
                  <a:lnTo>
                    <a:pt x="26" y="104"/>
                  </a:lnTo>
                  <a:lnTo>
                    <a:pt x="0" y="130"/>
                  </a:lnTo>
                  <a:lnTo>
                    <a:pt x="26" y="156"/>
                  </a:lnTo>
                  <a:lnTo>
                    <a:pt x="52" y="182"/>
                  </a:lnTo>
                  <a:lnTo>
                    <a:pt x="182" y="260"/>
                  </a:lnTo>
                  <a:lnTo>
                    <a:pt x="338" y="286"/>
                  </a:lnTo>
                  <a:lnTo>
                    <a:pt x="572" y="286"/>
                  </a:lnTo>
                  <a:lnTo>
                    <a:pt x="779" y="286"/>
                  </a:lnTo>
                  <a:lnTo>
                    <a:pt x="936" y="260"/>
                  </a:lnTo>
                  <a:lnTo>
                    <a:pt x="1066" y="182"/>
                  </a:lnTo>
                  <a:lnTo>
                    <a:pt x="1092" y="156"/>
                  </a:lnTo>
                  <a:lnTo>
                    <a:pt x="1118" y="130"/>
                  </a:lnTo>
                  <a:lnTo>
                    <a:pt x="1092" y="78"/>
                  </a:lnTo>
                  <a:lnTo>
                    <a:pt x="1066" y="52"/>
                  </a:lnTo>
                  <a:lnTo>
                    <a:pt x="9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Freeform 157">
              <a:extLst>
                <a:ext uri="{FF2B5EF4-FFF2-40B4-BE49-F238E27FC236}">
                  <a16:creationId xmlns="" xmlns:a16="http://schemas.microsoft.com/office/drawing/2014/main" id="{C658797C-C188-4B27-B7CA-8796B624F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269" y="3921401"/>
              <a:ext cx="46389" cy="46389"/>
            </a:xfrm>
            <a:custGeom>
              <a:avLst/>
              <a:gdLst/>
              <a:ahLst/>
              <a:cxnLst>
                <a:cxn ang="0">
                  <a:pos x="676" y="338"/>
                </a:cxn>
                <a:cxn ang="0">
                  <a:pos x="650" y="468"/>
                </a:cxn>
                <a:cxn ang="0">
                  <a:pos x="572" y="598"/>
                </a:cxn>
                <a:cxn ang="0">
                  <a:pos x="468" y="649"/>
                </a:cxn>
                <a:cxn ang="0">
                  <a:pos x="338" y="676"/>
                </a:cxn>
                <a:cxn ang="0">
                  <a:pos x="208" y="649"/>
                </a:cxn>
                <a:cxn ang="0">
                  <a:pos x="104" y="598"/>
                </a:cxn>
                <a:cxn ang="0">
                  <a:pos x="26" y="468"/>
                </a:cxn>
                <a:cxn ang="0">
                  <a:pos x="0" y="338"/>
                </a:cxn>
                <a:cxn ang="0">
                  <a:pos x="26" y="208"/>
                </a:cxn>
                <a:cxn ang="0">
                  <a:pos x="104" y="104"/>
                </a:cxn>
                <a:cxn ang="0">
                  <a:pos x="208" y="26"/>
                </a:cxn>
                <a:cxn ang="0">
                  <a:pos x="338" y="0"/>
                </a:cxn>
                <a:cxn ang="0">
                  <a:pos x="468" y="26"/>
                </a:cxn>
                <a:cxn ang="0">
                  <a:pos x="572" y="104"/>
                </a:cxn>
                <a:cxn ang="0">
                  <a:pos x="650" y="208"/>
                </a:cxn>
                <a:cxn ang="0">
                  <a:pos x="676" y="338"/>
                </a:cxn>
              </a:cxnLst>
              <a:rect l="0" t="0" r="r" b="b"/>
              <a:pathLst>
                <a:path w="676" h="676">
                  <a:moveTo>
                    <a:pt x="676" y="338"/>
                  </a:moveTo>
                  <a:lnTo>
                    <a:pt x="650" y="468"/>
                  </a:lnTo>
                  <a:lnTo>
                    <a:pt x="572" y="598"/>
                  </a:lnTo>
                  <a:lnTo>
                    <a:pt x="468" y="649"/>
                  </a:lnTo>
                  <a:lnTo>
                    <a:pt x="338" y="676"/>
                  </a:lnTo>
                  <a:lnTo>
                    <a:pt x="208" y="649"/>
                  </a:lnTo>
                  <a:lnTo>
                    <a:pt x="104" y="598"/>
                  </a:lnTo>
                  <a:lnTo>
                    <a:pt x="26" y="468"/>
                  </a:lnTo>
                  <a:lnTo>
                    <a:pt x="0" y="338"/>
                  </a:lnTo>
                  <a:lnTo>
                    <a:pt x="26" y="208"/>
                  </a:lnTo>
                  <a:lnTo>
                    <a:pt x="104" y="104"/>
                  </a:lnTo>
                  <a:lnTo>
                    <a:pt x="208" y="26"/>
                  </a:lnTo>
                  <a:lnTo>
                    <a:pt x="338" y="0"/>
                  </a:lnTo>
                  <a:lnTo>
                    <a:pt x="468" y="26"/>
                  </a:lnTo>
                  <a:lnTo>
                    <a:pt x="572" y="104"/>
                  </a:lnTo>
                  <a:lnTo>
                    <a:pt x="650" y="208"/>
                  </a:lnTo>
                  <a:lnTo>
                    <a:pt x="676" y="3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Freeform 158">
              <a:extLst>
                <a:ext uri="{FF2B5EF4-FFF2-40B4-BE49-F238E27FC236}">
                  <a16:creationId xmlns="" xmlns:a16="http://schemas.microsoft.com/office/drawing/2014/main" id="{EE27E4E5-EE65-49DA-BFD6-DFEF877F7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017" y="3971360"/>
              <a:ext cx="124895" cy="285474"/>
            </a:xfrm>
            <a:custGeom>
              <a:avLst/>
              <a:gdLst/>
              <a:ahLst/>
              <a:cxnLst>
                <a:cxn ang="0">
                  <a:pos x="1690" y="520"/>
                </a:cxn>
                <a:cxn ang="0">
                  <a:pos x="1638" y="390"/>
                </a:cxn>
                <a:cxn ang="0">
                  <a:pos x="1351" y="234"/>
                </a:cxn>
                <a:cxn ang="0">
                  <a:pos x="1118" y="78"/>
                </a:cxn>
                <a:cxn ang="0">
                  <a:pos x="1092" y="26"/>
                </a:cxn>
                <a:cxn ang="0">
                  <a:pos x="988" y="52"/>
                </a:cxn>
                <a:cxn ang="0">
                  <a:pos x="988" y="208"/>
                </a:cxn>
                <a:cxn ang="0">
                  <a:pos x="988" y="494"/>
                </a:cxn>
                <a:cxn ang="0">
                  <a:pos x="1014" y="858"/>
                </a:cxn>
                <a:cxn ang="0">
                  <a:pos x="936" y="1118"/>
                </a:cxn>
                <a:cxn ang="0">
                  <a:pos x="884" y="1118"/>
                </a:cxn>
                <a:cxn ang="0">
                  <a:pos x="806" y="858"/>
                </a:cxn>
                <a:cxn ang="0">
                  <a:pos x="832" y="494"/>
                </a:cxn>
                <a:cxn ang="0">
                  <a:pos x="832" y="208"/>
                </a:cxn>
                <a:cxn ang="0">
                  <a:pos x="832" y="52"/>
                </a:cxn>
                <a:cxn ang="0">
                  <a:pos x="702" y="26"/>
                </a:cxn>
                <a:cxn ang="0">
                  <a:pos x="624" y="156"/>
                </a:cxn>
                <a:cxn ang="0">
                  <a:pos x="260" y="338"/>
                </a:cxn>
                <a:cxn ang="0">
                  <a:pos x="156" y="442"/>
                </a:cxn>
                <a:cxn ang="0">
                  <a:pos x="0" y="1872"/>
                </a:cxn>
                <a:cxn ang="0">
                  <a:pos x="52" y="2029"/>
                </a:cxn>
                <a:cxn ang="0">
                  <a:pos x="156" y="2106"/>
                </a:cxn>
                <a:cxn ang="0">
                  <a:pos x="260" y="2106"/>
                </a:cxn>
                <a:cxn ang="0">
                  <a:pos x="364" y="2029"/>
                </a:cxn>
                <a:cxn ang="0">
                  <a:pos x="390" y="2054"/>
                </a:cxn>
                <a:cxn ang="0">
                  <a:pos x="416" y="3900"/>
                </a:cxn>
                <a:cxn ang="0">
                  <a:pos x="546" y="4135"/>
                </a:cxn>
                <a:cxn ang="0">
                  <a:pos x="702" y="4160"/>
                </a:cxn>
                <a:cxn ang="0">
                  <a:pos x="858" y="4056"/>
                </a:cxn>
                <a:cxn ang="0">
                  <a:pos x="962" y="4056"/>
                </a:cxn>
                <a:cxn ang="0">
                  <a:pos x="1092" y="4160"/>
                </a:cxn>
                <a:cxn ang="0">
                  <a:pos x="1274" y="4135"/>
                </a:cxn>
                <a:cxn ang="0">
                  <a:pos x="1404" y="3900"/>
                </a:cxn>
                <a:cxn ang="0">
                  <a:pos x="1430" y="2054"/>
                </a:cxn>
                <a:cxn ang="0">
                  <a:pos x="1456" y="2029"/>
                </a:cxn>
                <a:cxn ang="0">
                  <a:pos x="1560" y="2106"/>
                </a:cxn>
                <a:cxn ang="0">
                  <a:pos x="1664" y="2106"/>
                </a:cxn>
                <a:cxn ang="0">
                  <a:pos x="1768" y="2029"/>
                </a:cxn>
                <a:cxn ang="0">
                  <a:pos x="1820" y="1872"/>
                </a:cxn>
              </a:cxnLst>
              <a:rect l="0" t="0" r="r" b="b"/>
              <a:pathLst>
                <a:path w="1820" h="4160">
                  <a:moveTo>
                    <a:pt x="1820" y="1872"/>
                  </a:moveTo>
                  <a:lnTo>
                    <a:pt x="1690" y="520"/>
                  </a:lnTo>
                  <a:lnTo>
                    <a:pt x="1664" y="442"/>
                  </a:lnTo>
                  <a:lnTo>
                    <a:pt x="1638" y="390"/>
                  </a:lnTo>
                  <a:lnTo>
                    <a:pt x="1560" y="338"/>
                  </a:lnTo>
                  <a:lnTo>
                    <a:pt x="1351" y="234"/>
                  </a:lnTo>
                  <a:lnTo>
                    <a:pt x="1196" y="156"/>
                  </a:lnTo>
                  <a:lnTo>
                    <a:pt x="1118" y="78"/>
                  </a:lnTo>
                  <a:lnTo>
                    <a:pt x="1118" y="26"/>
                  </a:lnTo>
                  <a:lnTo>
                    <a:pt x="1092" y="26"/>
                  </a:lnTo>
                  <a:lnTo>
                    <a:pt x="1092" y="0"/>
                  </a:lnTo>
                  <a:lnTo>
                    <a:pt x="988" y="52"/>
                  </a:lnTo>
                  <a:lnTo>
                    <a:pt x="1014" y="130"/>
                  </a:lnTo>
                  <a:lnTo>
                    <a:pt x="988" y="208"/>
                  </a:lnTo>
                  <a:lnTo>
                    <a:pt x="962" y="234"/>
                  </a:lnTo>
                  <a:lnTo>
                    <a:pt x="988" y="494"/>
                  </a:lnTo>
                  <a:lnTo>
                    <a:pt x="1040" y="728"/>
                  </a:lnTo>
                  <a:lnTo>
                    <a:pt x="1014" y="858"/>
                  </a:lnTo>
                  <a:lnTo>
                    <a:pt x="988" y="1014"/>
                  </a:lnTo>
                  <a:lnTo>
                    <a:pt x="936" y="1118"/>
                  </a:lnTo>
                  <a:lnTo>
                    <a:pt x="910" y="1170"/>
                  </a:lnTo>
                  <a:lnTo>
                    <a:pt x="884" y="1118"/>
                  </a:lnTo>
                  <a:lnTo>
                    <a:pt x="832" y="1014"/>
                  </a:lnTo>
                  <a:lnTo>
                    <a:pt x="806" y="858"/>
                  </a:lnTo>
                  <a:lnTo>
                    <a:pt x="780" y="728"/>
                  </a:lnTo>
                  <a:lnTo>
                    <a:pt x="832" y="494"/>
                  </a:lnTo>
                  <a:lnTo>
                    <a:pt x="858" y="234"/>
                  </a:lnTo>
                  <a:lnTo>
                    <a:pt x="832" y="208"/>
                  </a:lnTo>
                  <a:lnTo>
                    <a:pt x="806" y="130"/>
                  </a:lnTo>
                  <a:lnTo>
                    <a:pt x="832" y="52"/>
                  </a:lnTo>
                  <a:lnTo>
                    <a:pt x="728" y="0"/>
                  </a:lnTo>
                  <a:lnTo>
                    <a:pt x="702" y="26"/>
                  </a:lnTo>
                  <a:lnTo>
                    <a:pt x="702" y="78"/>
                  </a:lnTo>
                  <a:lnTo>
                    <a:pt x="624" y="156"/>
                  </a:lnTo>
                  <a:lnTo>
                    <a:pt x="468" y="234"/>
                  </a:lnTo>
                  <a:lnTo>
                    <a:pt x="260" y="338"/>
                  </a:lnTo>
                  <a:lnTo>
                    <a:pt x="182" y="390"/>
                  </a:lnTo>
                  <a:lnTo>
                    <a:pt x="156" y="442"/>
                  </a:lnTo>
                  <a:lnTo>
                    <a:pt x="130" y="520"/>
                  </a:lnTo>
                  <a:lnTo>
                    <a:pt x="0" y="1872"/>
                  </a:lnTo>
                  <a:lnTo>
                    <a:pt x="26" y="1950"/>
                  </a:lnTo>
                  <a:lnTo>
                    <a:pt x="52" y="2029"/>
                  </a:lnTo>
                  <a:lnTo>
                    <a:pt x="78" y="2080"/>
                  </a:lnTo>
                  <a:lnTo>
                    <a:pt x="156" y="2106"/>
                  </a:lnTo>
                  <a:lnTo>
                    <a:pt x="208" y="2106"/>
                  </a:lnTo>
                  <a:lnTo>
                    <a:pt x="260" y="2106"/>
                  </a:lnTo>
                  <a:lnTo>
                    <a:pt x="312" y="2080"/>
                  </a:lnTo>
                  <a:lnTo>
                    <a:pt x="364" y="2029"/>
                  </a:lnTo>
                  <a:lnTo>
                    <a:pt x="390" y="2029"/>
                  </a:lnTo>
                  <a:lnTo>
                    <a:pt x="390" y="2054"/>
                  </a:lnTo>
                  <a:lnTo>
                    <a:pt x="390" y="3718"/>
                  </a:lnTo>
                  <a:lnTo>
                    <a:pt x="416" y="3900"/>
                  </a:lnTo>
                  <a:lnTo>
                    <a:pt x="468" y="4030"/>
                  </a:lnTo>
                  <a:lnTo>
                    <a:pt x="546" y="4135"/>
                  </a:lnTo>
                  <a:lnTo>
                    <a:pt x="624" y="4160"/>
                  </a:lnTo>
                  <a:lnTo>
                    <a:pt x="702" y="4160"/>
                  </a:lnTo>
                  <a:lnTo>
                    <a:pt x="806" y="4135"/>
                  </a:lnTo>
                  <a:lnTo>
                    <a:pt x="858" y="4056"/>
                  </a:lnTo>
                  <a:lnTo>
                    <a:pt x="910" y="3978"/>
                  </a:lnTo>
                  <a:lnTo>
                    <a:pt x="962" y="4056"/>
                  </a:lnTo>
                  <a:lnTo>
                    <a:pt x="1014" y="4135"/>
                  </a:lnTo>
                  <a:lnTo>
                    <a:pt x="1092" y="4160"/>
                  </a:lnTo>
                  <a:lnTo>
                    <a:pt x="1196" y="4160"/>
                  </a:lnTo>
                  <a:lnTo>
                    <a:pt x="1274" y="4135"/>
                  </a:lnTo>
                  <a:lnTo>
                    <a:pt x="1351" y="4030"/>
                  </a:lnTo>
                  <a:lnTo>
                    <a:pt x="1404" y="3900"/>
                  </a:lnTo>
                  <a:lnTo>
                    <a:pt x="1430" y="3718"/>
                  </a:lnTo>
                  <a:lnTo>
                    <a:pt x="1430" y="2054"/>
                  </a:lnTo>
                  <a:lnTo>
                    <a:pt x="1430" y="2029"/>
                  </a:lnTo>
                  <a:lnTo>
                    <a:pt x="1456" y="2029"/>
                  </a:lnTo>
                  <a:lnTo>
                    <a:pt x="1482" y="2080"/>
                  </a:lnTo>
                  <a:lnTo>
                    <a:pt x="1560" y="2106"/>
                  </a:lnTo>
                  <a:lnTo>
                    <a:pt x="1612" y="2106"/>
                  </a:lnTo>
                  <a:lnTo>
                    <a:pt x="1664" y="2106"/>
                  </a:lnTo>
                  <a:lnTo>
                    <a:pt x="1716" y="2080"/>
                  </a:lnTo>
                  <a:lnTo>
                    <a:pt x="1768" y="2029"/>
                  </a:lnTo>
                  <a:lnTo>
                    <a:pt x="1794" y="1950"/>
                  </a:lnTo>
                  <a:lnTo>
                    <a:pt x="1820" y="187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Freeform 159">
              <a:extLst>
                <a:ext uri="{FF2B5EF4-FFF2-40B4-BE49-F238E27FC236}">
                  <a16:creationId xmlns="" xmlns:a16="http://schemas.microsoft.com/office/drawing/2014/main" id="{83CF50F9-04B9-4B7F-BDB4-56BBCD6B1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490" y="4233639"/>
              <a:ext cx="230164" cy="64232"/>
            </a:xfrm>
            <a:custGeom>
              <a:avLst/>
              <a:gdLst/>
              <a:ahLst/>
              <a:cxnLst>
                <a:cxn ang="0">
                  <a:pos x="2782" y="0"/>
                </a:cxn>
                <a:cxn ang="0">
                  <a:pos x="2912" y="52"/>
                </a:cxn>
                <a:cxn ang="0">
                  <a:pos x="2990" y="130"/>
                </a:cxn>
                <a:cxn ang="0">
                  <a:pos x="3042" y="182"/>
                </a:cxn>
                <a:cxn ang="0">
                  <a:pos x="3068" y="261"/>
                </a:cxn>
                <a:cxn ang="0">
                  <a:pos x="3042" y="338"/>
                </a:cxn>
                <a:cxn ang="0">
                  <a:pos x="2964" y="390"/>
                </a:cxn>
                <a:cxn ang="0">
                  <a:pos x="2835" y="468"/>
                </a:cxn>
                <a:cxn ang="0">
                  <a:pos x="2652" y="520"/>
                </a:cxn>
                <a:cxn ang="0">
                  <a:pos x="2444" y="572"/>
                </a:cxn>
                <a:cxn ang="0">
                  <a:pos x="2210" y="598"/>
                </a:cxn>
                <a:cxn ang="0">
                  <a:pos x="1950" y="624"/>
                </a:cxn>
                <a:cxn ang="0">
                  <a:pos x="1690" y="650"/>
                </a:cxn>
                <a:cxn ang="0">
                  <a:pos x="1404" y="624"/>
                </a:cxn>
                <a:cxn ang="0">
                  <a:pos x="1144" y="598"/>
                </a:cxn>
                <a:cxn ang="0">
                  <a:pos x="910" y="572"/>
                </a:cxn>
                <a:cxn ang="0">
                  <a:pos x="702" y="520"/>
                </a:cxn>
                <a:cxn ang="0">
                  <a:pos x="546" y="468"/>
                </a:cxn>
                <a:cxn ang="0">
                  <a:pos x="416" y="390"/>
                </a:cxn>
                <a:cxn ang="0">
                  <a:pos x="338" y="338"/>
                </a:cxn>
                <a:cxn ang="0">
                  <a:pos x="312" y="261"/>
                </a:cxn>
                <a:cxn ang="0">
                  <a:pos x="312" y="182"/>
                </a:cxn>
                <a:cxn ang="0">
                  <a:pos x="364" y="130"/>
                </a:cxn>
                <a:cxn ang="0">
                  <a:pos x="442" y="78"/>
                </a:cxn>
                <a:cxn ang="0">
                  <a:pos x="546" y="26"/>
                </a:cxn>
                <a:cxn ang="0">
                  <a:pos x="338" y="104"/>
                </a:cxn>
                <a:cxn ang="0">
                  <a:pos x="156" y="182"/>
                </a:cxn>
                <a:cxn ang="0">
                  <a:pos x="52" y="286"/>
                </a:cxn>
                <a:cxn ang="0">
                  <a:pos x="26" y="338"/>
                </a:cxn>
                <a:cxn ang="0">
                  <a:pos x="0" y="416"/>
                </a:cxn>
                <a:cxn ang="0">
                  <a:pos x="26" y="468"/>
                </a:cxn>
                <a:cxn ang="0">
                  <a:pos x="52" y="520"/>
                </a:cxn>
                <a:cxn ang="0">
                  <a:pos x="130" y="598"/>
                </a:cxn>
                <a:cxn ang="0">
                  <a:pos x="286" y="702"/>
                </a:cxn>
                <a:cxn ang="0">
                  <a:pos x="494" y="780"/>
                </a:cxn>
                <a:cxn ang="0">
                  <a:pos x="754" y="832"/>
                </a:cxn>
                <a:cxn ang="0">
                  <a:pos x="1040" y="884"/>
                </a:cxn>
                <a:cxn ang="0">
                  <a:pos x="1352" y="910"/>
                </a:cxn>
                <a:cxn ang="0">
                  <a:pos x="1690" y="936"/>
                </a:cxn>
                <a:cxn ang="0">
                  <a:pos x="2028" y="910"/>
                </a:cxn>
                <a:cxn ang="0">
                  <a:pos x="2340" y="884"/>
                </a:cxn>
                <a:cxn ang="0">
                  <a:pos x="2626" y="832"/>
                </a:cxn>
                <a:cxn ang="0">
                  <a:pos x="2886" y="780"/>
                </a:cxn>
                <a:cxn ang="0">
                  <a:pos x="3068" y="702"/>
                </a:cxn>
                <a:cxn ang="0">
                  <a:pos x="3224" y="598"/>
                </a:cxn>
                <a:cxn ang="0">
                  <a:pos x="3328" y="520"/>
                </a:cxn>
                <a:cxn ang="0">
                  <a:pos x="3354" y="468"/>
                </a:cxn>
                <a:cxn ang="0">
                  <a:pos x="3354" y="416"/>
                </a:cxn>
                <a:cxn ang="0">
                  <a:pos x="3354" y="338"/>
                </a:cxn>
                <a:cxn ang="0">
                  <a:pos x="3328" y="286"/>
                </a:cxn>
                <a:cxn ang="0">
                  <a:pos x="3198" y="182"/>
                </a:cxn>
                <a:cxn ang="0">
                  <a:pos x="3016" y="104"/>
                </a:cxn>
                <a:cxn ang="0">
                  <a:pos x="2782" y="0"/>
                </a:cxn>
              </a:cxnLst>
              <a:rect l="0" t="0" r="r" b="b"/>
              <a:pathLst>
                <a:path w="3354" h="936">
                  <a:moveTo>
                    <a:pt x="2782" y="0"/>
                  </a:moveTo>
                  <a:lnTo>
                    <a:pt x="2912" y="52"/>
                  </a:lnTo>
                  <a:lnTo>
                    <a:pt x="2990" y="130"/>
                  </a:lnTo>
                  <a:lnTo>
                    <a:pt x="3042" y="182"/>
                  </a:lnTo>
                  <a:lnTo>
                    <a:pt x="3068" y="261"/>
                  </a:lnTo>
                  <a:lnTo>
                    <a:pt x="3042" y="338"/>
                  </a:lnTo>
                  <a:lnTo>
                    <a:pt x="2964" y="390"/>
                  </a:lnTo>
                  <a:lnTo>
                    <a:pt x="2835" y="468"/>
                  </a:lnTo>
                  <a:lnTo>
                    <a:pt x="2652" y="520"/>
                  </a:lnTo>
                  <a:lnTo>
                    <a:pt x="2444" y="572"/>
                  </a:lnTo>
                  <a:lnTo>
                    <a:pt x="2210" y="598"/>
                  </a:lnTo>
                  <a:lnTo>
                    <a:pt x="1950" y="624"/>
                  </a:lnTo>
                  <a:lnTo>
                    <a:pt x="1690" y="650"/>
                  </a:lnTo>
                  <a:lnTo>
                    <a:pt x="1404" y="624"/>
                  </a:lnTo>
                  <a:lnTo>
                    <a:pt x="1144" y="598"/>
                  </a:lnTo>
                  <a:lnTo>
                    <a:pt x="910" y="572"/>
                  </a:lnTo>
                  <a:lnTo>
                    <a:pt x="702" y="520"/>
                  </a:lnTo>
                  <a:lnTo>
                    <a:pt x="546" y="468"/>
                  </a:lnTo>
                  <a:lnTo>
                    <a:pt x="416" y="390"/>
                  </a:lnTo>
                  <a:lnTo>
                    <a:pt x="338" y="338"/>
                  </a:lnTo>
                  <a:lnTo>
                    <a:pt x="312" y="261"/>
                  </a:lnTo>
                  <a:lnTo>
                    <a:pt x="312" y="182"/>
                  </a:lnTo>
                  <a:lnTo>
                    <a:pt x="364" y="130"/>
                  </a:lnTo>
                  <a:lnTo>
                    <a:pt x="442" y="78"/>
                  </a:lnTo>
                  <a:lnTo>
                    <a:pt x="546" y="26"/>
                  </a:lnTo>
                  <a:lnTo>
                    <a:pt x="338" y="104"/>
                  </a:lnTo>
                  <a:lnTo>
                    <a:pt x="156" y="182"/>
                  </a:lnTo>
                  <a:lnTo>
                    <a:pt x="52" y="286"/>
                  </a:lnTo>
                  <a:lnTo>
                    <a:pt x="26" y="338"/>
                  </a:lnTo>
                  <a:lnTo>
                    <a:pt x="0" y="416"/>
                  </a:lnTo>
                  <a:lnTo>
                    <a:pt x="26" y="468"/>
                  </a:lnTo>
                  <a:lnTo>
                    <a:pt x="52" y="520"/>
                  </a:lnTo>
                  <a:lnTo>
                    <a:pt x="130" y="598"/>
                  </a:lnTo>
                  <a:lnTo>
                    <a:pt x="286" y="702"/>
                  </a:lnTo>
                  <a:lnTo>
                    <a:pt x="494" y="780"/>
                  </a:lnTo>
                  <a:lnTo>
                    <a:pt x="754" y="832"/>
                  </a:lnTo>
                  <a:lnTo>
                    <a:pt x="1040" y="884"/>
                  </a:lnTo>
                  <a:lnTo>
                    <a:pt x="1352" y="910"/>
                  </a:lnTo>
                  <a:lnTo>
                    <a:pt x="1690" y="936"/>
                  </a:lnTo>
                  <a:lnTo>
                    <a:pt x="2028" y="910"/>
                  </a:lnTo>
                  <a:lnTo>
                    <a:pt x="2340" y="884"/>
                  </a:lnTo>
                  <a:lnTo>
                    <a:pt x="2626" y="832"/>
                  </a:lnTo>
                  <a:lnTo>
                    <a:pt x="2886" y="780"/>
                  </a:lnTo>
                  <a:lnTo>
                    <a:pt x="3068" y="702"/>
                  </a:lnTo>
                  <a:lnTo>
                    <a:pt x="3224" y="598"/>
                  </a:lnTo>
                  <a:lnTo>
                    <a:pt x="3328" y="520"/>
                  </a:lnTo>
                  <a:lnTo>
                    <a:pt x="3354" y="468"/>
                  </a:lnTo>
                  <a:lnTo>
                    <a:pt x="3354" y="416"/>
                  </a:lnTo>
                  <a:lnTo>
                    <a:pt x="3354" y="338"/>
                  </a:lnTo>
                  <a:lnTo>
                    <a:pt x="3328" y="286"/>
                  </a:lnTo>
                  <a:lnTo>
                    <a:pt x="3198" y="182"/>
                  </a:lnTo>
                  <a:lnTo>
                    <a:pt x="3016" y="104"/>
                  </a:lnTo>
                  <a:lnTo>
                    <a:pt x="278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5" name="Oval 9">
            <a:extLst>
              <a:ext uri="{FF2B5EF4-FFF2-40B4-BE49-F238E27FC236}">
                <a16:creationId xmlns="" xmlns:a16="http://schemas.microsoft.com/office/drawing/2014/main" id="{380928CC-9805-4C63-A977-0317010585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62561" y="2749248"/>
            <a:ext cx="1585360" cy="1498886"/>
          </a:xfrm>
          <a:prstGeom prst="ellipse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6" name="矩形 85">
            <a:extLst>
              <a:ext uri="{FF2B5EF4-FFF2-40B4-BE49-F238E27FC236}">
                <a16:creationId xmlns="" xmlns:a16="http://schemas.microsoft.com/office/drawing/2014/main" id="{27F2C26A-3071-4CF9-9566-9CC120BEFF6F}"/>
              </a:ext>
            </a:extLst>
          </p:cNvPr>
          <p:cNvSpPr/>
          <p:nvPr/>
        </p:nvSpPr>
        <p:spPr>
          <a:xfrm>
            <a:off x="3696101" y="2048864"/>
            <a:ext cx="1859336" cy="3692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Top-leadership projects</a:t>
            </a:r>
            <a:endParaRPr lang="en-US" altLang="zh-CN" sz="1799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87" name="组合 142">
            <a:extLst>
              <a:ext uri="{FF2B5EF4-FFF2-40B4-BE49-F238E27FC236}">
                <a16:creationId xmlns="" xmlns:a16="http://schemas.microsoft.com/office/drawing/2014/main" id="{16D13E97-3D69-4041-BA07-A1DAB7A40F6B}"/>
              </a:ext>
            </a:extLst>
          </p:cNvPr>
          <p:cNvGrpSpPr/>
          <p:nvPr/>
        </p:nvGrpSpPr>
        <p:grpSpPr>
          <a:xfrm>
            <a:off x="4217649" y="2983832"/>
            <a:ext cx="875185" cy="948467"/>
            <a:chOff x="3356610" y="2839692"/>
            <a:chExt cx="781050" cy="898553"/>
          </a:xfrm>
          <a:solidFill>
            <a:srgbClr val="1597FC"/>
          </a:solidFill>
        </p:grpSpPr>
        <p:sp>
          <p:nvSpPr>
            <p:cNvPr id="88" name="Freeform 103">
              <a:extLst>
                <a:ext uri="{FF2B5EF4-FFF2-40B4-BE49-F238E27FC236}">
                  <a16:creationId xmlns="" xmlns:a16="http://schemas.microsoft.com/office/drawing/2014/main" id="{84D1CA5F-E028-4E87-8291-47C4C872E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6610" y="3689861"/>
              <a:ext cx="781050" cy="48384"/>
            </a:xfrm>
            <a:custGeom>
              <a:avLst/>
              <a:gdLst/>
              <a:ahLst/>
              <a:cxnLst>
                <a:cxn ang="0">
                  <a:pos x="226" y="8"/>
                </a:cxn>
                <a:cxn ang="0">
                  <a:pos x="226" y="8"/>
                </a:cxn>
                <a:cxn ang="0">
                  <a:pos x="224" y="12"/>
                </a:cxn>
                <a:cxn ang="0">
                  <a:pos x="222" y="14"/>
                </a:cxn>
                <a:cxn ang="0">
                  <a:pos x="4" y="14"/>
                </a:cxn>
                <a:cxn ang="0">
                  <a:pos x="4" y="14"/>
                </a:cxn>
                <a:cxn ang="0">
                  <a:pos x="2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22" y="0"/>
                </a:cxn>
                <a:cxn ang="0">
                  <a:pos x="222" y="0"/>
                </a:cxn>
                <a:cxn ang="0">
                  <a:pos x="224" y="2"/>
                </a:cxn>
                <a:cxn ang="0">
                  <a:pos x="226" y="8"/>
                </a:cxn>
                <a:cxn ang="0">
                  <a:pos x="226" y="8"/>
                </a:cxn>
              </a:cxnLst>
              <a:rect l="0" t="0" r="r" b="b"/>
              <a:pathLst>
                <a:path w="226" h="14">
                  <a:moveTo>
                    <a:pt x="226" y="8"/>
                  </a:moveTo>
                  <a:lnTo>
                    <a:pt x="226" y="8"/>
                  </a:lnTo>
                  <a:lnTo>
                    <a:pt x="224" y="12"/>
                  </a:lnTo>
                  <a:lnTo>
                    <a:pt x="22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4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4" y="2"/>
                  </a:lnTo>
                  <a:lnTo>
                    <a:pt x="226" y="8"/>
                  </a:lnTo>
                  <a:lnTo>
                    <a:pt x="226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Freeform 104">
              <a:extLst>
                <a:ext uri="{FF2B5EF4-FFF2-40B4-BE49-F238E27FC236}">
                  <a16:creationId xmlns="" xmlns:a16="http://schemas.microsoft.com/office/drawing/2014/main" id="{9319CC32-B8F2-4A3F-B66C-2E13470D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7792" y="2839692"/>
              <a:ext cx="338685" cy="338685"/>
            </a:xfrm>
            <a:custGeom>
              <a:avLst/>
              <a:gdLst/>
              <a:ahLst/>
              <a:cxnLst>
                <a:cxn ang="0">
                  <a:pos x="98" y="50"/>
                </a:cxn>
                <a:cxn ang="0">
                  <a:pos x="98" y="50"/>
                </a:cxn>
                <a:cxn ang="0">
                  <a:pos x="98" y="60"/>
                </a:cxn>
                <a:cxn ang="0">
                  <a:pos x="94" y="68"/>
                </a:cxn>
                <a:cxn ang="0">
                  <a:pos x="90" y="76"/>
                </a:cxn>
                <a:cxn ang="0">
                  <a:pos x="84" y="84"/>
                </a:cxn>
                <a:cxn ang="0">
                  <a:pos x="76" y="90"/>
                </a:cxn>
                <a:cxn ang="0">
                  <a:pos x="68" y="94"/>
                </a:cxn>
                <a:cxn ang="0">
                  <a:pos x="58" y="98"/>
                </a:cxn>
                <a:cxn ang="0">
                  <a:pos x="48" y="98"/>
                </a:cxn>
                <a:cxn ang="0">
                  <a:pos x="48" y="98"/>
                </a:cxn>
                <a:cxn ang="0">
                  <a:pos x="38" y="98"/>
                </a:cxn>
                <a:cxn ang="0">
                  <a:pos x="30" y="94"/>
                </a:cxn>
                <a:cxn ang="0">
                  <a:pos x="22" y="90"/>
                </a:cxn>
                <a:cxn ang="0">
                  <a:pos x="14" y="84"/>
                </a:cxn>
                <a:cxn ang="0">
                  <a:pos x="8" y="76"/>
                </a:cxn>
                <a:cxn ang="0">
                  <a:pos x="4" y="68"/>
                </a:cxn>
                <a:cxn ang="0">
                  <a:pos x="0" y="6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40"/>
                </a:cxn>
                <a:cxn ang="0">
                  <a:pos x="4" y="30"/>
                </a:cxn>
                <a:cxn ang="0">
                  <a:pos x="8" y="22"/>
                </a:cxn>
                <a:cxn ang="0">
                  <a:pos x="14" y="14"/>
                </a:cxn>
                <a:cxn ang="0">
                  <a:pos x="22" y="8"/>
                </a:cxn>
                <a:cxn ang="0">
                  <a:pos x="30" y="4"/>
                </a:cxn>
                <a:cxn ang="0">
                  <a:pos x="38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58" y="0"/>
                </a:cxn>
                <a:cxn ang="0">
                  <a:pos x="68" y="4"/>
                </a:cxn>
                <a:cxn ang="0">
                  <a:pos x="76" y="8"/>
                </a:cxn>
                <a:cxn ang="0">
                  <a:pos x="84" y="14"/>
                </a:cxn>
                <a:cxn ang="0">
                  <a:pos x="90" y="22"/>
                </a:cxn>
                <a:cxn ang="0">
                  <a:pos x="94" y="30"/>
                </a:cxn>
                <a:cxn ang="0">
                  <a:pos x="98" y="40"/>
                </a:cxn>
                <a:cxn ang="0">
                  <a:pos x="98" y="50"/>
                </a:cxn>
                <a:cxn ang="0">
                  <a:pos x="98" y="50"/>
                </a:cxn>
              </a:cxnLst>
              <a:rect l="0" t="0" r="r" b="b"/>
              <a:pathLst>
                <a:path w="98" h="98">
                  <a:moveTo>
                    <a:pt x="98" y="50"/>
                  </a:moveTo>
                  <a:lnTo>
                    <a:pt x="98" y="50"/>
                  </a:lnTo>
                  <a:lnTo>
                    <a:pt x="98" y="60"/>
                  </a:lnTo>
                  <a:lnTo>
                    <a:pt x="94" y="68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38" y="98"/>
                  </a:lnTo>
                  <a:lnTo>
                    <a:pt x="30" y="94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4" y="68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40"/>
                  </a:lnTo>
                  <a:lnTo>
                    <a:pt x="98" y="50"/>
                  </a:lnTo>
                  <a:lnTo>
                    <a:pt x="98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Freeform 106">
              <a:extLst>
                <a:ext uri="{FF2B5EF4-FFF2-40B4-BE49-F238E27FC236}">
                  <a16:creationId xmlns="" xmlns:a16="http://schemas.microsoft.com/office/drawing/2014/main" id="{0FE0F25F-84F0-4A65-A1E4-E003995C5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6465" y="3212937"/>
              <a:ext cx="601339" cy="442365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24" y="0"/>
                </a:cxn>
                <a:cxn ang="0">
                  <a:pos x="88" y="62"/>
                </a:cxn>
                <a:cxn ang="0">
                  <a:pos x="50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2" y="2"/>
                </a:cxn>
                <a:cxn ang="0">
                  <a:pos x="16" y="6"/>
                </a:cxn>
                <a:cxn ang="0">
                  <a:pos x="10" y="10"/>
                </a:cxn>
                <a:cxn ang="0">
                  <a:pos x="6" y="14"/>
                </a:cxn>
                <a:cxn ang="0">
                  <a:pos x="4" y="20"/>
                </a:cxn>
                <a:cxn ang="0">
                  <a:pos x="2" y="28"/>
                </a:cxn>
                <a:cxn ang="0">
                  <a:pos x="0" y="34"/>
                </a:cxn>
                <a:cxn ang="0">
                  <a:pos x="0" y="128"/>
                </a:cxn>
                <a:cxn ang="0">
                  <a:pos x="174" y="128"/>
                </a:cxn>
                <a:cxn ang="0">
                  <a:pos x="174" y="34"/>
                </a:cxn>
                <a:cxn ang="0">
                  <a:pos x="174" y="34"/>
                </a:cxn>
                <a:cxn ang="0">
                  <a:pos x="172" y="28"/>
                </a:cxn>
                <a:cxn ang="0">
                  <a:pos x="170" y="20"/>
                </a:cxn>
                <a:cxn ang="0">
                  <a:pos x="168" y="14"/>
                </a:cxn>
                <a:cxn ang="0">
                  <a:pos x="164" y="10"/>
                </a:cxn>
                <a:cxn ang="0">
                  <a:pos x="158" y="6"/>
                </a:cxn>
                <a:cxn ang="0">
                  <a:pos x="152" y="2"/>
                </a:cxn>
                <a:cxn ang="0">
                  <a:pos x="146" y="0"/>
                </a:cxn>
                <a:cxn ang="0">
                  <a:pos x="138" y="0"/>
                </a:cxn>
                <a:cxn ang="0">
                  <a:pos x="138" y="0"/>
                </a:cxn>
              </a:cxnLst>
              <a:rect l="0" t="0" r="r" b="b"/>
              <a:pathLst>
                <a:path w="174" h="128">
                  <a:moveTo>
                    <a:pt x="138" y="0"/>
                  </a:moveTo>
                  <a:lnTo>
                    <a:pt x="124" y="0"/>
                  </a:lnTo>
                  <a:lnTo>
                    <a:pt x="88" y="62"/>
                  </a:lnTo>
                  <a:lnTo>
                    <a:pt x="5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4" y="20"/>
                  </a:lnTo>
                  <a:lnTo>
                    <a:pt x="2" y="28"/>
                  </a:lnTo>
                  <a:lnTo>
                    <a:pt x="0" y="34"/>
                  </a:lnTo>
                  <a:lnTo>
                    <a:pt x="0" y="128"/>
                  </a:lnTo>
                  <a:lnTo>
                    <a:pt x="174" y="128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2" y="28"/>
                  </a:lnTo>
                  <a:lnTo>
                    <a:pt x="170" y="20"/>
                  </a:lnTo>
                  <a:lnTo>
                    <a:pt x="168" y="14"/>
                  </a:lnTo>
                  <a:lnTo>
                    <a:pt x="164" y="10"/>
                  </a:lnTo>
                  <a:lnTo>
                    <a:pt x="158" y="6"/>
                  </a:lnTo>
                  <a:lnTo>
                    <a:pt x="152" y="2"/>
                  </a:lnTo>
                  <a:lnTo>
                    <a:pt x="146" y="0"/>
                  </a:lnTo>
                  <a:lnTo>
                    <a:pt x="138" y="0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Freeform 107">
              <a:extLst>
                <a:ext uri="{FF2B5EF4-FFF2-40B4-BE49-F238E27FC236}">
                  <a16:creationId xmlns="" xmlns:a16="http://schemas.microsoft.com/office/drawing/2014/main" id="{BF172771-71E0-4C8E-917A-68A53FF70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31" y="3219849"/>
              <a:ext cx="62208" cy="131327"/>
            </a:xfrm>
            <a:custGeom>
              <a:avLst/>
              <a:gdLst/>
              <a:ahLst/>
              <a:cxnLst>
                <a:cxn ang="0">
                  <a:pos x="18" y="38"/>
                </a:cxn>
                <a:cxn ang="0">
                  <a:pos x="18" y="38"/>
                </a:cxn>
                <a:cxn ang="0">
                  <a:pos x="8" y="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18" y="38"/>
                </a:cxn>
              </a:cxnLst>
              <a:rect l="0" t="0" r="r" b="b"/>
              <a:pathLst>
                <a:path w="18" h="38">
                  <a:moveTo>
                    <a:pt x="18" y="38"/>
                  </a:moveTo>
                  <a:lnTo>
                    <a:pt x="18" y="38"/>
                  </a:lnTo>
                  <a:lnTo>
                    <a:pt x="8" y="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8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Freeform 108">
              <a:extLst>
                <a:ext uri="{FF2B5EF4-FFF2-40B4-BE49-F238E27FC236}">
                  <a16:creationId xmlns="" xmlns:a16="http://schemas.microsoft.com/office/drawing/2014/main" id="{F3D50E2C-A969-4955-BFB3-9A1D1ED9E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31" y="3351176"/>
              <a:ext cx="62208" cy="207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0" y="6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8" h="6">
                  <a:moveTo>
                    <a:pt x="0" y="0"/>
                  </a:moveTo>
                  <a:lnTo>
                    <a:pt x="0" y="0"/>
                  </a:lnTo>
                  <a:lnTo>
                    <a:pt x="10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Freeform 109">
              <a:extLst>
                <a:ext uri="{FF2B5EF4-FFF2-40B4-BE49-F238E27FC236}">
                  <a16:creationId xmlns="" xmlns:a16="http://schemas.microsoft.com/office/drawing/2014/main" id="{38632459-D78B-4BA9-BBB6-7C3C32EF3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767" y="3212937"/>
              <a:ext cx="20736" cy="20736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4" y="6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lnTo>
                    <a:pt x="4" y="6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4" name="文本框 93">
            <a:extLst>
              <a:ext uri="{FF2B5EF4-FFF2-40B4-BE49-F238E27FC236}">
                <a16:creationId xmlns="" xmlns:a16="http://schemas.microsoft.com/office/drawing/2014/main" id="{87CA45F5-1C63-4562-91C9-3BEA705DD19D}"/>
              </a:ext>
            </a:extLst>
          </p:cNvPr>
          <p:cNvSpPr txBox="1"/>
          <p:nvPr/>
        </p:nvSpPr>
        <p:spPr>
          <a:xfrm>
            <a:off x="3542098" y="4651890"/>
            <a:ext cx="2252541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Breaking data silos</a:t>
            </a:r>
            <a:endParaRPr lang="en-US" altLang="zh-CN" sz="1400" dirty="0" smtClean="0">
              <a:solidFill>
                <a:prstClr val="white"/>
              </a:solidFill>
              <a:latin typeface="Arial" panose="020B0604020202020204" pitchFamily="34" charset="0"/>
            </a:endParaRPr>
          </a:p>
          <a:p>
            <a:pPr algn="ctr" defTabSz="1219078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and restructuring processes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95" name="Oval 9">
            <a:extLst>
              <a:ext uri="{FF2B5EF4-FFF2-40B4-BE49-F238E27FC236}">
                <a16:creationId xmlns="" xmlns:a16="http://schemas.microsoft.com/office/drawing/2014/main" id="{78F3A3B4-1162-42AC-B0A4-1FAC2ACAFF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59118" y="2749248"/>
            <a:ext cx="1585360" cy="1498886"/>
          </a:xfrm>
          <a:prstGeom prst="ellipse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  <a:sym typeface="微软雅黑"/>
            </a:endParaRPr>
          </a:p>
        </p:txBody>
      </p:sp>
      <p:sp>
        <p:nvSpPr>
          <p:cNvPr id="96" name="矩形 95">
            <a:extLst>
              <a:ext uri="{FF2B5EF4-FFF2-40B4-BE49-F238E27FC236}">
                <a16:creationId xmlns="" xmlns:a16="http://schemas.microsoft.com/office/drawing/2014/main" id="{D36D0C28-90CF-4A6D-8FEA-D35B83D792E8}"/>
              </a:ext>
            </a:extLst>
          </p:cNvPr>
          <p:cNvSpPr/>
          <p:nvPr/>
        </p:nvSpPr>
        <p:spPr>
          <a:xfrm>
            <a:off x="5743742" y="2048864"/>
            <a:ext cx="2035614" cy="3692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Strong execution teams</a:t>
            </a:r>
            <a:endParaRPr lang="en-US" sz="1799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grpSp>
        <p:nvGrpSpPr>
          <p:cNvPr id="97" name="组合 160">
            <a:extLst>
              <a:ext uri="{FF2B5EF4-FFF2-40B4-BE49-F238E27FC236}">
                <a16:creationId xmlns="" xmlns:a16="http://schemas.microsoft.com/office/drawing/2014/main" id="{6BD487B7-AC88-4E38-BC31-81CEFB2FA588}"/>
              </a:ext>
            </a:extLst>
          </p:cNvPr>
          <p:cNvGrpSpPr/>
          <p:nvPr/>
        </p:nvGrpSpPr>
        <p:grpSpPr>
          <a:xfrm>
            <a:off x="6370855" y="3145102"/>
            <a:ext cx="761887" cy="757263"/>
            <a:chOff x="5947568" y="2628900"/>
            <a:chExt cx="906463" cy="1052513"/>
          </a:xfrm>
          <a:solidFill>
            <a:srgbClr val="1597FC"/>
          </a:solidFill>
        </p:grpSpPr>
        <p:sp>
          <p:nvSpPr>
            <p:cNvPr id="98" name="Freeform 772">
              <a:extLst>
                <a:ext uri="{FF2B5EF4-FFF2-40B4-BE49-F238E27FC236}">
                  <a16:creationId xmlns="" xmlns:a16="http://schemas.microsoft.com/office/drawing/2014/main" id="{62219D44-FDC8-452E-8A88-86C8C7C8B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968" y="2690813"/>
              <a:ext cx="157163" cy="157163"/>
            </a:xfrm>
            <a:custGeom>
              <a:avLst/>
              <a:gdLst/>
              <a:ahLst/>
              <a:cxnLst>
                <a:cxn ang="0">
                  <a:pos x="197" y="98"/>
                </a:cxn>
                <a:cxn ang="0">
                  <a:pos x="196" y="119"/>
                </a:cxn>
                <a:cxn ang="0">
                  <a:pos x="190" y="137"/>
                </a:cxn>
                <a:cxn ang="0">
                  <a:pos x="181" y="153"/>
                </a:cxn>
                <a:cxn ang="0">
                  <a:pos x="168" y="168"/>
                </a:cxn>
                <a:cxn ang="0">
                  <a:pos x="154" y="180"/>
                </a:cxn>
                <a:cxn ang="0">
                  <a:pos x="137" y="189"/>
                </a:cxn>
                <a:cxn ang="0">
                  <a:pos x="119" y="195"/>
                </a:cxn>
                <a:cxn ang="0">
                  <a:pos x="98" y="198"/>
                </a:cxn>
                <a:cxn ang="0">
                  <a:pos x="89" y="196"/>
                </a:cxn>
                <a:cxn ang="0">
                  <a:pos x="70" y="193"/>
                </a:cxn>
                <a:cxn ang="0">
                  <a:pos x="52" y="186"/>
                </a:cxn>
                <a:cxn ang="0">
                  <a:pos x="35" y="174"/>
                </a:cxn>
                <a:cxn ang="0">
                  <a:pos x="22" y="161"/>
                </a:cxn>
                <a:cxn ang="0">
                  <a:pos x="12" y="146"/>
                </a:cxn>
                <a:cxn ang="0">
                  <a:pos x="4" y="128"/>
                </a:cxn>
                <a:cxn ang="0">
                  <a:pos x="0" y="109"/>
                </a:cxn>
                <a:cxn ang="0">
                  <a:pos x="0" y="98"/>
                </a:cxn>
                <a:cxn ang="0">
                  <a:pos x="1" y="79"/>
                </a:cxn>
                <a:cxn ang="0">
                  <a:pos x="7" y="59"/>
                </a:cxn>
                <a:cxn ang="0">
                  <a:pos x="16" y="43"/>
                </a:cxn>
                <a:cxn ang="0">
                  <a:pos x="28" y="28"/>
                </a:cxn>
                <a:cxn ang="0">
                  <a:pos x="43" y="16"/>
                </a:cxn>
                <a:cxn ang="0">
                  <a:pos x="59" y="7"/>
                </a:cxn>
                <a:cxn ang="0">
                  <a:pos x="79" y="1"/>
                </a:cxn>
                <a:cxn ang="0">
                  <a:pos x="98" y="0"/>
                </a:cxn>
                <a:cxn ang="0">
                  <a:pos x="108" y="0"/>
                </a:cxn>
                <a:cxn ang="0">
                  <a:pos x="128" y="4"/>
                </a:cxn>
                <a:cxn ang="0">
                  <a:pos x="145" y="12"/>
                </a:cxn>
                <a:cxn ang="0">
                  <a:pos x="162" y="22"/>
                </a:cxn>
                <a:cxn ang="0">
                  <a:pos x="175" y="36"/>
                </a:cxn>
                <a:cxn ang="0">
                  <a:pos x="186" y="50"/>
                </a:cxn>
                <a:cxn ang="0">
                  <a:pos x="193" y="68"/>
                </a:cxn>
                <a:cxn ang="0">
                  <a:pos x="197" y="88"/>
                </a:cxn>
                <a:cxn ang="0">
                  <a:pos x="197" y="98"/>
                </a:cxn>
              </a:cxnLst>
              <a:rect l="0" t="0" r="r" b="b"/>
              <a:pathLst>
                <a:path w="197" h="198">
                  <a:moveTo>
                    <a:pt x="197" y="98"/>
                  </a:moveTo>
                  <a:lnTo>
                    <a:pt x="197" y="98"/>
                  </a:lnTo>
                  <a:lnTo>
                    <a:pt x="197" y="109"/>
                  </a:lnTo>
                  <a:lnTo>
                    <a:pt x="196" y="119"/>
                  </a:lnTo>
                  <a:lnTo>
                    <a:pt x="193" y="128"/>
                  </a:lnTo>
                  <a:lnTo>
                    <a:pt x="190" y="137"/>
                  </a:lnTo>
                  <a:lnTo>
                    <a:pt x="186" y="146"/>
                  </a:lnTo>
                  <a:lnTo>
                    <a:pt x="181" y="153"/>
                  </a:lnTo>
                  <a:lnTo>
                    <a:pt x="175" y="161"/>
                  </a:lnTo>
                  <a:lnTo>
                    <a:pt x="168" y="168"/>
                  </a:lnTo>
                  <a:lnTo>
                    <a:pt x="162" y="174"/>
                  </a:lnTo>
                  <a:lnTo>
                    <a:pt x="154" y="180"/>
                  </a:lnTo>
                  <a:lnTo>
                    <a:pt x="145" y="186"/>
                  </a:lnTo>
                  <a:lnTo>
                    <a:pt x="137" y="189"/>
                  </a:lnTo>
                  <a:lnTo>
                    <a:pt x="128" y="193"/>
                  </a:lnTo>
                  <a:lnTo>
                    <a:pt x="119" y="195"/>
                  </a:lnTo>
                  <a:lnTo>
                    <a:pt x="108" y="196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89" y="196"/>
                  </a:lnTo>
                  <a:lnTo>
                    <a:pt x="79" y="195"/>
                  </a:lnTo>
                  <a:lnTo>
                    <a:pt x="70" y="193"/>
                  </a:lnTo>
                  <a:lnTo>
                    <a:pt x="59" y="189"/>
                  </a:lnTo>
                  <a:lnTo>
                    <a:pt x="52" y="186"/>
                  </a:lnTo>
                  <a:lnTo>
                    <a:pt x="43" y="180"/>
                  </a:lnTo>
                  <a:lnTo>
                    <a:pt x="35" y="174"/>
                  </a:lnTo>
                  <a:lnTo>
                    <a:pt x="28" y="168"/>
                  </a:lnTo>
                  <a:lnTo>
                    <a:pt x="22" y="161"/>
                  </a:lnTo>
                  <a:lnTo>
                    <a:pt x="16" y="153"/>
                  </a:lnTo>
                  <a:lnTo>
                    <a:pt x="12" y="146"/>
                  </a:lnTo>
                  <a:lnTo>
                    <a:pt x="7" y="137"/>
                  </a:lnTo>
                  <a:lnTo>
                    <a:pt x="4" y="128"/>
                  </a:lnTo>
                  <a:lnTo>
                    <a:pt x="1" y="119"/>
                  </a:lnTo>
                  <a:lnTo>
                    <a:pt x="0" y="109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88"/>
                  </a:lnTo>
                  <a:lnTo>
                    <a:pt x="1" y="79"/>
                  </a:lnTo>
                  <a:lnTo>
                    <a:pt x="4" y="68"/>
                  </a:lnTo>
                  <a:lnTo>
                    <a:pt x="7" y="59"/>
                  </a:lnTo>
                  <a:lnTo>
                    <a:pt x="12" y="50"/>
                  </a:lnTo>
                  <a:lnTo>
                    <a:pt x="16" y="43"/>
                  </a:lnTo>
                  <a:lnTo>
                    <a:pt x="22" y="36"/>
                  </a:lnTo>
                  <a:lnTo>
                    <a:pt x="28" y="28"/>
                  </a:lnTo>
                  <a:lnTo>
                    <a:pt x="35" y="22"/>
                  </a:lnTo>
                  <a:lnTo>
                    <a:pt x="43" y="16"/>
                  </a:lnTo>
                  <a:lnTo>
                    <a:pt x="52" y="12"/>
                  </a:lnTo>
                  <a:lnTo>
                    <a:pt x="59" y="7"/>
                  </a:lnTo>
                  <a:lnTo>
                    <a:pt x="70" y="4"/>
                  </a:lnTo>
                  <a:lnTo>
                    <a:pt x="79" y="1"/>
                  </a:lnTo>
                  <a:lnTo>
                    <a:pt x="89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19" y="1"/>
                  </a:lnTo>
                  <a:lnTo>
                    <a:pt x="128" y="4"/>
                  </a:lnTo>
                  <a:lnTo>
                    <a:pt x="137" y="7"/>
                  </a:lnTo>
                  <a:lnTo>
                    <a:pt x="145" y="12"/>
                  </a:lnTo>
                  <a:lnTo>
                    <a:pt x="154" y="16"/>
                  </a:lnTo>
                  <a:lnTo>
                    <a:pt x="162" y="22"/>
                  </a:lnTo>
                  <a:lnTo>
                    <a:pt x="168" y="28"/>
                  </a:lnTo>
                  <a:lnTo>
                    <a:pt x="175" y="36"/>
                  </a:lnTo>
                  <a:lnTo>
                    <a:pt x="181" y="43"/>
                  </a:lnTo>
                  <a:lnTo>
                    <a:pt x="186" y="50"/>
                  </a:lnTo>
                  <a:lnTo>
                    <a:pt x="190" y="59"/>
                  </a:lnTo>
                  <a:lnTo>
                    <a:pt x="193" y="68"/>
                  </a:lnTo>
                  <a:lnTo>
                    <a:pt x="196" y="79"/>
                  </a:lnTo>
                  <a:lnTo>
                    <a:pt x="197" y="88"/>
                  </a:lnTo>
                  <a:lnTo>
                    <a:pt x="197" y="98"/>
                  </a:lnTo>
                  <a:lnTo>
                    <a:pt x="197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Freeform 773">
              <a:extLst>
                <a:ext uri="{FF2B5EF4-FFF2-40B4-BE49-F238E27FC236}">
                  <a16:creationId xmlns="" xmlns:a16="http://schemas.microsoft.com/office/drawing/2014/main" id="{F941C513-F59B-49D7-8B7B-3A2C2777C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0656" y="2868613"/>
              <a:ext cx="333375" cy="706438"/>
            </a:xfrm>
            <a:custGeom>
              <a:avLst/>
              <a:gdLst/>
              <a:ahLst/>
              <a:cxnLst>
                <a:cxn ang="0">
                  <a:pos x="421" y="80"/>
                </a:cxn>
                <a:cxn ang="0">
                  <a:pos x="421" y="80"/>
                </a:cxn>
                <a:cxn ang="0">
                  <a:pos x="420" y="64"/>
                </a:cxn>
                <a:cxn ang="0">
                  <a:pos x="417" y="49"/>
                </a:cxn>
                <a:cxn ang="0">
                  <a:pos x="412" y="36"/>
                </a:cxn>
                <a:cxn ang="0">
                  <a:pos x="406" y="24"/>
                </a:cxn>
                <a:cxn ang="0">
                  <a:pos x="397" y="14"/>
                </a:cxn>
                <a:cxn ang="0">
                  <a:pos x="388" y="6"/>
                </a:cxn>
                <a:cxn ang="0">
                  <a:pos x="379" y="2"/>
                </a:cxn>
                <a:cxn ang="0">
                  <a:pos x="369" y="0"/>
                </a:cxn>
                <a:cxn ang="0">
                  <a:pos x="52" y="0"/>
                </a:cxn>
                <a:cxn ang="0">
                  <a:pos x="52" y="0"/>
                </a:cxn>
                <a:cxn ang="0">
                  <a:pos x="42" y="2"/>
                </a:cxn>
                <a:cxn ang="0">
                  <a:pos x="31" y="6"/>
                </a:cxn>
                <a:cxn ang="0">
                  <a:pos x="22" y="14"/>
                </a:cxn>
                <a:cxn ang="0">
                  <a:pos x="15" y="24"/>
                </a:cxn>
                <a:cxn ang="0">
                  <a:pos x="9" y="36"/>
                </a:cxn>
                <a:cxn ang="0">
                  <a:pos x="3" y="49"/>
                </a:cxn>
                <a:cxn ang="0">
                  <a:pos x="0" y="64"/>
                </a:cxn>
                <a:cxn ang="0">
                  <a:pos x="0" y="80"/>
                </a:cxn>
                <a:cxn ang="0">
                  <a:pos x="0" y="439"/>
                </a:cxn>
                <a:cxn ang="0">
                  <a:pos x="57" y="439"/>
                </a:cxn>
                <a:cxn ang="0">
                  <a:pos x="57" y="811"/>
                </a:cxn>
                <a:cxn ang="0">
                  <a:pos x="57" y="811"/>
                </a:cxn>
                <a:cxn ang="0">
                  <a:pos x="58" y="828"/>
                </a:cxn>
                <a:cxn ang="0">
                  <a:pos x="63" y="842"/>
                </a:cxn>
                <a:cxn ang="0">
                  <a:pos x="70" y="856"/>
                </a:cxn>
                <a:cxn ang="0">
                  <a:pos x="80" y="868"/>
                </a:cxn>
                <a:cxn ang="0">
                  <a:pos x="91" y="877"/>
                </a:cxn>
                <a:cxn ang="0">
                  <a:pos x="104" y="884"/>
                </a:cxn>
                <a:cxn ang="0">
                  <a:pos x="119" y="889"/>
                </a:cxn>
                <a:cxn ang="0">
                  <a:pos x="136" y="890"/>
                </a:cxn>
                <a:cxn ang="0">
                  <a:pos x="286" y="890"/>
                </a:cxn>
                <a:cxn ang="0">
                  <a:pos x="286" y="890"/>
                </a:cxn>
                <a:cxn ang="0">
                  <a:pos x="301" y="889"/>
                </a:cxn>
                <a:cxn ang="0">
                  <a:pos x="315" y="884"/>
                </a:cxn>
                <a:cxn ang="0">
                  <a:pos x="329" y="877"/>
                </a:cxn>
                <a:cxn ang="0">
                  <a:pos x="341" y="868"/>
                </a:cxn>
                <a:cxn ang="0">
                  <a:pos x="350" y="856"/>
                </a:cxn>
                <a:cxn ang="0">
                  <a:pos x="357" y="842"/>
                </a:cxn>
                <a:cxn ang="0">
                  <a:pos x="362" y="828"/>
                </a:cxn>
                <a:cxn ang="0">
                  <a:pos x="363" y="811"/>
                </a:cxn>
                <a:cxn ang="0">
                  <a:pos x="363" y="439"/>
                </a:cxn>
                <a:cxn ang="0">
                  <a:pos x="421" y="439"/>
                </a:cxn>
                <a:cxn ang="0">
                  <a:pos x="421" y="80"/>
                </a:cxn>
              </a:cxnLst>
              <a:rect l="0" t="0" r="r" b="b"/>
              <a:pathLst>
                <a:path w="421" h="890">
                  <a:moveTo>
                    <a:pt x="421" y="80"/>
                  </a:moveTo>
                  <a:lnTo>
                    <a:pt x="421" y="80"/>
                  </a:lnTo>
                  <a:lnTo>
                    <a:pt x="420" y="64"/>
                  </a:lnTo>
                  <a:lnTo>
                    <a:pt x="417" y="49"/>
                  </a:lnTo>
                  <a:lnTo>
                    <a:pt x="412" y="36"/>
                  </a:lnTo>
                  <a:lnTo>
                    <a:pt x="406" y="24"/>
                  </a:lnTo>
                  <a:lnTo>
                    <a:pt x="397" y="14"/>
                  </a:lnTo>
                  <a:lnTo>
                    <a:pt x="388" y="6"/>
                  </a:lnTo>
                  <a:lnTo>
                    <a:pt x="379" y="2"/>
                  </a:lnTo>
                  <a:lnTo>
                    <a:pt x="369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2"/>
                  </a:lnTo>
                  <a:lnTo>
                    <a:pt x="31" y="6"/>
                  </a:lnTo>
                  <a:lnTo>
                    <a:pt x="22" y="14"/>
                  </a:lnTo>
                  <a:lnTo>
                    <a:pt x="15" y="24"/>
                  </a:lnTo>
                  <a:lnTo>
                    <a:pt x="9" y="36"/>
                  </a:lnTo>
                  <a:lnTo>
                    <a:pt x="3" y="49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0" y="439"/>
                  </a:lnTo>
                  <a:lnTo>
                    <a:pt x="57" y="439"/>
                  </a:lnTo>
                  <a:lnTo>
                    <a:pt x="57" y="811"/>
                  </a:lnTo>
                  <a:lnTo>
                    <a:pt x="57" y="811"/>
                  </a:lnTo>
                  <a:lnTo>
                    <a:pt x="58" y="828"/>
                  </a:lnTo>
                  <a:lnTo>
                    <a:pt x="63" y="842"/>
                  </a:lnTo>
                  <a:lnTo>
                    <a:pt x="70" y="856"/>
                  </a:lnTo>
                  <a:lnTo>
                    <a:pt x="80" y="868"/>
                  </a:lnTo>
                  <a:lnTo>
                    <a:pt x="91" y="877"/>
                  </a:lnTo>
                  <a:lnTo>
                    <a:pt x="104" y="884"/>
                  </a:lnTo>
                  <a:lnTo>
                    <a:pt x="119" y="889"/>
                  </a:lnTo>
                  <a:lnTo>
                    <a:pt x="136" y="890"/>
                  </a:lnTo>
                  <a:lnTo>
                    <a:pt x="286" y="890"/>
                  </a:lnTo>
                  <a:lnTo>
                    <a:pt x="286" y="890"/>
                  </a:lnTo>
                  <a:lnTo>
                    <a:pt x="301" y="889"/>
                  </a:lnTo>
                  <a:lnTo>
                    <a:pt x="315" y="884"/>
                  </a:lnTo>
                  <a:lnTo>
                    <a:pt x="329" y="877"/>
                  </a:lnTo>
                  <a:lnTo>
                    <a:pt x="341" y="868"/>
                  </a:lnTo>
                  <a:lnTo>
                    <a:pt x="350" y="856"/>
                  </a:lnTo>
                  <a:lnTo>
                    <a:pt x="357" y="842"/>
                  </a:lnTo>
                  <a:lnTo>
                    <a:pt x="362" y="828"/>
                  </a:lnTo>
                  <a:lnTo>
                    <a:pt x="363" y="811"/>
                  </a:lnTo>
                  <a:lnTo>
                    <a:pt x="363" y="439"/>
                  </a:lnTo>
                  <a:lnTo>
                    <a:pt x="421" y="439"/>
                  </a:lnTo>
                  <a:lnTo>
                    <a:pt x="421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Freeform 774">
              <a:extLst>
                <a:ext uri="{FF2B5EF4-FFF2-40B4-BE49-F238E27FC236}">
                  <a16:creationId xmlns="" xmlns:a16="http://schemas.microsoft.com/office/drawing/2014/main" id="{DD4AECDB-44E9-4F81-ACDB-9DD9B99D2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6468" y="2690813"/>
              <a:ext cx="157163" cy="157163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1" y="119"/>
                </a:cxn>
                <a:cxn ang="0">
                  <a:pos x="7" y="137"/>
                </a:cxn>
                <a:cxn ang="0">
                  <a:pos x="16" y="153"/>
                </a:cxn>
                <a:cxn ang="0">
                  <a:pos x="28" y="168"/>
                </a:cxn>
                <a:cxn ang="0">
                  <a:pos x="43" y="180"/>
                </a:cxn>
                <a:cxn ang="0">
                  <a:pos x="59" y="189"/>
                </a:cxn>
                <a:cxn ang="0">
                  <a:pos x="78" y="195"/>
                </a:cxn>
                <a:cxn ang="0">
                  <a:pos x="98" y="198"/>
                </a:cxn>
                <a:cxn ang="0">
                  <a:pos x="108" y="196"/>
                </a:cxn>
                <a:cxn ang="0">
                  <a:pos x="127" y="193"/>
                </a:cxn>
                <a:cxn ang="0">
                  <a:pos x="145" y="186"/>
                </a:cxn>
                <a:cxn ang="0">
                  <a:pos x="162" y="174"/>
                </a:cxn>
                <a:cxn ang="0">
                  <a:pos x="175" y="161"/>
                </a:cxn>
                <a:cxn ang="0">
                  <a:pos x="185" y="146"/>
                </a:cxn>
                <a:cxn ang="0">
                  <a:pos x="193" y="128"/>
                </a:cxn>
                <a:cxn ang="0">
                  <a:pos x="196" y="109"/>
                </a:cxn>
                <a:cxn ang="0">
                  <a:pos x="197" y="98"/>
                </a:cxn>
                <a:cxn ang="0">
                  <a:pos x="194" y="79"/>
                </a:cxn>
                <a:cxn ang="0">
                  <a:pos x="190" y="59"/>
                </a:cxn>
                <a:cxn ang="0">
                  <a:pos x="179" y="43"/>
                </a:cxn>
                <a:cxn ang="0">
                  <a:pos x="168" y="28"/>
                </a:cxn>
                <a:cxn ang="0">
                  <a:pos x="153" y="16"/>
                </a:cxn>
                <a:cxn ang="0">
                  <a:pos x="136" y="7"/>
                </a:cxn>
                <a:cxn ang="0">
                  <a:pos x="118" y="1"/>
                </a:cxn>
                <a:cxn ang="0">
                  <a:pos x="98" y="0"/>
                </a:cxn>
                <a:cxn ang="0">
                  <a:pos x="87" y="0"/>
                </a:cxn>
                <a:cxn ang="0">
                  <a:pos x="68" y="4"/>
                </a:cxn>
                <a:cxn ang="0">
                  <a:pos x="52" y="12"/>
                </a:cxn>
                <a:cxn ang="0">
                  <a:pos x="35" y="22"/>
                </a:cxn>
                <a:cxn ang="0">
                  <a:pos x="22" y="36"/>
                </a:cxn>
                <a:cxn ang="0">
                  <a:pos x="11" y="50"/>
                </a:cxn>
                <a:cxn ang="0">
                  <a:pos x="4" y="68"/>
                </a:cxn>
                <a:cxn ang="0">
                  <a:pos x="0" y="88"/>
                </a:cxn>
                <a:cxn ang="0">
                  <a:pos x="0" y="98"/>
                </a:cxn>
              </a:cxnLst>
              <a:rect l="0" t="0" r="r" b="b"/>
              <a:pathLst>
                <a:path w="197" h="198">
                  <a:moveTo>
                    <a:pt x="0" y="98"/>
                  </a:moveTo>
                  <a:lnTo>
                    <a:pt x="0" y="98"/>
                  </a:lnTo>
                  <a:lnTo>
                    <a:pt x="0" y="109"/>
                  </a:lnTo>
                  <a:lnTo>
                    <a:pt x="1" y="119"/>
                  </a:lnTo>
                  <a:lnTo>
                    <a:pt x="4" y="128"/>
                  </a:lnTo>
                  <a:lnTo>
                    <a:pt x="7" y="137"/>
                  </a:lnTo>
                  <a:lnTo>
                    <a:pt x="11" y="146"/>
                  </a:lnTo>
                  <a:lnTo>
                    <a:pt x="16" y="153"/>
                  </a:lnTo>
                  <a:lnTo>
                    <a:pt x="22" y="161"/>
                  </a:lnTo>
                  <a:lnTo>
                    <a:pt x="28" y="168"/>
                  </a:lnTo>
                  <a:lnTo>
                    <a:pt x="35" y="174"/>
                  </a:lnTo>
                  <a:lnTo>
                    <a:pt x="43" y="180"/>
                  </a:lnTo>
                  <a:lnTo>
                    <a:pt x="52" y="186"/>
                  </a:lnTo>
                  <a:lnTo>
                    <a:pt x="59" y="189"/>
                  </a:lnTo>
                  <a:lnTo>
                    <a:pt x="68" y="193"/>
                  </a:lnTo>
                  <a:lnTo>
                    <a:pt x="78" y="195"/>
                  </a:lnTo>
                  <a:lnTo>
                    <a:pt x="87" y="196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108" y="196"/>
                  </a:lnTo>
                  <a:lnTo>
                    <a:pt x="118" y="195"/>
                  </a:lnTo>
                  <a:lnTo>
                    <a:pt x="127" y="193"/>
                  </a:lnTo>
                  <a:lnTo>
                    <a:pt x="136" y="189"/>
                  </a:lnTo>
                  <a:lnTo>
                    <a:pt x="145" y="186"/>
                  </a:lnTo>
                  <a:lnTo>
                    <a:pt x="153" y="180"/>
                  </a:lnTo>
                  <a:lnTo>
                    <a:pt x="162" y="174"/>
                  </a:lnTo>
                  <a:lnTo>
                    <a:pt x="168" y="168"/>
                  </a:lnTo>
                  <a:lnTo>
                    <a:pt x="175" y="161"/>
                  </a:lnTo>
                  <a:lnTo>
                    <a:pt x="179" y="153"/>
                  </a:lnTo>
                  <a:lnTo>
                    <a:pt x="185" y="146"/>
                  </a:lnTo>
                  <a:lnTo>
                    <a:pt x="190" y="137"/>
                  </a:lnTo>
                  <a:lnTo>
                    <a:pt x="193" y="128"/>
                  </a:lnTo>
                  <a:lnTo>
                    <a:pt x="194" y="119"/>
                  </a:lnTo>
                  <a:lnTo>
                    <a:pt x="196" y="109"/>
                  </a:lnTo>
                  <a:lnTo>
                    <a:pt x="197" y="98"/>
                  </a:lnTo>
                  <a:lnTo>
                    <a:pt x="197" y="98"/>
                  </a:lnTo>
                  <a:lnTo>
                    <a:pt x="196" y="88"/>
                  </a:lnTo>
                  <a:lnTo>
                    <a:pt x="194" y="79"/>
                  </a:lnTo>
                  <a:lnTo>
                    <a:pt x="193" y="68"/>
                  </a:lnTo>
                  <a:lnTo>
                    <a:pt x="190" y="59"/>
                  </a:lnTo>
                  <a:lnTo>
                    <a:pt x="185" y="50"/>
                  </a:lnTo>
                  <a:lnTo>
                    <a:pt x="179" y="43"/>
                  </a:lnTo>
                  <a:lnTo>
                    <a:pt x="175" y="36"/>
                  </a:lnTo>
                  <a:lnTo>
                    <a:pt x="168" y="28"/>
                  </a:lnTo>
                  <a:lnTo>
                    <a:pt x="162" y="22"/>
                  </a:lnTo>
                  <a:lnTo>
                    <a:pt x="153" y="16"/>
                  </a:lnTo>
                  <a:lnTo>
                    <a:pt x="145" y="12"/>
                  </a:lnTo>
                  <a:lnTo>
                    <a:pt x="136" y="7"/>
                  </a:lnTo>
                  <a:lnTo>
                    <a:pt x="127" y="4"/>
                  </a:lnTo>
                  <a:lnTo>
                    <a:pt x="118" y="1"/>
                  </a:lnTo>
                  <a:lnTo>
                    <a:pt x="10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87" y="0"/>
                  </a:lnTo>
                  <a:lnTo>
                    <a:pt x="78" y="1"/>
                  </a:lnTo>
                  <a:lnTo>
                    <a:pt x="68" y="4"/>
                  </a:lnTo>
                  <a:lnTo>
                    <a:pt x="59" y="7"/>
                  </a:lnTo>
                  <a:lnTo>
                    <a:pt x="52" y="12"/>
                  </a:lnTo>
                  <a:lnTo>
                    <a:pt x="43" y="16"/>
                  </a:lnTo>
                  <a:lnTo>
                    <a:pt x="35" y="22"/>
                  </a:lnTo>
                  <a:lnTo>
                    <a:pt x="28" y="28"/>
                  </a:lnTo>
                  <a:lnTo>
                    <a:pt x="22" y="36"/>
                  </a:lnTo>
                  <a:lnTo>
                    <a:pt x="16" y="43"/>
                  </a:lnTo>
                  <a:lnTo>
                    <a:pt x="11" y="50"/>
                  </a:lnTo>
                  <a:lnTo>
                    <a:pt x="7" y="59"/>
                  </a:lnTo>
                  <a:lnTo>
                    <a:pt x="4" y="68"/>
                  </a:lnTo>
                  <a:lnTo>
                    <a:pt x="1" y="79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0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Freeform 775">
              <a:extLst>
                <a:ext uri="{FF2B5EF4-FFF2-40B4-BE49-F238E27FC236}">
                  <a16:creationId xmlns="" xmlns:a16="http://schemas.microsoft.com/office/drawing/2014/main" id="{E6B82C60-7B7D-4767-9926-8CD62C2D7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7568" y="2868613"/>
              <a:ext cx="333375" cy="706438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3" y="49"/>
                </a:cxn>
                <a:cxn ang="0">
                  <a:pos x="9" y="36"/>
                </a:cxn>
                <a:cxn ang="0">
                  <a:pos x="15" y="24"/>
                </a:cxn>
                <a:cxn ang="0">
                  <a:pos x="22" y="14"/>
                </a:cxn>
                <a:cxn ang="0">
                  <a:pos x="31" y="6"/>
                </a:cxn>
                <a:cxn ang="0">
                  <a:pos x="42" y="2"/>
                </a:cxn>
                <a:cxn ang="0">
                  <a:pos x="52" y="0"/>
                </a:cxn>
                <a:cxn ang="0">
                  <a:pos x="369" y="0"/>
                </a:cxn>
                <a:cxn ang="0">
                  <a:pos x="369" y="0"/>
                </a:cxn>
                <a:cxn ang="0">
                  <a:pos x="379" y="2"/>
                </a:cxn>
                <a:cxn ang="0">
                  <a:pos x="388" y="6"/>
                </a:cxn>
                <a:cxn ang="0">
                  <a:pos x="397" y="14"/>
                </a:cxn>
                <a:cxn ang="0">
                  <a:pos x="406" y="24"/>
                </a:cxn>
                <a:cxn ang="0">
                  <a:pos x="412" y="36"/>
                </a:cxn>
                <a:cxn ang="0">
                  <a:pos x="416" y="49"/>
                </a:cxn>
                <a:cxn ang="0">
                  <a:pos x="419" y="64"/>
                </a:cxn>
                <a:cxn ang="0">
                  <a:pos x="421" y="80"/>
                </a:cxn>
                <a:cxn ang="0">
                  <a:pos x="421" y="439"/>
                </a:cxn>
                <a:cxn ang="0">
                  <a:pos x="363" y="439"/>
                </a:cxn>
                <a:cxn ang="0">
                  <a:pos x="363" y="811"/>
                </a:cxn>
                <a:cxn ang="0">
                  <a:pos x="363" y="811"/>
                </a:cxn>
                <a:cxn ang="0">
                  <a:pos x="361" y="828"/>
                </a:cxn>
                <a:cxn ang="0">
                  <a:pos x="357" y="842"/>
                </a:cxn>
                <a:cxn ang="0">
                  <a:pos x="349" y="856"/>
                </a:cxn>
                <a:cxn ang="0">
                  <a:pos x="341" y="868"/>
                </a:cxn>
                <a:cxn ang="0">
                  <a:pos x="329" y="877"/>
                </a:cxn>
                <a:cxn ang="0">
                  <a:pos x="315" y="884"/>
                </a:cxn>
                <a:cxn ang="0">
                  <a:pos x="300" y="889"/>
                </a:cxn>
                <a:cxn ang="0">
                  <a:pos x="286" y="890"/>
                </a:cxn>
                <a:cxn ang="0">
                  <a:pos x="135" y="890"/>
                </a:cxn>
                <a:cxn ang="0">
                  <a:pos x="135" y="890"/>
                </a:cxn>
                <a:cxn ang="0">
                  <a:pos x="119" y="889"/>
                </a:cxn>
                <a:cxn ang="0">
                  <a:pos x="104" y="884"/>
                </a:cxn>
                <a:cxn ang="0">
                  <a:pos x="91" y="877"/>
                </a:cxn>
                <a:cxn ang="0">
                  <a:pos x="80" y="868"/>
                </a:cxn>
                <a:cxn ang="0">
                  <a:pos x="70" y="856"/>
                </a:cxn>
                <a:cxn ang="0">
                  <a:pos x="62" y="842"/>
                </a:cxn>
                <a:cxn ang="0">
                  <a:pos x="58" y="828"/>
                </a:cxn>
                <a:cxn ang="0">
                  <a:pos x="57" y="811"/>
                </a:cxn>
                <a:cxn ang="0">
                  <a:pos x="57" y="439"/>
                </a:cxn>
                <a:cxn ang="0">
                  <a:pos x="0" y="439"/>
                </a:cxn>
                <a:cxn ang="0">
                  <a:pos x="0" y="80"/>
                </a:cxn>
              </a:cxnLst>
              <a:rect l="0" t="0" r="r" b="b"/>
              <a:pathLst>
                <a:path w="421" h="890">
                  <a:moveTo>
                    <a:pt x="0" y="80"/>
                  </a:moveTo>
                  <a:lnTo>
                    <a:pt x="0" y="80"/>
                  </a:lnTo>
                  <a:lnTo>
                    <a:pt x="0" y="64"/>
                  </a:lnTo>
                  <a:lnTo>
                    <a:pt x="3" y="49"/>
                  </a:lnTo>
                  <a:lnTo>
                    <a:pt x="9" y="36"/>
                  </a:lnTo>
                  <a:lnTo>
                    <a:pt x="15" y="24"/>
                  </a:lnTo>
                  <a:lnTo>
                    <a:pt x="22" y="14"/>
                  </a:lnTo>
                  <a:lnTo>
                    <a:pt x="31" y="6"/>
                  </a:lnTo>
                  <a:lnTo>
                    <a:pt x="42" y="2"/>
                  </a:lnTo>
                  <a:lnTo>
                    <a:pt x="52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79" y="2"/>
                  </a:lnTo>
                  <a:lnTo>
                    <a:pt x="388" y="6"/>
                  </a:lnTo>
                  <a:lnTo>
                    <a:pt x="397" y="14"/>
                  </a:lnTo>
                  <a:lnTo>
                    <a:pt x="406" y="24"/>
                  </a:lnTo>
                  <a:lnTo>
                    <a:pt x="412" y="36"/>
                  </a:lnTo>
                  <a:lnTo>
                    <a:pt x="416" y="49"/>
                  </a:lnTo>
                  <a:lnTo>
                    <a:pt x="419" y="64"/>
                  </a:lnTo>
                  <a:lnTo>
                    <a:pt x="421" y="80"/>
                  </a:lnTo>
                  <a:lnTo>
                    <a:pt x="421" y="439"/>
                  </a:lnTo>
                  <a:lnTo>
                    <a:pt x="363" y="439"/>
                  </a:lnTo>
                  <a:lnTo>
                    <a:pt x="363" y="811"/>
                  </a:lnTo>
                  <a:lnTo>
                    <a:pt x="363" y="811"/>
                  </a:lnTo>
                  <a:lnTo>
                    <a:pt x="361" y="828"/>
                  </a:lnTo>
                  <a:lnTo>
                    <a:pt x="357" y="842"/>
                  </a:lnTo>
                  <a:lnTo>
                    <a:pt x="349" y="856"/>
                  </a:lnTo>
                  <a:lnTo>
                    <a:pt x="341" y="868"/>
                  </a:lnTo>
                  <a:lnTo>
                    <a:pt x="329" y="877"/>
                  </a:lnTo>
                  <a:lnTo>
                    <a:pt x="315" y="884"/>
                  </a:lnTo>
                  <a:lnTo>
                    <a:pt x="300" y="889"/>
                  </a:lnTo>
                  <a:lnTo>
                    <a:pt x="286" y="890"/>
                  </a:lnTo>
                  <a:lnTo>
                    <a:pt x="135" y="890"/>
                  </a:lnTo>
                  <a:lnTo>
                    <a:pt x="135" y="890"/>
                  </a:lnTo>
                  <a:lnTo>
                    <a:pt x="119" y="889"/>
                  </a:lnTo>
                  <a:lnTo>
                    <a:pt x="104" y="884"/>
                  </a:lnTo>
                  <a:lnTo>
                    <a:pt x="91" y="877"/>
                  </a:lnTo>
                  <a:lnTo>
                    <a:pt x="80" y="868"/>
                  </a:lnTo>
                  <a:lnTo>
                    <a:pt x="70" y="856"/>
                  </a:lnTo>
                  <a:lnTo>
                    <a:pt x="62" y="842"/>
                  </a:lnTo>
                  <a:lnTo>
                    <a:pt x="58" y="828"/>
                  </a:lnTo>
                  <a:lnTo>
                    <a:pt x="57" y="811"/>
                  </a:lnTo>
                  <a:lnTo>
                    <a:pt x="57" y="439"/>
                  </a:lnTo>
                  <a:lnTo>
                    <a:pt x="0" y="439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Freeform 776">
              <a:extLst>
                <a:ext uri="{FF2B5EF4-FFF2-40B4-BE49-F238E27FC236}">
                  <a16:creationId xmlns="" xmlns:a16="http://schemas.microsoft.com/office/drawing/2014/main" id="{E65A07D0-0C00-4AFF-8E66-73EAE3DA4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931" y="2628900"/>
              <a:ext cx="185738" cy="187325"/>
            </a:xfrm>
            <a:custGeom>
              <a:avLst/>
              <a:gdLst/>
              <a:ahLst/>
              <a:cxnLst>
                <a:cxn ang="0">
                  <a:pos x="234" y="118"/>
                </a:cxn>
                <a:cxn ang="0">
                  <a:pos x="231" y="141"/>
                </a:cxn>
                <a:cxn ang="0">
                  <a:pos x="226" y="164"/>
                </a:cxn>
                <a:cxn ang="0">
                  <a:pos x="214" y="183"/>
                </a:cxn>
                <a:cxn ang="0">
                  <a:pos x="200" y="201"/>
                </a:cxn>
                <a:cxn ang="0">
                  <a:pos x="182" y="216"/>
                </a:cxn>
                <a:cxn ang="0">
                  <a:pos x="163" y="226"/>
                </a:cxn>
                <a:cxn ang="0">
                  <a:pos x="141" y="234"/>
                </a:cxn>
                <a:cxn ang="0">
                  <a:pos x="117" y="235"/>
                </a:cxn>
                <a:cxn ang="0">
                  <a:pos x="105" y="235"/>
                </a:cxn>
                <a:cxn ang="0">
                  <a:pos x="81" y="231"/>
                </a:cxn>
                <a:cxn ang="0">
                  <a:pos x="60" y="222"/>
                </a:cxn>
                <a:cxn ang="0">
                  <a:pos x="41" y="208"/>
                </a:cxn>
                <a:cxn ang="0">
                  <a:pos x="26" y="192"/>
                </a:cxn>
                <a:cxn ang="0">
                  <a:pos x="13" y="174"/>
                </a:cxn>
                <a:cxn ang="0">
                  <a:pos x="4" y="153"/>
                </a:cxn>
                <a:cxn ang="0">
                  <a:pos x="0" y="129"/>
                </a:cxn>
                <a:cxn ang="0">
                  <a:pos x="0" y="118"/>
                </a:cxn>
                <a:cxn ang="0">
                  <a:pos x="1" y="94"/>
                </a:cxn>
                <a:cxn ang="0">
                  <a:pos x="8" y="71"/>
                </a:cxn>
                <a:cxn ang="0">
                  <a:pos x="19" y="52"/>
                </a:cxn>
                <a:cxn ang="0">
                  <a:pos x="34" y="34"/>
                </a:cxn>
                <a:cxn ang="0">
                  <a:pos x="52" y="19"/>
                </a:cxn>
                <a:cxn ang="0">
                  <a:pos x="71" y="9"/>
                </a:cxn>
                <a:cxn ang="0">
                  <a:pos x="93" y="3"/>
                </a:cxn>
                <a:cxn ang="0">
                  <a:pos x="117" y="0"/>
                </a:cxn>
                <a:cxn ang="0">
                  <a:pos x="129" y="0"/>
                </a:cxn>
                <a:cxn ang="0">
                  <a:pos x="151" y="4"/>
                </a:cxn>
                <a:cxn ang="0">
                  <a:pos x="174" y="13"/>
                </a:cxn>
                <a:cxn ang="0">
                  <a:pos x="191" y="27"/>
                </a:cxn>
                <a:cxn ang="0">
                  <a:pos x="208" y="43"/>
                </a:cxn>
                <a:cxn ang="0">
                  <a:pos x="220" y="61"/>
                </a:cxn>
                <a:cxn ang="0">
                  <a:pos x="229" y="83"/>
                </a:cxn>
                <a:cxn ang="0">
                  <a:pos x="234" y="106"/>
                </a:cxn>
                <a:cxn ang="0">
                  <a:pos x="234" y="118"/>
                </a:cxn>
              </a:cxnLst>
              <a:rect l="0" t="0" r="r" b="b"/>
              <a:pathLst>
                <a:path w="234" h="235">
                  <a:moveTo>
                    <a:pt x="234" y="118"/>
                  </a:moveTo>
                  <a:lnTo>
                    <a:pt x="234" y="118"/>
                  </a:lnTo>
                  <a:lnTo>
                    <a:pt x="234" y="129"/>
                  </a:lnTo>
                  <a:lnTo>
                    <a:pt x="231" y="141"/>
                  </a:lnTo>
                  <a:lnTo>
                    <a:pt x="229" y="153"/>
                  </a:lnTo>
                  <a:lnTo>
                    <a:pt x="226" y="164"/>
                  </a:lnTo>
                  <a:lnTo>
                    <a:pt x="220" y="174"/>
                  </a:lnTo>
                  <a:lnTo>
                    <a:pt x="214" y="183"/>
                  </a:lnTo>
                  <a:lnTo>
                    <a:pt x="208" y="192"/>
                  </a:lnTo>
                  <a:lnTo>
                    <a:pt x="200" y="201"/>
                  </a:lnTo>
                  <a:lnTo>
                    <a:pt x="191" y="208"/>
                  </a:lnTo>
                  <a:lnTo>
                    <a:pt x="182" y="216"/>
                  </a:lnTo>
                  <a:lnTo>
                    <a:pt x="174" y="222"/>
                  </a:lnTo>
                  <a:lnTo>
                    <a:pt x="163" y="226"/>
                  </a:lnTo>
                  <a:lnTo>
                    <a:pt x="151" y="231"/>
                  </a:lnTo>
                  <a:lnTo>
                    <a:pt x="141" y="234"/>
                  </a:lnTo>
                  <a:lnTo>
                    <a:pt x="129" y="235"/>
                  </a:lnTo>
                  <a:lnTo>
                    <a:pt x="117" y="235"/>
                  </a:lnTo>
                  <a:lnTo>
                    <a:pt x="117" y="235"/>
                  </a:lnTo>
                  <a:lnTo>
                    <a:pt x="105" y="235"/>
                  </a:lnTo>
                  <a:lnTo>
                    <a:pt x="93" y="234"/>
                  </a:lnTo>
                  <a:lnTo>
                    <a:pt x="81" y="231"/>
                  </a:lnTo>
                  <a:lnTo>
                    <a:pt x="71" y="226"/>
                  </a:lnTo>
                  <a:lnTo>
                    <a:pt x="60" y="222"/>
                  </a:lnTo>
                  <a:lnTo>
                    <a:pt x="52" y="216"/>
                  </a:lnTo>
                  <a:lnTo>
                    <a:pt x="41" y="208"/>
                  </a:lnTo>
                  <a:lnTo>
                    <a:pt x="34" y="201"/>
                  </a:lnTo>
                  <a:lnTo>
                    <a:pt x="26" y="192"/>
                  </a:lnTo>
                  <a:lnTo>
                    <a:pt x="19" y="183"/>
                  </a:lnTo>
                  <a:lnTo>
                    <a:pt x="13" y="174"/>
                  </a:lnTo>
                  <a:lnTo>
                    <a:pt x="8" y="164"/>
                  </a:lnTo>
                  <a:lnTo>
                    <a:pt x="4" y="153"/>
                  </a:lnTo>
                  <a:lnTo>
                    <a:pt x="1" y="141"/>
                  </a:lnTo>
                  <a:lnTo>
                    <a:pt x="0" y="129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06"/>
                  </a:lnTo>
                  <a:lnTo>
                    <a:pt x="1" y="94"/>
                  </a:lnTo>
                  <a:lnTo>
                    <a:pt x="4" y="83"/>
                  </a:lnTo>
                  <a:lnTo>
                    <a:pt x="8" y="71"/>
                  </a:lnTo>
                  <a:lnTo>
                    <a:pt x="13" y="61"/>
                  </a:lnTo>
                  <a:lnTo>
                    <a:pt x="19" y="52"/>
                  </a:lnTo>
                  <a:lnTo>
                    <a:pt x="26" y="43"/>
                  </a:lnTo>
                  <a:lnTo>
                    <a:pt x="34" y="34"/>
                  </a:lnTo>
                  <a:lnTo>
                    <a:pt x="41" y="27"/>
                  </a:lnTo>
                  <a:lnTo>
                    <a:pt x="52" y="19"/>
                  </a:lnTo>
                  <a:lnTo>
                    <a:pt x="60" y="13"/>
                  </a:lnTo>
                  <a:lnTo>
                    <a:pt x="71" y="9"/>
                  </a:lnTo>
                  <a:lnTo>
                    <a:pt x="81" y="4"/>
                  </a:lnTo>
                  <a:lnTo>
                    <a:pt x="93" y="3"/>
                  </a:lnTo>
                  <a:lnTo>
                    <a:pt x="105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41" y="3"/>
                  </a:lnTo>
                  <a:lnTo>
                    <a:pt x="151" y="4"/>
                  </a:lnTo>
                  <a:lnTo>
                    <a:pt x="163" y="9"/>
                  </a:lnTo>
                  <a:lnTo>
                    <a:pt x="174" y="13"/>
                  </a:lnTo>
                  <a:lnTo>
                    <a:pt x="182" y="19"/>
                  </a:lnTo>
                  <a:lnTo>
                    <a:pt x="191" y="27"/>
                  </a:lnTo>
                  <a:lnTo>
                    <a:pt x="200" y="34"/>
                  </a:lnTo>
                  <a:lnTo>
                    <a:pt x="208" y="43"/>
                  </a:lnTo>
                  <a:lnTo>
                    <a:pt x="214" y="52"/>
                  </a:lnTo>
                  <a:lnTo>
                    <a:pt x="220" y="61"/>
                  </a:lnTo>
                  <a:lnTo>
                    <a:pt x="226" y="71"/>
                  </a:lnTo>
                  <a:lnTo>
                    <a:pt x="229" y="83"/>
                  </a:lnTo>
                  <a:lnTo>
                    <a:pt x="231" y="94"/>
                  </a:lnTo>
                  <a:lnTo>
                    <a:pt x="234" y="106"/>
                  </a:lnTo>
                  <a:lnTo>
                    <a:pt x="234" y="118"/>
                  </a:lnTo>
                  <a:lnTo>
                    <a:pt x="234" y="1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Freeform 777">
              <a:extLst>
                <a:ext uri="{FF2B5EF4-FFF2-40B4-BE49-F238E27FC236}">
                  <a16:creationId xmlns="" xmlns:a16="http://schemas.microsoft.com/office/drawing/2014/main" id="{A28E62FA-B668-4048-931A-AE4E1874E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568" y="2840038"/>
              <a:ext cx="396875" cy="841375"/>
            </a:xfrm>
            <a:custGeom>
              <a:avLst/>
              <a:gdLst/>
              <a:ahLst/>
              <a:cxnLst>
                <a:cxn ang="0">
                  <a:pos x="501" y="96"/>
                </a:cxn>
                <a:cxn ang="0">
                  <a:pos x="501" y="96"/>
                </a:cxn>
                <a:cxn ang="0">
                  <a:pos x="501" y="76"/>
                </a:cxn>
                <a:cxn ang="0">
                  <a:pos x="496" y="58"/>
                </a:cxn>
                <a:cxn ang="0">
                  <a:pos x="490" y="42"/>
                </a:cxn>
                <a:cxn ang="0">
                  <a:pos x="483" y="29"/>
                </a:cxn>
                <a:cxn ang="0">
                  <a:pos x="474" y="17"/>
                </a:cxn>
                <a:cxn ang="0">
                  <a:pos x="464" y="8"/>
                </a:cxn>
                <a:cxn ang="0">
                  <a:pos x="458" y="5"/>
                </a:cxn>
                <a:cxn ang="0">
                  <a:pos x="452" y="2"/>
                </a:cxn>
                <a:cxn ang="0">
                  <a:pos x="446" y="0"/>
                </a:cxn>
                <a:cxn ang="0">
                  <a:pos x="438" y="0"/>
                </a:cxn>
                <a:cxn ang="0">
                  <a:pos x="62" y="0"/>
                </a:cxn>
                <a:cxn ang="0">
                  <a:pos x="62" y="0"/>
                </a:cxn>
                <a:cxn ang="0">
                  <a:pos x="56" y="0"/>
                </a:cxn>
                <a:cxn ang="0">
                  <a:pos x="50" y="2"/>
                </a:cxn>
                <a:cxn ang="0">
                  <a:pos x="44" y="5"/>
                </a:cxn>
                <a:cxn ang="0">
                  <a:pos x="38" y="8"/>
                </a:cxn>
                <a:cxn ang="0">
                  <a:pos x="28" y="17"/>
                </a:cxn>
                <a:cxn ang="0">
                  <a:pos x="19" y="29"/>
                </a:cxn>
                <a:cxn ang="0">
                  <a:pos x="10" y="42"/>
                </a:cxn>
                <a:cxn ang="0">
                  <a:pos x="6" y="58"/>
                </a:cxn>
                <a:cxn ang="0">
                  <a:pos x="1" y="76"/>
                </a:cxn>
                <a:cxn ang="0">
                  <a:pos x="0" y="96"/>
                </a:cxn>
                <a:cxn ang="0">
                  <a:pos x="0" y="523"/>
                </a:cxn>
                <a:cxn ang="0">
                  <a:pos x="68" y="523"/>
                </a:cxn>
                <a:cxn ang="0">
                  <a:pos x="68" y="966"/>
                </a:cxn>
                <a:cxn ang="0">
                  <a:pos x="68" y="966"/>
                </a:cxn>
                <a:cxn ang="0">
                  <a:pos x="68" y="975"/>
                </a:cxn>
                <a:cxn ang="0">
                  <a:pos x="70" y="984"/>
                </a:cxn>
                <a:cxn ang="0">
                  <a:pos x="73" y="993"/>
                </a:cxn>
                <a:cxn ang="0">
                  <a:pos x="76" y="1002"/>
                </a:cxn>
                <a:cxn ang="0">
                  <a:pos x="84" y="1018"/>
                </a:cxn>
                <a:cxn ang="0">
                  <a:pos x="95" y="1032"/>
                </a:cxn>
                <a:cxn ang="0">
                  <a:pos x="110" y="1044"/>
                </a:cxn>
                <a:cxn ang="0">
                  <a:pos x="125" y="1053"/>
                </a:cxn>
                <a:cxn ang="0">
                  <a:pos x="134" y="1056"/>
                </a:cxn>
                <a:cxn ang="0">
                  <a:pos x="142" y="1057"/>
                </a:cxn>
                <a:cxn ang="0">
                  <a:pos x="151" y="1059"/>
                </a:cxn>
                <a:cxn ang="0">
                  <a:pos x="162" y="1060"/>
                </a:cxn>
                <a:cxn ang="0">
                  <a:pos x="340" y="1060"/>
                </a:cxn>
                <a:cxn ang="0">
                  <a:pos x="340" y="1060"/>
                </a:cxn>
                <a:cxn ang="0">
                  <a:pos x="349" y="1059"/>
                </a:cxn>
                <a:cxn ang="0">
                  <a:pos x="358" y="1057"/>
                </a:cxn>
                <a:cxn ang="0">
                  <a:pos x="367" y="1056"/>
                </a:cxn>
                <a:cxn ang="0">
                  <a:pos x="376" y="1053"/>
                </a:cxn>
                <a:cxn ang="0">
                  <a:pos x="392" y="1044"/>
                </a:cxn>
                <a:cxn ang="0">
                  <a:pos x="406" y="1032"/>
                </a:cxn>
                <a:cxn ang="0">
                  <a:pos x="418" y="1018"/>
                </a:cxn>
                <a:cxn ang="0">
                  <a:pos x="426" y="1002"/>
                </a:cxn>
                <a:cxn ang="0">
                  <a:pos x="429" y="993"/>
                </a:cxn>
                <a:cxn ang="0">
                  <a:pos x="431" y="984"/>
                </a:cxn>
                <a:cxn ang="0">
                  <a:pos x="432" y="975"/>
                </a:cxn>
                <a:cxn ang="0">
                  <a:pos x="434" y="966"/>
                </a:cxn>
                <a:cxn ang="0">
                  <a:pos x="434" y="523"/>
                </a:cxn>
                <a:cxn ang="0">
                  <a:pos x="501" y="523"/>
                </a:cxn>
                <a:cxn ang="0">
                  <a:pos x="501" y="96"/>
                </a:cxn>
              </a:cxnLst>
              <a:rect l="0" t="0" r="r" b="b"/>
              <a:pathLst>
                <a:path w="501" h="1060">
                  <a:moveTo>
                    <a:pt x="501" y="96"/>
                  </a:moveTo>
                  <a:lnTo>
                    <a:pt x="501" y="96"/>
                  </a:lnTo>
                  <a:lnTo>
                    <a:pt x="501" y="76"/>
                  </a:lnTo>
                  <a:lnTo>
                    <a:pt x="496" y="58"/>
                  </a:lnTo>
                  <a:lnTo>
                    <a:pt x="490" y="42"/>
                  </a:lnTo>
                  <a:lnTo>
                    <a:pt x="483" y="29"/>
                  </a:lnTo>
                  <a:lnTo>
                    <a:pt x="474" y="17"/>
                  </a:lnTo>
                  <a:lnTo>
                    <a:pt x="464" y="8"/>
                  </a:lnTo>
                  <a:lnTo>
                    <a:pt x="458" y="5"/>
                  </a:lnTo>
                  <a:lnTo>
                    <a:pt x="452" y="2"/>
                  </a:lnTo>
                  <a:lnTo>
                    <a:pt x="446" y="0"/>
                  </a:lnTo>
                  <a:lnTo>
                    <a:pt x="438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50" y="2"/>
                  </a:lnTo>
                  <a:lnTo>
                    <a:pt x="44" y="5"/>
                  </a:lnTo>
                  <a:lnTo>
                    <a:pt x="38" y="8"/>
                  </a:lnTo>
                  <a:lnTo>
                    <a:pt x="28" y="17"/>
                  </a:lnTo>
                  <a:lnTo>
                    <a:pt x="19" y="29"/>
                  </a:lnTo>
                  <a:lnTo>
                    <a:pt x="10" y="42"/>
                  </a:lnTo>
                  <a:lnTo>
                    <a:pt x="6" y="58"/>
                  </a:lnTo>
                  <a:lnTo>
                    <a:pt x="1" y="76"/>
                  </a:lnTo>
                  <a:lnTo>
                    <a:pt x="0" y="96"/>
                  </a:lnTo>
                  <a:lnTo>
                    <a:pt x="0" y="523"/>
                  </a:lnTo>
                  <a:lnTo>
                    <a:pt x="68" y="523"/>
                  </a:lnTo>
                  <a:lnTo>
                    <a:pt x="68" y="966"/>
                  </a:lnTo>
                  <a:lnTo>
                    <a:pt x="68" y="966"/>
                  </a:lnTo>
                  <a:lnTo>
                    <a:pt x="68" y="975"/>
                  </a:lnTo>
                  <a:lnTo>
                    <a:pt x="70" y="984"/>
                  </a:lnTo>
                  <a:lnTo>
                    <a:pt x="73" y="993"/>
                  </a:lnTo>
                  <a:lnTo>
                    <a:pt x="76" y="1002"/>
                  </a:lnTo>
                  <a:lnTo>
                    <a:pt x="84" y="1018"/>
                  </a:lnTo>
                  <a:lnTo>
                    <a:pt x="95" y="1032"/>
                  </a:lnTo>
                  <a:lnTo>
                    <a:pt x="110" y="1044"/>
                  </a:lnTo>
                  <a:lnTo>
                    <a:pt x="125" y="1053"/>
                  </a:lnTo>
                  <a:lnTo>
                    <a:pt x="134" y="1056"/>
                  </a:lnTo>
                  <a:lnTo>
                    <a:pt x="142" y="1057"/>
                  </a:lnTo>
                  <a:lnTo>
                    <a:pt x="151" y="1059"/>
                  </a:lnTo>
                  <a:lnTo>
                    <a:pt x="162" y="1060"/>
                  </a:lnTo>
                  <a:lnTo>
                    <a:pt x="340" y="1060"/>
                  </a:lnTo>
                  <a:lnTo>
                    <a:pt x="340" y="1060"/>
                  </a:lnTo>
                  <a:lnTo>
                    <a:pt x="349" y="1059"/>
                  </a:lnTo>
                  <a:lnTo>
                    <a:pt x="358" y="1057"/>
                  </a:lnTo>
                  <a:lnTo>
                    <a:pt x="367" y="1056"/>
                  </a:lnTo>
                  <a:lnTo>
                    <a:pt x="376" y="1053"/>
                  </a:lnTo>
                  <a:lnTo>
                    <a:pt x="392" y="1044"/>
                  </a:lnTo>
                  <a:lnTo>
                    <a:pt x="406" y="1032"/>
                  </a:lnTo>
                  <a:lnTo>
                    <a:pt x="418" y="1018"/>
                  </a:lnTo>
                  <a:lnTo>
                    <a:pt x="426" y="1002"/>
                  </a:lnTo>
                  <a:lnTo>
                    <a:pt x="429" y="993"/>
                  </a:lnTo>
                  <a:lnTo>
                    <a:pt x="431" y="984"/>
                  </a:lnTo>
                  <a:lnTo>
                    <a:pt x="432" y="975"/>
                  </a:lnTo>
                  <a:lnTo>
                    <a:pt x="434" y="966"/>
                  </a:lnTo>
                  <a:lnTo>
                    <a:pt x="434" y="523"/>
                  </a:lnTo>
                  <a:lnTo>
                    <a:pt x="501" y="523"/>
                  </a:lnTo>
                  <a:lnTo>
                    <a:pt x="501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4" name="文本框 103">
            <a:extLst>
              <a:ext uri="{FF2B5EF4-FFF2-40B4-BE49-F238E27FC236}">
                <a16:creationId xmlns="" xmlns:a16="http://schemas.microsoft.com/office/drawing/2014/main" id="{AD8DE126-BEC7-439C-A84D-26A66E70877A}"/>
              </a:ext>
            </a:extLst>
          </p:cNvPr>
          <p:cNvSpPr txBox="1"/>
          <p:nvPr/>
        </p:nvSpPr>
        <p:spPr>
          <a:xfrm>
            <a:off x="5964018" y="4651890"/>
            <a:ext cx="1828865" cy="9541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High-level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planning, coordinated construction, and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iterative evolution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5" name="Oval 9">
            <a:extLst>
              <a:ext uri="{FF2B5EF4-FFF2-40B4-BE49-F238E27FC236}">
                <a16:creationId xmlns="" xmlns:a16="http://schemas.microsoft.com/office/drawing/2014/main" id="{8709649D-8DA9-4B87-A13D-EEA1163F63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46544" y="2749248"/>
            <a:ext cx="1585360" cy="1498886"/>
          </a:xfrm>
          <a:prstGeom prst="ellipse">
            <a:avLst/>
          </a:prstGeom>
          <a:gradFill>
            <a:gsLst>
              <a:gs pos="0">
                <a:srgbClr val="0070C0">
                  <a:alpha val="2000"/>
                </a:srgbClr>
              </a:gs>
              <a:gs pos="100000">
                <a:srgbClr val="034076"/>
              </a:gs>
            </a:gsLst>
            <a:lin ang="16200000" scaled="0"/>
          </a:gradFill>
          <a:ln w="9525">
            <a:gradFill>
              <a:gsLst>
                <a:gs pos="0">
                  <a:srgbClr val="1EF4F4"/>
                </a:gs>
                <a:gs pos="50000">
                  <a:srgbClr val="1EF4F4">
                    <a:alpha val="0"/>
                  </a:srgbClr>
                </a:gs>
              </a:gsLst>
              <a:lin ang="16200000" scaled="0"/>
            </a:gradFill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647359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6" name="矩形 105">
            <a:extLst>
              <a:ext uri="{FF2B5EF4-FFF2-40B4-BE49-F238E27FC236}">
                <a16:creationId xmlns="" xmlns:a16="http://schemas.microsoft.com/office/drawing/2014/main" id="{BA52C6A9-9108-4455-AFC0-8E1F5A213CC3}"/>
              </a:ext>
            </a:extLst>
          </p:cNvPr>
          <p:cNvSpPr/>
          <p:nvPr/>
        </p:nvSpPr>
        <p:spPr>
          <a:xfrm>
            <a:off x="10082741" y="2048864"/>
            <a:ext cx="1652316" cy="3692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799" b="1" dirty="0" smtClean="0">
                <a:solidFill>
                  <a:srgbClr val="FFC000"/>
                </a:solidFill>
                <a:latin typeface="Arial" panose="020B0604020202020204" pitchFamily="34" charset="0"/>
              </a:rPr>
              <a:t>Solid investments</a:t>
            </a:r>
            <a:endParaRPr lang="en-US" sz="1799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07" name="Freeform 14">
            <a:extLst>
              <a:ext uri="{FF2B5EF4-FFF2-40B4-BE49-F238E27FC236}">
                <a16:creationId xmlns="" xmlns:a16="http://schemas.microsoft.com/office/drawing/2014/main" id="{6BA66120-BED0-4BAB-A1E6-2679AA104CDC}"/>
              </a:ext>
            </a:extLst>
          </p:cNvPr>
          <p:cNvSpPr>
            <a:spLocks noEditPoints="1"/>
          </p:cNvSpPr>
          <p:nvPr/>
        </p:nvSpPr>
        <p:spPr bwMode="auto">
          <a:xfrm>
            <a:off x="10233837" y="2979871"/>
            <a:ext cx="1210774" cy="964183"/>
          </a:xfrm>
          <a:custGeom>
            <a:avLst/>
            <a:gdLst/>
            <a:ahLst/>
            <a:cxnLst>
              <a:cxn ang="0">
                <a:pos x="398" y="176"/>
              </a:cxn>
              <a:cxn ang="0">
                <a:pos x="174" y="400"/>
              </a:cxn>
              <a:cxn ang="0">
                <a:pos x="154" y="176"/>
              </a:cxn>
              <a:cxn ang="0">
                <a:pos x="422" y="200"/>
              </a:cxn>
              <a:cxn ang="0">
                <a:pos x="442" y="424"/>
              </a:cxn>
              <a:cxn ang="0">
                <a:pos x="210" y="442"/>
              </a:cxn>
              <a:cxn ang="0">
                <a:pos x="386" y="418"/>
              </a:cxn>
              <a:cxn ang="0">
                <a:pos x="416" y="380"/>
              </a:cxn>
              <a:cxn ang="0">
                <a:pos x="352" y="18"/>
              </a:cxn>
              <a:cxn ang="0">
                <a:pos x="446" y="110"/>
              </a:cxn>
              <a:cxn ang="0">
                <a:pos x="524" y="134"/>
              </a:cxn>
              <a:cxn ang="0">
                <a:pos x="580" y="208"/>
              </a:cxn>
              <a:cxn ang="0">
                <a:pos x="572" y="310"/>
              </a:cxn>
              <a:cxn ang="0">
                <a:pos x="502" y="264"/>
              </a:cxn>
              <a:cxn ang="0">
                <a:pos x="472" y="226"/>
              </a:cxn>
              <a:cxn ang="0">
                <a:pos x="454" y="198"/>
              </a:cxn>
              <a:cxn ang="0">
                <a:pos x="416" y="176"/>
              </a:cxn>
              <a:cxn ang="0">
                <a:pos x="392" y="140"/>
              </a:cxn>
              <a:cxn ang="0">
                <a:pos x="152" y="144"/>
              </a:cxn>
              <a:cxn ang="0">
                <a:pos x="136" y="380"/>
              </a:cxn>
              <a:cxn ang="0">
                <a:pos x="50" y="370"/>
              </a:cxn>
              <a:cxn ang="0">
                <a:pos x="0" y="274"/>
              </a:cxn>
              <a:cxn ang="0">
                <a:pos x="76" y="164"/>
              </a:cxn>
              <a:cxn ang="0">
                <a:pos x="124" y="82"/>
              </a:cxn>
              <a:cxn ang="0">
                <a:pos x="210" y="12"/>
              </a:cxn>
              <a:cxn ang="0">
                <a:pos x="464" y="244"/>
              </a:cxn>
              <a:cxn ang="0">
                <a:pos x="484" y="468"/>
              </a:cxn>
              <a:cxn ang="0">
                <a:pos x="252" y="486"/>
              </a:cxn>
              <a:cxn ang="0">
                <a:pos x="428" y="462"/>
              </a:cxn>
              <a:cxn ang="0">
                <a:pos x="460" y="424"/>
              </a:cxn>
              <a:cxn ang="0">
                <a:pos x="182" y="306"/>
              </a:cxn>
              <a:cxn ang="0">
                <a:pos x="200" y="244"/>
              </a:cxn>
              <a:cxn ang="0">
                <a:pos x="250" y="256"/>
              </a:cxn>
              <a:cxn ang="0">
                <a:pos x="272" y="248"/>
              </a:cxn>
              <a:cxn ang="0">
                <a:pos x="278" y="300"/>
              </a:cxn>
              <a:cxn ang="0">
                <a:pos x="250" y="300"/>
              </a:cxn>
              <a:cxn ang="0">
                <a:pos x="250" y="284"/>
              </a:cxn>
              <a:cxn ang="0">
                <a:pos x="268" y="292"/>
              </a:cxn>
              <a:cxn ang="0">
                <a:pos x="268" y="264"/>
              </a:cxn>
              <a:cxn ang="0">
                <a:pos x="250" y="268"/>
              </a:cxn>
              <a:cxn ang="0">
                <a:pos x="304" y="252"/>
              </a:cxn>
              <a:cxn ang="0">
                <a:pos x="330" y="254"/>
              </a:cxn>
              <a:cxn ang="0">
                <a:pos x="330" y="300"/>
              </a:cxn>
              <a:cxn ang="0">
                <a:pos x="302" y="328"/>
              </a:cxn>
              <a:cxn ang="0">
                <a:pos x="306" y="290"/>
              </a:cxn>
              <a:cxn ang="0">
                <a:pos x="320" y="292"/>
              </a:cxn>
              <a:cxn ang="0">
                <a:pos x="318" y="260"/>
              </a:cxn>
              <a:cxn ang="0">
                <a:pos x="302" y="276"/>
              </a:cxn>
              <a:cxn ang="0">
                <a:pos x="358" y="296"/>
              </a:cxn>
              <a:cxn ang="0">
                <a:pos x="370" y="290"/>
              </a:cxn>
              <a:cxn ang="0">
                <a:pos x="346" y="278"/>
              </a:cxn>
              <a:cxn ang="0">
                <a:pos x="352" y="248"/>
              </a:cxn>
              <a:cxn ang="0">
                <a:pos x="382" y="262"/>
              </a:cxn>
              <a:cxn ang="0">
                <a:pos x="354" y="260"/>
              </a:cxn>
              <a:cxn ang="0">
                <a:pos x="374" y="274"/>
              </a:cxn>
              <a:cxn ang="0">
                <a:pos x="378" y="302"/>
              </a:cxn>
              <a:cxn ang="0">
                <a:pos x="346" y="304"/>
              </a:cxn>
            </a:cxnLst>
            <a:rect l="0" t="0" r="r" b="b"/>
            <a:pathLst>
              <a:path w="586" h="488">
                <a:moveTo>
                  <a:pt x="174" y="154"/>
                </a:moveTo>
                <a:lnTo>
                  <a:pt x="378" y="154"/>
                </a:lnTo>
                <a:lnTo>
                  <a:pt x="378" y="154"/>
                </a:lnTo>
                <a:lnTo>
                  <a:pt x="386" y="156"/>
                </a:lnTo>
                <a:lnTo>
                  <a:pt x="392" y="160"/>
                </a:lnTo>
                <a:lnTo>
                  <a:pt x="396" y="168"/>
                </a:lnTo>
                <a:lnTo>
                  <a:pt x="398" y="176"/>
                </a:lnTo>
                <a:lnTo>
                  <a:pt x="398" y="380"/>
                </a:lnTo>
                <a:lnTo>
                  <a:pt x="398" y="380"/>
                </a:lnTo>
                <a:lnTo>
                  <a:pt x="396" y="388"/>
                </a:lnTo>
                <a:lnTo>
                  <a:pt x="392" y="394"/>
                </a:lnTo>
                <a:lnTo>
                  <a:pt x="386" y="398"/>
                </a:lnTo>
                <a:lnTo>
                  <a:pt x="378" y="400"/>
                </a:lnTo>
                <a:lnTo>
                  <a:pt x="174" y="400"/>
                </a:lnTo>
                <a:lnTo>
                  <a:pt x="174" y="400"/>
                </a:lnTo>
                <a:lnTo>
                  <a:pt x="166" y="398"/>
                </a:lnTo>
                <a:lnTo>
                  <a:pt x="160" y="394"/>
                </a:lnTo>
                <a:lnTo>
                  <a:pt x="156" y="388"/>
                </a:lnTo>
                <a:lnTo>
                  <a:pt x="154" y="380"/>
                </a:lnTo>
                <a:lnTo>
                  <a:pt x="154" y="176"/>
                </a:lnTo>
                <a:lnTo>
                  <a:pt x="154" y="176"/>
                </a:lnTo>
                <a:lnTo>
                  <a:pt x="156" y="168"/>
                </a:lnTo>
                <a:lnTo>
                  <a:pt x="160" y="160"/>
                </a:lnTo>
                <a:lnTo>
                  <a:pt x="166" y="156"/>
                </a:lnTo>
                <a:lnTo>
                  <a:pt x="174" y="154"/>
                </a:lnTo>
                <a:lnTo>
                  <a:pt x="174" y="154"/>
                </a:lnTo>
                <a:close/>
                <a:moveTo>
                  <a:pt x="416" y="200"/>
                </a:moveTo>
                <a:lnTo>
                  <a:pt x="422" y="200"/>
                </a:lnTo>
                <a:lnTo>
                  <a:pt x="422" y="200"/>
                </a:lnTo>
                <a:lnTo>
                  <a:pt x="430" y="200"/>
                </a:lnTo>
                <a:lnTo>
                  <a:pt x="436" y="206"/>
                </a:lnTo>
                <a:lnTo>
                  <a:pt x="440" y="212"/>
                </a:lnTo>
                <a:lnTo>
                  <a:pt x="442" y="220"/>
                </a:lnTo>
                <a:lnTo>
                  <a:pt x="442" y="424"/>
                </a:lnTo>
                <a:lnTo>
                  <a:pt x="442" y="424"/>
                </a:lnTo>
                <a:lnTo>
                  <a:pt x="440" y="432"/>
                </a:lnTo>
                <a:lnTo>
                  <a:pt x="436" y="438"/>
                </a:lnTo>
                <a:lnTo>
                  <a:pt x="430" y="442"/>
                </a:lnTo>
                <a:lnTo>
                  <a:pt x="422" y="444"/>
                </a:lnTo>
                <a:lnTo>
                  <a:pt x="218" y="444"/>
                </a:lnTo>
                <a:lnTo>
                  <a:pt x="218" y="444"/>
                </a:lnTo>
                <a:lnTo>
                  <a:pt x="210" y="442"/>
                </a:lnTo>
                <a:lnTo>
                  <a:pt x="202" y="438"/>
                </a:lnTo>
                <a:lnTo>
                  <a:pt x="198" y="432"/>
                </a:lnTo>
                <a:lnTo>
                  <a:pt x="196" y="424"/>
                </a:lnTo>
                <a:lnTo>
                  <a:pt x="196" y="418"/>
                </a:lnTo>
                <a:lnTo>
                  <a:pt x="378" y="418"/>
                </a:lnTo>
                <a:lnTo>
                  <a:pt x="378" y="418"/>
                </a:lnTo>
                <a:lnTo>
                  <a:pt x="386" y="418"/>
                </a:lnTo>
                <a:lnTo>
                  <a:pt x="392" y="414"/>
                </a:lnTo>
                <a:lnTo>
                  <a:pt x="400" y="412"/>
                </a:lnTo>
                <a:lnTo>
                  <a:pt x="406" y="406"/>
                </a:lnTo>
                <a:lnTo>
                  <a:pt x="410" y="400"/>
                </a:lnTo>
                <a:lnTo>
                  <a:pt x="414" y="394"/>
                </a:lnTo>
                <a:lnTo>
                  <a:pt x="416" y="388"/>
                </a:lnTo>
                <a:lnTo>
                  <a:pt x="416" y="380"/>
                </a:lnTo>
                <a:lnTo>
                  <a:pt x="416" y="200"/>
                </a:lnTo>
                <a:lnTo>
                  <a:pt x="416" y="200"/>
                </a:lnTo>
                <a:close/>
                <a:moveTo>
                  <a:pt x="274" y="0"/>
                </a:moveTo>
                <a:lnTo>
                  <a:pt x="274" y="0"/>
                </a:lnTo>
                <a:lnTo>
                  <a:pt x="302" y="2"/>
                </a:lnTo>
                <a:lnTo>
                  <a:pt x="328" y="8"/>
                </a:lnTo>
                <a:lnTo>
                  <a:pt x="352" y="18"/>
                </a:lnTo>
                <a:lnTo>
                  <a:pt x="376" y="30"/>
                </a:lnTo>
                <a:lnTo>
                  <a:pt x="396" y="46"/>
                </a:lnTo>
                <a:lnTo>
                  <a:pt x="414" y="66"/>
                </a:lnTo>
                <a:lnTo>
                  <a:pt x="428" y="88"/>
                </a:lnTo>
                <a:lnTo>
                  <a:pt x="440" y="110"/>
                </a:lnTo>
                <a:lnTo>
                  <a:pt x="440" y="110"/>
                </a:lnTo>
                <a:lnTo>
                  <a:pt x="446" y="110"/>
                </a:lnTo>
                <a:lnTo>
                  <a:pt x="446" y="110"/>
                </a:lnTo>
                <a:lnTo>
                  <a:pt x="462" y="112"/>
                </a:lnTo>
                <a:lnTo>
                  <a:pt x="474" y="114"/>
                </a:lnTo>
                <a:lnTo>
                  <a:pt x="488" y="116"/>
                </a:lnTo>
                <a:lnTo>
                  <a:pt x="502" y="122"/>
                </a:lnTo>
                <a:lnTo>
                  <a:pt x="514" y="128"/>
                </a:lnTo>
                <a:lnTo>
                  <a:pt x="524" y="134"/>
                </a:lnTo>
                <a:lnTo>
                  <a:pt x="536" y="142"/>
                </a:lnTo>
                <a:lnTo>
                  <a:pt x="546" y="152"/>
                </a:lnTo>
                <a:lnTo>
                  <a:pt x="554" y="162"/>
                </a:lnTo>
                <a:lnTo>
                  <a:pt x="562" y="172"/>
                </a:lnTo>
                <a:lnTo>
                  <a:pt x="570" y="184"/>
                </a:lnTo>
                <a:lnTo>
                  <a:pt x="576" y="196"/>
                </a:lnTo>
                <a:lnTo>
                  <a:pt x="580" y="208"/>
                </a:lnTo>
                <a:lnTo>
                  <a:pt x="584" y="222"/>
                </a:lnTo>
                <a:lnTo>
                  <a:pt x="586" y="236"/>
                </a:lnTo>
                <a:lnTo>
                  <a:pt x="586" y="250"/>
                </a:lnTo>
                <a:lnTo>
                  <a:pt x="586" y="250"/>
                </a:lnTo>
                <a:lnTo>
                  <a:pt x="584" y="272"/>
                </a:lnTo>
                <a:lnTo>
                  <a:pt x="580" y="292"/>
                </a:lnTo>
                <a:lnTo>
                  <a:pt x="572" y="310"/>
                </a:lnTo>
                <a:lnTo>
                  <a:pt x="562" y="328"/>
                </a:lnTo>
                <a:lnTo>
                  <a:pt x="550" y="342"/>
                </a:lnTo>
                <a:lnTo>
                  <a:pt x="536" y="356"/>
                </a:lnTo>
                <a:lnTo>
                  <a:pt x="520" y="368"/>
                </a:lnTo>
                <a:lnTo>
                  <a:pt x="502" y="378"/>
                </a:lnTo>
                <a:lnTo>
                  <a:pt x="502" y="264"/>
                </a:lnTo>
                <a:lnTo>
                  <a:pt x="502" y="264"/>
                </a:lnTo>
                <a:lnTo>
                  <a:pt x="502" y="256"/>
                </a:lnTo>
                <a:lnTo>
                  <a:pt x="500" y="250"/>
                </a:lnTo>
                <a:lnTo>
                  <a:pt x="496" y="242"/>
                </a:lnTo>
                <a:lnTo>
                  <a:pt x="492" y="236"/>
                </a:lnTo>
                <a:lnTo>
                  <a:pt x="486" y="232"/>
                </a:lnTo>
                <a:lnTo>
                  <a:pt x="480" y="228"/>
                </a:lnTo>
                <a:lnTo>
                  <a:pt x="472" y="226"/>
                </a:lnTo>
                <a:lnTo>
                  <a:pt x="464" y="226"/>
                </a:lnTo>
                <a:lnTo>
                  <a:pt x="460" y="226"/>
                </a:lnTo>
                <a:lnTo>
                  <a:pt x="460" y="220"/>
                </a:lnTo>
                <a:lnTo>
                  <a:pt x="460" y="220"/>
                </a:lnTo>
                <a:lnTo>
                  <a:pt x="458" y="212"/>
                </a:lnTo>
                <a:lnTo>
                  <a:pt x="456" y="204"/>
                </a:lnTo>
                <a:lnTo>
                  <a:pt x="454" y="198"/>
                </a:lnTo>
                <a:lnTo>
                  <a:pt x="448" y="192"/>
                </a:lnTo>
                <a:lnTo>
                  <a:pt x="442" y="188"/>
                </a:lnTo>
                <a:lnTo>
                  <a:pt x="436" y="184"/>
                </a:lnTo>
                <a:lnTo>
                  <a:pt x="428" y="182"/>
                </a:lnTo>
                <a:lnTo>
                  <a:pt x="422" y="182"/>
                </a:lnTo>
                <a:lnTo>
                  <a:pt x="416" y="182"/>
                </a:lnTo>
                <a:lnTo>
                  <a:pt x="416" y="176"/>
                </a:lnTo>
                <a:lnTo>
                  <a:pt x="416" y="176"/>
                </a:lnTo>
                <a:lnTo>
                  <a:pt x="416" y="168"/>
                </a:lnTo>
                <a:lnTo>
                  <a:pt x="414" y="160"/>
                </a:lnTo>
                <a:lnTo>
                  <a:pt x="410" y="154"/>
                </a:lnTo>
                <a:lnTo>
                  <a:pt x="406" y="148"/>
                </a:lnTo>
                <a:lnTo>
                  <a:pt x="400" y="144"/>
                </a:lnTo>
                <a:lnTo>
                  <a:pt x="392" y="140"/>
                </a:lnTo>
                <a:lnTo>
                  <a:pt x="386" y="138"/>
                </a:lnTo>
                <a:lnTo>
                  <a:pt x="378" y="136"/>
                </a:lnTo>
                <a:lnTo>
                  <a:pt x="174" y="136"/>
                </a:lnTo>
                <a:lnTo>
                  <a:pt x="174" y="136"/>
                </a:lnTo>
                <a:lnTo>
                  <a:pt x="166" y="138"/>
                </a:lnTo>
                <a:lnTo>
                  <a:pt x="158" y="140"/>
                </a:lnTo>
                <a:lnTo>
                  <a:pt x="152" y="144"/>
                </a:lnTo>
                <a:lnTo>
                  <a:pt x="146" y="148"/>
                </a:lnTo>
                <a:lnTo>
                  <a:pt x="142" y="154"/>
                </a:lnTo>
                <a:lnTo>
                  <a:pt x="138" y="160"/>
                </a:lnTo>
                <a:lnTo>
                  <a:pt x="136" y="168"/>
                </a:lnTo>
                <a:lnTo>
                  <a:pt x="136" y="176"/>
                </a:lnTo>
                <a:lnTo>
                  <a:pt x="136" y="380"/>
                </a:lnTo>
                <a:lnTo>
                  <a:pt x="136" y="380"/>
                </a:lnTo>
                <a:lnTo>
                  <a:pt x="136" y="390"/>
                </a:lnTo>
                <a:lnTo>
                  <a:pt x="116" y="390"/>
                </a:lnTo>
                <a:lnTo>
                  <a:pt x="116" y="390"/>
                </a:lnTo>
                <a:lnTo>
                  <a:pt x="104" y="388"/>
                </a:lnTo>
                <a:lnTo>
                  <a:pt x="92" y="388"/>
                </a:lnTo>
                <a:lnTo>
                  <a:pt x="70" y="380"/>
                </a:lnTo>
                <a:lnTo>
                  <a:pt x="50" y="370"/>
                </a:lnTo>
                <a:lnTo>
                  <a:pt x="34" y="356"/>
                </a:lnTo>
                <a:lnTo>
                  <a:pt x="20" y="338"/>
                </a:lnTo>
                <a:lnTo>
                  <a:pt x="8" y="318"/>
                </a:lnTo>
                <a:lnTo>
                  <a:pt x="2" y="296"/>
                </a:lnTo>
                <a:lnTo>
                  <a:pt x="0" y="286"/>
                </a:lnTo>
                <a:lnTo>
                  <a:pt x="0" y="274"/>
                </a:lnTo>
                <a:lnTo>
                  <a:pt x="0" y="274"/>
                </a:lnTo>
                <a:lnTo>
                  <a:pt x="2" y="252"/>
                </a:lnTo>
                <a:lnTo>
                  <a:pt x="6" y="232"/>
                </a:lnTo>
                <a:lnTo>
                  <a:pt x="16" y="214"/>
                </a:lnTo>
                <a:lnTo>
                  <a:pt x="28" y="198"/>
                </a:lnTo>
                <a:lnTo>
                  <a:pt x="42" y="184"/>
                </a:lnTo>
                <a:lnTo>
                  <a:pt x="58" y="172"/>
                </a:lnTo>
                <a:lnTo>
                  <a:pt x="76" y="164"/>
                </a:lnTo>
                <a:lnTo>
                  <a:pt x="96" y="158"/>
                </a:lnTo>
                <a:lnTo>
                  <a:pt x="96" y="158"/>
                </a:lnTo>
                <a:lnTo>
                  <a:pt x="100" y="142"/>
                </a:lnTo>
                <a:lnTo>
                  <a:pt x="104" y="126"/>
                </a:lnTo>
                <a:lnTo>
                  <a:pt x="108" y="110"/>
                </a:lnTo>
                <a:lnTo>
                  <a:pt x="116" y="96"/>
                </a:lnTo>
                <a:lnTo>
                  <a:pt x="124" y="82"/>
                </a:lnTo>
                <a:lnTo>
                  <a:pt x="132" y="68"/>
                </a:lnTo>
                <a:lnTo>
                  <a:pt x="144" y="56"/>
                </a:lnTo>
                <a:lnTo>
                  <a:pt x="154" y="46"/>
                </a:lnTo>
                <a:lnTo>
                  <a:pt x="166" y="36"/>
                </a:lnTo>
                <a:lnTo>
                  <a:pt x="180" y="26"/>
                </a:lnTo>
                <a:lnTo>
                  <a:pt x="194" y="18"/>
                </a:lnTo>
                <a:lnTo>
                  <a:pt x="210" y="12"/>
                </a:lnTo>
                <a:lnTo>
                  <a:pt x="224" y="6"/>
                </a:lnTo>
                <a:lnTo>
                  <a:pt x="240" y="2"/>
                </a:lnTo>
                <a:lnTo>
                  <a:pt x="258" y="0"/>
                </a:lnTo>
                <a:lnTo>
                  <a:pt x="274" y="0"/>
                </a:lnTo>
                <a:lnTo>
                  <a:pt x="274" y="0"/>
                </a:lnTo>
                <a:close/>
                <a:moveTo>
                  <a:pt x="460" y="244"/>
                </a:moveTo>
                <a:lnTo>
                  <a:pt x="464" y="244"/>
                </a:lnTo>
                <a:lnTo>
                  <a:pt x="464" y="244"/>
                </a:lnTo>
                <a:lnTo>
                  <a:pt x="472" y="246"/>
                </a:lnTo>
                <a:lnTo>
                  <a:pt x="478" y="250"/>
                </a:lnTo>
                <a:lnTo>
                  <a:pt x="484" y="256"/>
                </a:lnTo>
                <a:lnTo>
                  <a:pt x="484" y="264"/>
                </a:lnTo>
                <a:lnTo>
                  <a:pt x="484" y="468"/>
                </a:lnTo>
                <a:lnTo>
                  <a:pt x="484" y="468"/>
                </a:lnTo>
                <a:lnTo>
                  <a:pt x="484" y="476"/>
                </a:lnTo>
                <a:lnTo>
                  <a:pt x="478" y="482"/>
                </a:lnTo>
                <a:lnTo>
                  <a:pt x="472" y="486"/>
                </a:lnTo>
                <a:lnTo>
                  <a:pt x="464" y="488"/>
                </a:lnTo>
                <a:lnTo>
                  <a:pt x="260" y="488"/>
                </a:lnTo>
                <a:lnTo>
                  <a:pt x="260" y="488"/>
                </a:lnTo>
                <a:lnTo>
                  <a:pt x="252" y="486"/>
                </a:lnTo>
                <a:lnTo>
                  <a:pt x="246" y="482"/>
                </a:lnTo>
                <a:lnTo>
                  <a:pt x="242" y="476"/>
                </a:lnTo>
                <a:lnTo>
                  <a:pt x="240" y="468"/>
                </a:lnTo>
                <a:lnTo>
                  <a:pt x="240" y="462"/>
                </a:lnTo>
                <a:lnTo>
                  <a:pt x="422" y="462"/>
                </a:lnTo>
                <a:lnTo>
                  <a:pt x="422" y="462"/>
                </a:lnTo>
                <a:lnTo>
                  <a:pt x="428" y="462"/>
                </a:lnTo>
                <a:lnTo>
                  <a:pt x="436" y="460"/>
                </a:lnTo>
                <a:lnTo>
                  <a:pt x="442" y="456"/>
                </a:lnTo>
                <a:lnTo>
                  <a:pt x="448" y="450"/>
                </a:lnTo>
                <a:lnTo>
                  <a:pt x="454" y="446"/>
                </a:lnTo>
                <a:lnTo>
                  <a:pt x="456" y="438"/>
                </a:lnTo>
                <a:lnTo>
                  <a:pt x="458" y="432"/>
                </a:lnTo>
                <a:lnTo>
                  <a:pt x="460" y="424"/>
                </a:lnTo>
                <a:lnTo>
                  <a:pt x="460" y="244"/>
                </a:lnTo>
                <a:lnTo>
                  <a:pt x="460" y="244"/>
                </a:lnTo>
                <a:close/>
                <a:moveTo>
                  <a:pt x="234" y="306"/>
                </a:moveTo>
                <a:lnTo>
                  <a:pt x="220" y="306"/>
                </a:lnTo>
                <a:lnTo>
                  <a:pt x="214" y="288"/>
                </a:lnTo>
                <a:lnTo>
                  <a:pt x="188" y="288"/>
                </a:lnTo>
                <a:lnTo>
                  <a:pt x="182" y="306"/>
                </a:lnTo>
                <a:lnTo>
                  <a:pt x="168" y="306"/>
                </a:lnTo>
                <a:lnTo>
                  <a:pt x="194" y="226"/>
                </a:lnTo>
                <a:lnTo>
                  <a:pt x="208" y="226"/>
                </a:lnTo>
                <a:lnTo>
                  <a:pt x="234" y="306"/>
                </a:lnTo>
                <a:lnTo>
                  <a:pt x="234" y="306"/>
                </a:lnTo>
                <a:close/>
                <a:moveTo>
                  <a:pt x="210" y="274"/>
                </a:moveTo>
                <a:lnTo>
                  <a:pt x="200" y="244"/>
                </a:lnTo>
                <a:lnTo>
                  <a:pt x="192" y="274"/>
                </a:lnTo>
                <a:lnTo>
                  <a:pt x="210" y="274"/>
                </a:lnTo>
                <a:lnTo>
                  <a:pt x="210" y="274"/>
                </a:lnTo>
                <a:close/>
                <a:moveTo>
                  <a:pt x="238" y="248"/>
                </a:moveTo>
                <a:lnTo>
                  <a:pt x="250" y="248"/>
                </a:lnTo>
                <a:lnTo>
                  <a:pt x="250" y="256"/>
                </a:lnTo>
                <a:lnTo>
                  <a:pt x="250" y="256"/>
                </a:lnTo>
                <a:lnTo>
                  <a:pt x="252" y="252"/>
                </a:lnTo>
                <a:lnTo>
                  <a:pt x="256" y="250"/>
                </a:lnTo>
                <a:lnTo>
                  <a:pt x="256" y="250"/>
                </a:lnTo>
                <a:lnTo>
                  <a:pt x="260" y="248"/>
                </a:lnTo>
                <a:lnTo>
                  <a:pt x="264" y="248"/>
                </a:lnTo>
                <a:lnTo>
                  <a:pt x="264" y="248"/>
                </a:lnTo>
                <a:lnTo>
                  <a:pt x="272" y="248"/>
                </a:lnTo>
                <a:lnTo>
                  <a:pt x="278" y="254"/>
                </a:lnTo>
                <a:lnTo>
                  <a:pt x="278" y="254"/>
                </a:lnTo>
                <a:lnTo>
                  <a:pt x="282" y="264"/>
                </a:lnTo>
                <a:lnTo>
                  <a:pt x="284" y="276"/>
                </a:lnTo>
                <a:lnTo>
                  <a:pt x="284" y="276"/>
                </a:lnTo>
                <a:lnTo>
                  <a:pt x="282" y="290"/>
                </a:lnTo>
                <a:lnTo>
                  <a:pt x="278" y="300"/>
                </a:lnTo>
                <a:lnTo>
                  <a:pt x="278" y="300"/>
                </a:lnTo>
                <a:lnTo>
                  <a:pt x="272" y="306"/>
                </a:lnTo>
                <a:lnTo>
                  <a:pt x="264" y="308"/>
                </a:lnTo>
                <a:lnTo>
                  <a:pt x="264" y="308"/>
                </a:lnTo>
                <a:lnTo>
                  <a:pt x="256" y="306"/>
                </a:lnTo>
                <a:lnTo>
                  <a:pt x="256" y="306"/>
                </a:lnTo>
                <a:lnTo>
                  <a:pt x="250" y="300"/>
                </a:lnTo>
                <a:lnTo>
                  <a:pt x="250" y="328"/>
                </a:lnTo>
                <a:lnTo>
                  <a:pt x="238" y="328"/>
                </a:lnTo>
                <a:lnTo>
                  <a:pt x="238" y="248"/>
                </a:lnTo>
                <a:lnTo>
                  <a:pt x="238" y="248"/>
                </a:lnTo>
                <a:close/>
                <a:moveTo>
                  <a:pt x="250" y="276"/>
                </a:moveTo>
                <a:lnTo>
                  <a:pt x="250" y="276"/>
                </a:lnTo>
                <a:lnTo>
                  <a:pt x="250" y="284"/>
                </a:lnTo>
                <a:lnTo>
                  <a:pt x="254" y="290"/>
                </a:lnTo>
                <a:lnTo>
                  <a:pt x="254" y="290"/>
                </a:lnTo>
                <a:lnTo>
                  <a:pt x="256" y="294"/>
                </a:lnTo>
                <a:lnTo>
                  <a:pt x="260" y="296"/>
                </a:lnTo>
                <a:lnTo>
                  <a:pt x="260" y="296"/>
                </a:lnTo>
                <a:lnTo>
                  <a:pt x="264" y="294"/>
                </a:lnTo>
                <a:lnTo>
                  <a:pt x="268" y="292"/>
                </a:lnTo>
                <a:lnTo>
                  <a:pt x="268" y="292"/>
                </a:lnTo>
                <a:lnTo>
                  <a:pt x="270" y="286"/>
                </a:lnTo>
                <a:lnTo>
                  <a:pt x="272" y="278"/>
                </a:lnTo>
                <a:lnTo>
                  <a:pt x="272" y="278"/>
                </a:lnTo>
                <a:lnTo>
                  <a:pt x="270" y="270"/>
                </a:lnTo>
                <a:lnTo>
                  <a:pt x="268" y="264"/>
                </a:lnTo>
                <a:lnTo>
                  <a:pt x="268" y="264"/>
                </a:lnTo>
                <a:lnTo>
                  <a:pt x="264" y="260"/>
                </a:lnTo>
                <a:lnTo>
                  <a:pt x="260" y="260"/>
                </a:lnTo>
                <a:lnTo>
                  <a:pt x="260" y="260"/>
                </a:lnTo>
                <a:lnTo>
                  <a:pt x="256" y="260"/>
                </a:lnTo>
                <a:lnTo>
                  <a:pt x="254" y="264"/>
                </a:lnTo>
                <a:lnTo>
                  <a:pt x="254" y="264"/>
                </a:lnTo>
                <a:lnTo>
                  <a:pt x="250" y="268"/>
                </a:lnTo>
                <a:lnTo>
                  <a:pt x="250" y="276"/>
                </a:lnTo>
                <a:lnTo>
                  <a:pt x="250" y="276"/>
                </a:lnTo>
                <a:close/>
                <a:moveTo>
                  <a:pt x="290" y="248"/>
                </a:moveTo>
                <a:lnTo>
                  <a:pt x="302" y="248"/>
                </a:lnTo>
                <a:lnTo>
                  <a:pt x="302" y="256"/>
                </a:lnTo>
                <a:lnTo>
                  <a:pt x="302" y="256"/>
                </a:lnTo>
                <a:lnTo>
                  <a:pt x="304" y="252"/>
                </a:lnTo>
                <a:lnTo>
                  <a:pt x="308" y="250"/>
                </a:lnTo>
                <a:lnTo>
                  <a:pt x="308" y="250"/>
                </a:lnTo>
                <a:lnTo>
                  <a:pt x="312" y="248"/>
                </a:lnTo>
                <a:lnTo>
                  <a:pt x="316" y="248"/>
                </a:lnTo>
                <a:lnTo>
                  <a:pt x="316" y="248"/>
                </a:lnTo>
                <a:lnTo>
                  <a:pt x="324" y="248"/>
                </a:lnTo>
                <a:lnTo>
                  <a:pt x="330" y="254"/>
                </a:lnTo>
                <a:lnTo>
                  <a:pt x="330" y="254"/>
                </a:lnTo>
                <a:lnTo>
                  <a:pt x="336" y="264"/>
                </a:lnTo>
                <a:lnTo>
                  <a:pt x="336" y="276"/>
                </a:lnTo>
                <a:lnTo>
                  <a:pt x="336" y="276"/>
                </a:lnTo>
                <a:lnTo>
                  <a:pt x="336" y="290"/>
                </a:lnTo>
                <a:lnTo>
                  <a:pt x="330" y="300"/>
                </a:lnTo>
                <a:lnTo>
                  <a:pt x="330" y="300"/>
                </a:lnTo>
                <a:lnTo>
                  <a:pt x="324" y="306"/>
                </a:lnTo>
                <a:lnTo>
                  <a:pt x="316" y="308"/>
                </a:lnTo>
                <a:lnTo>
                  <a:pt x="316" y="308"/>
                </a:lnTo>
                <a:lnTo>
                  <a:pt x="310" y="306"/>
                </a:lnTo>
                <a:lnTo>
                  <a:pt x="310" y="306"/>
                </a:lnTo>
                <a:lnTo>
                  <a:pt x="302" y="300"/>
                </a:lnTo>
                <a:lnTo>
                  <a:pt x="302" y="328"/>
                </a:lnTo>
                <a:lnTo>
                  <a:pt x="290" y="328"/>
                </a:lnTo>
                <a:lnTo>
                  <a:pt x="290" y="248"/>
                </a:lnTo>
                <a:lnTo>
                  <a:pt x="290" y="248"/>
                </a:lnTo>
                <a:close/>
                <a:moveTo>
                  <a:pt x="302" y="276"/>
                </a:moveTo>
                <a:lnTo>
                  <a:pt x="302" y="276"/>
                </a:lnTo>
                <a:lnTo>
                  <a:pt x="304" y="284"/>
                </a:lnTo>
                <a:lnTo>
                  <a:pt x="306" y="290"/>
                </a:lnTo>
                <a:lnTo>
                  <a:pt x="306" y="290"/>
                </a:lnTo>
                <a:lnTo>
                  <a:pt x="310" y="294"/>
                </a:lnTo>
                <a:lnTo>
                  <a:pt x="314" y="296"/>
                </a:lnTo>
                <a:lnTo>
                  <a:pt x="314" y="296"/>
                </a:lnTo>
                <a:lnTo>
                  <a:pt x="318" y="294"/>
                </a:lnTo>
                <a:lnTo>
                  <a:pt x="320" y="292"/>
                </a:lnTo>
                <a:lnTo>
                  <a:pt x="320" y="292"/>
                </a:lnTo>
                <a:lnTo>
                  <a:pt x="324" y="286"/>
                </a:lnTo>
                <a:lnTo>
                  <a:pt x="324" y="278"/>
                </a:lnTo>
                <a:lnTo>
                  <a:pt x="324" y="278"/>
                </a:lnTo>
                <a:lnTo>
                  <a:pt x="324" y="270"/>
                </a:lnTo>
                <a:lnTo>
                  <a:pt x="320" y="264"/>
                </a:lnTo>
                <a:lnTo>
                  <a:pt x="320" y="264"/>
                </a:lnTo>
                <a:lnTo>
                  <a:pt x="318" y="260"/>
                </a:lnTo>
                <a:lnTo>
                  <a:pt x="314" y="260"/>
                </a:lnTo>
                <a:lnTo>
                  <a:pt x="314" y="260"/>
                </a:lnTo>
                <a:lnTo>
                  <a:pt x="310" y="260"/>
                </a:lnTo>
                <a:lnTo>
                  <a:pt x="306" y="264"/>
                </a:lnTo>
                <a:lnTo>
                  <a:pt x="306" y="264"/>
                </a:lnTo>
                <a:lnTo>
                  <a:pt x="304" y="268"/>
                </a:lnTo>
                <a:lnTo>
                  <a:pt x="302" y="276"/>
                </a:lnTo>
                <a:lnTo>
                  <a:pt x="302" y="276"/>
                </a:lnTo>
                <a:close/>
                <a:moveTo>
                  <a:pt x="338" y="290"/>
                </a:moveTo>
                <a:lnTo>
                  <a:pt x="352" y="288"/>
                </a:lnTo>
                <a:lnTo>
                  <a:pt x="352" y="288"/>
                </a:lnTo>
                <a:lnTo>
                  <a:pt x="352" y="292"/>
                </a:lnTo>
                <a:lnTo>
                  <a:pt x="354" y="294"/>
                </a:lnTo>
                <a:lnTo>
                  <a:pt x="358" y="296"/>
                </a:lnTo>
                <a:lnTo>
                  <a:pt x="362" y="296"/>
                </a:lnTo>
                <a:lnTo>
                  <a:pt x="362" y="296"/>
                </a:lnTo>
                <a:lnTo>
                  <a:pt x="368" y="294"/>
                </a:lnTo>
                <a:lnTo>
                  <a:pt x="368" y="294"/>
                </a:lnTo>
                <a:lnTo>
                  <a:pt x="370" y="292"/>
                </a:lnTo>
                <a:lnTo>
                  <a:pt x="370" y="290"/>
                </a:lnTo>
                <a:lnTo>
                  <a:pt x="370" y="290"/>
                </a:lnTo>
                <a:lnTo>
                  <a:pt x="370" y="288"/>
                </a:lnTo>
                <a:lnTo>
                  <a:pt x="370" y="288"/>
                </a:lnTo>
                <a:lnTo>
                  <a:pt x="366" y="286"/>
                </a:lnTo>
                <a:lnTo>
                  <a:pt x="366" y="286"/>
                </a:lnTo>
                <a:lnTo>
                  <a:pt x="352" y="282"/>
                </a:lnTo>
                <a:lnTo>
                  <a:pt x="346" y="278"/>
                </a:lnTo>
                <a:lnTo>
                  <a:pt x="346" y="278"/>
                </a:lnTo>
                <a:lnTo>
                  <a:pt x="342" y="272"/>
                </a:lnTo>
                <a:lnTo>
                  <a:pt x="340" y="264"/>
                </a:lnTo>
                <a:lnTo>
                  <a:pt x="340" y="264"/>
                </a:lnTo>
                <a:lnTo>
                  <a:pt x="342" y="258"/>
                </a:lnTo>
                <a:lnTo>
                  <a:pt x="346" y="252"/>
                </a:lnTo>
                <a:lnTo>
                  <a:pt x="346" y="252"/>
                </a:lnTo>
                <a:lnTo>
                  <a:pt x="352" y="248"/>
                </a:lnTo>
                <a:lnTo>
                  <a:pt x="360" y="248"/>
                </a:lnTo>
                <a:lnTo>
                  <a:pt x="360" y="248"/>
                </a:lnTo>
                <a:lnTo>
                  <a:pt x="368" y="248"/>
                </a:lnTo>
                <a:lnTo>
                  <a:pt x="374" y="250"/>
                </a:lnTo>
                <a:lnTo>
                  <a:pt x="374" y="250"/>
                </a:lnTo>
                <a:lnTo>
                  <a:pt x="380" y="256"/>
                </a:lnTo>
                <a:lnTo>
                  <a:pt x="382" y="262"/>
                </a:lnTo>
                <a:lnTo>
                  <a:pt x="370" y="266"/>
                </a:lnTo>
                <a:lnTo>
                  <a:pt x="370" y="266"/>
                </a:lnTo>
                <a:lnTo>
                  <a:pt x="366" y="260"/>
                </a:lnTo>
                <a:lnTo>
                  <a:pt x="360" y="258"/>
                </a:lnTo>
                <a:lnTo>
                  <a:pt x="360" y="258"/>
                </a:lnTo>
                <a:lnTo>
                  <a:pt x="354" y="260"/>
                </a:lnTo>
                <a:lnTo>
                  <a:pt x="354" y="260"/>
                </a:lnTo>
                <a:lnTo>
                  <a:pt x="352" y="262"/>
                </a:lnTo>
                <a:lnTo>
                  <a:pt x="352" y="262"/>
                </a:lnTo>
                <a:lnTo>
                  <a:pt x="354" y="266"/>
                </a:lnTo>
                <a:lnTo>
                  <a:pt x="354" y="266"/>
                </a:lnTo>
                <a:lnTo>
                  <a:pt x="366" y="270"/>
                </a:lnTo>
                <a:lnTo>
                  <a:pt x="366" y="270"/>
                </a:lnTo>
                <a:lnTo>
                  <a:pt x="374" y="274"/>
                </a:lnTo>
                <a:lnTo>
                  <a:pt x="380" y="278"/>
                </a:lnTo>
                <a:lnTo>
                  <a:pt x="380" y="278"/>
                </a:lnTo>
                <a:lnTo>
                  <a:pt x="382" y="282"/>
                </a:lnTo>
                <a:lnTo>
                  <a:pt x="384" y="288"/>
                </a:lnTo>
                <a:lnTo>
                  <a:pt x="384" y="288"/>
                </a:lnTo>
                <a:lnTo>
                  <a:pt x="382" y="296"/>
                </a:lnTo>
                <a:lnTo>
                  <a:pt x="378" y="302"/>
                </a:lnTo>
                <a:lnTo>
                  <a:pt x="378" y="302"/>
                </a:lnTo>
                <a:lnTo>
                  <a:pt x="370" y="306"/>
                </a:lnTo>
                <a:lnTo>
                  <a:pt x="362" y="308"/>
                </a:lnTo>
                <a:lnTo>
                  <a:pt x="362" y="308"/>
                </a:lnTo>
                <a:lnTo>
                  <a:pt x="354" y="306"/>
                </a:lnTo>
                <a:lnTo>
                  <a:pt x="346" y="304"/>
                </a:lnTo>
                <a:lnTo>
                  <a:pt x="346" y="304"/>
                </a:lnTo>
                <a:lnTo>
                  <a:pt x="342" y="298"/>
                </a:lnTo>
                <a:lnTo>
                  <a:pt x="338" y="290"/>
                </a:lnTo>
                <a:lnTo>
                  <a:pt x="338" y="290"/>
                </a:lnTo>
                <a:close/>
              </a:path>
            </a:pathLst>
          </a:custGeom>
          <a:solidFill>
            <a:srgbClr val="1597FC"/>
          </a:solidFill>
          <a:ln w="9525">
            <a:noFill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endParaRPr lang="en-US" altLang="zh-CN" sz="17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8" name="Shape 58">
            <a:extLst>
              <a:ext uri="{FF2B5EF4-FFF2-40B4-BE49-F238E27FC236}">
                <a16:creationId xmlns="" xmlns:a16="http://schemas.microsoft.com/office/drawing/2014/main" id="{37F0C655-D447-4A3E-AEC7-431B1A873260}"/>
              </a:ext>
            </a:extLst>
          </p:cNvPr>
          <p:cNvSpPr/>
          <p:nvPr/>
        </p:nvSpPr>
        <p:spPr>
          <a:xfrm>
            <a:off x="9888074" y="4651891"/>
            <a:ext cx="1884825" cy="958688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square" lIns="47988" tIns="47988" rIns="47988" bIns="47988">
            <a:noAutofit/>
          </a:bodyPr>
          <a:lstStyle/>
          <a:p>
            <a:pPr algn="ctr" defTabSz="580249" eaLnBrk="0" fontAlgn="ctr" hangingPunct="0">
              <a:buClr>
                <a:srgbClr val="1F497D"/>
              </a:buClr>
              <a:buSzPct val="100000"/>
              <a:defRPr/>
            </a:pP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Sufficient investments</a:t>
            </a:r>
            <a:r>
              <a:rPr kumimoji="1"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  <a:sym typeface="Calibri"/>
              </a:rPr>
              <a:t>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with reasonable ROI</a:t>
            </a:r>
            <a:endParaRPr kumimoji="1" lang="en-US" altLang="zh-CN" sz="1400" dirty="0">
              <a:solidFill>
                <a:prstClr val="white"/>
              </a:solidFill>
              <a:latin typeface="Arial" panose="020B0604020202020204" pitchFamily="34" charset="0"/>
              <a:cs typeface="Arial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74403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107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A7B0C83-CB29-44D4-B623-E72F27C31C09}"/>
              </a:ext>
            </a:extLst>
          </p:cNvPr>
          <p:cNvSpPr txBox="1"/>
          <p:nvPr/>
        </p:nvSpPr>
        <p:spPr>
          <a:xfrm>
            <a:off x="541281" y="365692"/>
            <a:ext cx="11223455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Enabling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“One-Window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" Government Services Through Cloud Transformation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7" descr="E:\01 日常工作\04 展厅相关设计\2017年\HC Keynote\2017 HC 阎总胶片\线上副本.jpg">
            <a:extLst>
              <a:ext uri="{FF2B5EF4-FFF2-40B4-BE49-F238E27FC236}">
                <a16:creationId xmlns="" xmlns:a16="http://schemas.microsoft.com/office/drawing/2014/main" id="{6CDEC174-42B5-46F4-A814-159B02FFA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96763"/>
            <a:ext cx="12191999" cy="2819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6">
            <a:extLst>
              <a:ext uri="{FF2B5EF4-FFF2-40B4-BE49-F238E27FC236}">
                <a16:creationId xmlns="" xmlns:a16="http://schemas.microsoft.com/office/drawing/2014/main" id="{959FBFD7-CA9D-43A1-822D-A7D8C1204CFB}"/>
              </a:ext>
            </a:extLst>
          </p:cNvPr>
          <p:cNvSpPr/>
          <p:nvPr/>
        </p:nvSpPr>
        <p:spPr>
          <a:xfrm>
            <a:off x="2641395" y="4816011"/>
            <a:ext cx="1295312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219078" fontAlgn="ctr">
              <a:lnSpc>
                <a:spcPts val="2398"/>
              </a:lnSpc>
              <a:buClr>
                <a:srgbClr val="FFC000"/>
              </a:buClr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Cross-agency data sharing</a:t>
            </a:r>
            <a:endParaRPr lang="en-US" altLang="zh-CN" sz="14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F74D50E9-3B21-4F9E-991C-F209D69B4548}"/>
              </a:ext>
            </a:extLst>
          </p:cNvPr>
          <p:cNvSpPr/>
          <p:nvPr/>
        </p:nvSpPr>
        <p:spPr>
          <a:xfrm>
            <a:off x="6278400" y="4662123"/>
            <a:ext cx="859818" cy="92333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219078" fontAlgn="ctr">
              <a:lnSpc>
                <a:spcPts val="2398"/>
              </a:lnSpc>
              <a:buClr>
                <a:srgbClr val="FFC000"/>
              </a:buClr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pproval process</a:t>
            </a:r>
            <a:endParaRPr lang="en-US" altLang="zh-CN" sz="14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032BA04E-31D0-4EA2-A047-455733673500}"/>
              </a:ext>
            </a:extLst>
          </p:cNvPr>
          <p:cNvSpPr/>
          <p:nvPr/>
        </p:nvSpPr>
        <p:spPr>
          <a:xfrm>
            <a:off x="9934824" y="4816011"/>
            <a:ext cx="1097719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 defTabSz="1219078" fontAlgn="ctr">
              <a:lnSpc>
                <a:spcPts val="2398"/>
              </a:lnSpc>
              <a:buClr>
                <a:srgbClr val="FFC000"/>
              </a:buClr>
            </a:pPr>
            <a:r>
              <a:rPr lang="en-US" sz="14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verage waiting time</a:t>
            </a:r>
            <a:endParaRPr lang="en-US" altLang="zh-CN" sz="1400" b="1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EE39654B-668B-4B5E-A9BE-5989975803FC}"/>
              </a:ext>
            </a:extLst>
          </p:cNvPr>
          <p:cNvSpPr/>
          <p:nvPr/>
        </p:nvSpPr>
        <p:spPr>
          <a:xfrm>
            <a:off x="0" y="3534858"/>
            <a:ext cx="6124886" cy="481711"/>
          </a:xfrm>
          <a:prstGeom prst="rect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="" xmlns:a16="http://schemas.microsoft.com/office/drawing/2014/main" id="{77C422DC-948A-459B-B154-1873D764334C}"/>
              </a:ext>
            </a:extLst>
          </p:cNvPr>
          <p:cNvSpPr/>
          <p:nvPr/>
        </p:nvSpPr>
        <p:spPr>
          <a:xfrm rot="10800000">
            <a:off x="6115228" y="3534858"/>
            <a:ext cx="6124886" cy="481711"/>
          </a:xfrm>
          <a:prstGeom prst="rect">
            <a:avLst/>
          </a:prstGeom>
          <a:gradFill>
            <a:gsLst>
              <a:gs pos="6700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="" xmlns:a16="http://schemas.microsoft.com/office/drawing/2014/main" id="{E995B18A-8F84-4D70-8A36-3F0CED7D4FFB}"/>
              </a:ext>
            </a:extLst>
          </p:cNvPr>
          <p:cNvSpPr>
            <a:spLocks/>
          </p:cNvSpPr>
          <p:nvPr/>
        </p:nvSpPr>
        <p:spPr bwMode="auto">
          <a:xfrm>
            <a:off x="1178977" y="3652668"/>
            <a:ext cx="1893146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>
            <a:lvl1pPr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fontAlgn="ctr">
              <a:lnSpc>
                <a:spcPct val="80000"/>
              </a:lnSpc>
              <a:spcBef>
                <a:spcPts val="476"/>
              </a:spcBef>
            </a:pP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nline services</a:t>
            </a:r>
            <a:endParaRPr lang="en-US" sz="1999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19" name="Rectangle 7">
            <a:extLst>
              <a:ext uri="{FF2B5EF4-FFF2-40B4-BE49-F238E27FC236}">
                <a16:creationId xmlns="" xmlns:a16="http://schemas.microsoft.com/office/drawing/2014/main" id="{EA51A91C-E1CB-4106-B65A-00944A8860E3}"/>
              </a:ext>
            </a:extLst>
          </p:cNvPr>
          <p:cNvSpPr>
            <a:spLocks/>
          </p:cNvSpPr>
          <p:nvPr/>
        </p:nvSpPr>
        <p:spPr bwMode="auto">
          <a:xfrm>
            <a:off x="8086588" y="3652668"/>
            <a:ext cx="4028347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>
            <a:lvl1pPr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fontAlgn="ctr">
              <a:lnSpc>
                <a:spcPct val="80000"/>
              </a:lnSpc>
              <a:spcBef>
                <a:spcPts val="476"/>
              </a:spcBef>
            </a:pP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ffline 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“one-window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" handling</a:t>
            </a:r>
            <a:endParaRPr lang="en-US" sz="1999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grpSp>
        <p:nvGrpSpPr>
          <p:cNvPr id="96" name="组合 95">
            <a:extLst>
              <a:ext uri="{FF2B5EF4-FFF2-40B4-BE49-F238E27FC236}">
                <a16:creationId xmlns="" xmlns:a16="http://schemas.microsoft.com/office/drawing/2014/main" id="{B3D98F28-FCCC-43C0-ABCD-EB76537BE4A3}"/>
              </a:ext>
            </a:extLst>
          </p:cNvPr>
          <p:cNvGrpSpPr/>
          <p:nvPr/>
        </p:nvGrpSpPr>
        <p:grpSpPr>
          <a:xfrm>
            <a:off x="854912" y="4274887"/>
            <a:ext cx="1699985" cy="1697800"/>
            <a:chOff x="2353172" y="4067746"/>
            <a:chExt cx="1700428" cy="1698242"/>
          </a:xfrm>
        </p:grpSpPr>
        <p:grpSp>
          <p:nvGrpSpPr>
            <p:cNvPr id="48" name="组合 91">
              <a:extLst>
                <a:ext uri="{FF2B5EF4-FFF2-40B4-BE49-F238E27FC236}">
                  <a16:creationId xmlns="" xmlns:a16="http://schemas.microsoft.com/office/drawing/2014/main" id="{0A31FA0B-1971-45D4-81DC-222A8FC76147}"/>
                </a:ext>
              </a:extLst>
            </p:cNvPr>
            <p:cNvGrpSpPr/>
            <p:nvPr/>
          </p:nvGrpSpPr>
          <p:grpSpPr>
            <a:xfrm>
              <a:off x="2353172" y="4067746"/>
              <a:ext cx="1700428" cy="1698242"/>
              <a:chOff x="7489175" y="714361"/>
              <a:chExt cx="1051588" cy="1051587"/>
            </a:xfrm>
          </p:grpSpPr>
          <p:grpSp>
            <p:nvGrpSpPr>
              <p:cNvPr id="49" name="组合 180">
                <a:extLst>
                  <a:ext uri="{FF2B5EF4-FFF2-40B4-BE49-F238E27FC236}">
                    <a16:creationId xmlns="" xmlns:a16="http://schemas.microsoft.com/office/drawing/2014/main" id="{607004BB-3A93-48B7-9085-9CAFF8FEE269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51" name="组合 181">
                  <a:extLst>
                    <a:ext uri="{FF2B5EF4-FFF2-40B4-BE49-F238E27FC236}">
                      <a16:creationId xmlns="" xmlns:a16="http://schemas.microsoft.com/office/drawing/2014/main" id="{3FC1C1CA-465F-4205-B95C-502B08054BD0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59" name="Freeform 32">
                    <a:extLst>
                      <a:ext uri="{FF2B5EF4-FFF2-40B4-BE49-F238E27FC236}">
                        <a16:creationId xmlns="" xmlns:a16="http://schemas.microsoft.com/office/drawing/2014/main" id="{10B0005A-7E2C-4AE2-8589-088321F9D48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0" name="Freeform 37">
                    <a:extLst>
                      <a:ext uri="{FF2B5EF4-FFF2-40B4-BE49-F238E27FC236}">
                        <a16:creationId xmlns="" xmlns:a16="http://schemas.microsoft.com/office/drawing/2014/main" id="{C2283128-ABBB-4D14-B809-9501FB646E2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1" name="Freeform 42">
                    <a:extLst>
                      <a:ext uri="{FF2B5EF4-FFF2-40B4-BE49-F238E27FC236}">
                        <a16:creationId xmlns="" xmlns:a16="http://schemas.microsoft.com/office/drawing/2014/main" id="{E03DFC1A-E299-477E-BB4C-FA4F260243F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2" name="组合 182">
                  <a:extLst>
                    <a:ext uri="{FF2B5EF4-FFF2-40B4-BE49-F238E27FC236}">
                      <a16:creationId xmlns="" xmlns:a16="http://schemas.microsoft.com/office/drawing/2014/main" id="{D6D8531D-65D4-4D69-9816-D5513878009C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53" name="Freeform 49">
                    <a:extLst>
                      <a:ext uri="{FF2B5EF4-FFF2-40B4-BE49-F238E27FC236}">
                        <a16:creationId xmlns="" xmlns:a16="http://schemas.microsoft.com/office/drawing/2014/main" id="{0D08E3A6-17EC-449E-8D71-B94FA297D4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9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" name="Freeform 50">
                    <a:extLst>
                      <a:ext uri="{FF2B5EF4-FFF2-40B4-BE49-F238E27FC236}">
                        <a16:creationId xmlns="" xmlns:a16="http://schemas.microsoft.com/office/drawing/2014/main" id="{5E0570E0-58C6-4066-B365-B4954DBA8F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" name="Freeform 51">
                    <a:extLst>
                      <a:ext uri="{FF2B5EF4-FFF2-40B4-BE49-F238E27FC236}">
                        <a16:creationId xmlns="" xmlns:a16="http://schemas.microsoft.com/office/drawing/2014/main" id="{5F51633D-81B9-44CB-80E8-6186E395F8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" name="Freeform 52">
                    <a:extLst>
                      <a:ext uri="{FF2B5EF4-FFF2-40B4-BE49-F238E27FC236}">
                        <a16:creationId xmlns="" xmlns:a16="http://schemas.microsoft.com/office/drawing/2014/main" id="{69EC9234-4499-4DED-A845-767ECA6CB6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" name="Freeform 53">
                    <a:extLst>
                      <a:ext uri="{FF2B5EF4-FFF2-40B4-BE49-F238E27FC236}">
                        <a16:creationId xmlns="" xmlns:a16="http://schemas.microsoft.com/office/drawing/2014/main" id="{13FB0551-B638-4089-929D-1790400B50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" name="Freeform 54">
                    <a:extLst>
                      <a:ext uri="{FF2B5EF4-FFF2-40B4-BE49-F238E27FC236}">
                        <a16:creationId xmlns="" xmlns:a16="http://schemas.microsoft.com/office/drawing/2014/main" id="{016C09D2-631E-47C0-8D5A-5BF780EAE3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50" name="椭圆 93">
                <a:extLst>
                  <a:ext uri="{FF2B5EF4-FFF2-40B4-BE49-F238E27FC236}">
                    <a16:creationId xmlns="" xmlns:a16="http://schemas.microsoft.com/office/drawing/2014/main" id="{CD7FB516-0D12-440B-88AE-D42E78F56956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91" name="矩形 90">
              <a:extLst>
                <a:ext uri="{FF2B5EF4-FFF2-40B4-BE49-F238E27FC236}">
                  <a16:creationId xmlns="" xmlns:a16="http://schemas.microsoft.com/office/drawing/2014/main" id="{3035A9FB-89D5-45FD-AD0B-DC0B6126B824}"/>
                </a:ext>
              </a:extLst>
            </p:cNvPr>
            <p:cNvSpPr/>
            <p:nvPr/>
          </p:nvSpPr>
          <p:spPr>
            <a:xfrm>
              <a:off x="2729873" y="4674953"/>
              <a:ext cx="981615" cy="46165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 defTabSz="1219078" fontAlgn="ctr"/>
              <a:r>
                <a:rPr lang="en-US" sz="23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70%+</a:t>
              </a:r>
              <a:endParaRPr lang="en-US" altLang="zh-CN" sz="23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7" name="组合 96">
            <a:extLst>
              <a:ext uri="{FF2B5EF4-FFF2-40B4-BE49-F238E27FC236}">
                <a16:creationId xmlns="" xmlns:a16="http://schemas.microsoft.com/office/drawing/2014/main" id="{1DD40C4D-4336-42AA-B214-B03F29A537CB}"/>
              </a:ext>
            </a:extLst>
          </p:cNvPr>
          <p:cNvGrpSpPr/>
          <p:nvPr/>
        </p:nvGrpSpPr>
        <p:grpSpPr>
          <a:xfrm>
            <a:off x="4497184" y="4274887"/>
            <a:ext cx="1699985" cy="1697800"/>
            <a:chOff x="5247374" y="4067746"/>
            <a:chExt cx="1700428" cy="1698242"/>
          </a:xfrm>
        </p:grpSpPr>
        <p:grpSp>
          <p:nvGrpSpPr>
            <p:cNvPr id="62" name="组合 91">
              <a:extLst>
                <a:ext uri="{FF2B5EF4-FFF2-40B4-BE49-F238E27FC236}">
                  <a16:creationId xmlns="" xmlns:a16="http://schemas.microsoft.com/office/drawing/2014/main" id="{EC8499F8-2001-4AF9-8044-D1DA4A8311A7}"/>
                </a:ext>
              </a:extLst>
            </p:cNvPr>
            <p:cNvGrpSpPr/>
            <p:nvPr/>
          </p:nvGrpSpPr>
          <p:grpSpPr>
            <a:xfrm>
              <a:off x="5247374" y="4067746"/>
              <a:ext cx="1700428" cy="1698242"/>
              <a:chOff x="7489175" y="714361"/>
              <a:chExt cx="1051588" cy="1051587"/>
            </a:xfrm>
          </p:grpSpPr>
          <p:grpSp>
            <p:nvGrpSpPr>
              <p:cNvPr id="63" name="组合 180">
                <a:extLst>
                  <a:ext uri="{FF2B5EF4-FFF2-40B4-BE49-F238E27FC236}">
                    <a16:creationId xmlns="" xmlns:a16="http://schemas.microsoft.com/office/drawing/2014/main" id="{66A2A47B-BF14-4335-9D79-EB4F831B2993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65" name="组合 181">
                  <a:extLst>
                    <a:ext uri="{FF2B5EF4-FFF2-40B4-BE49-F238E27FC236}">
                      <a16:creationId xmlns="" xmlns:a16="http://schemas.microsoft.com/office/drawing/2014/main" id="{6474BEED-2541-4493-8FD4-F7297716A640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73" name="Freeform 32">
                    <a:extLst>
                      <a:ext uri="{FF2B5EF4-FFF2-40B4-BE49-F238E27FC236}">
                        <a16:creationId xmlns="" xmlns:a16="http://schemas.microsoft.com/office/drawing/2014/main" id="{223A4C3F-7352-4376-A3E9-ECE53B013FF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4" name="Freeform 37">
                    <a:extLst>
                      <a:ext uri="{FF2B5EF4-FFF2-40B4-BE49-F238E27FC236}">
                        <a16:creationId xmlns="" xmlns:a16="http://schemas.microsoft.com/office/drawing/2014/main" id="{4B9B8C29-C97E-4003-BDBE-C04D4374DFF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5" name="Freeform 42">
                    <a:extLst>
                      <a:ext uri="{FF2B5EF4-FFF2-40B4-BE49-F238E27FC236}">
                        <a16:creationId xmlns="" xmlns:a16="http://schemas.microsoft.com/office/drawing/2014/main" id="{EB7FB64F-A7A6-4557-AEA7-8A57628BD69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66" name="组合 182">
                  <a:extLst>
                    <a:ext uri="{FF2B5EF4-FFF2-40B4-BE49-F238E27FC236}">
                      <a16:creationId xmlns="" xmlns:a16="http://schemas.microsoft.com/office/drawing/2014/main" id="{B28AA0E7-24D5-4AA4-88FB-456A88FAF24C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67" name="Freeform 49">
                    <a:extLst>
                      <a:ext uri="{FF2B5EF4-FFF2-40B4-BE49-F238E27FC236}">
                        <a16:creationId xmlns="" xmlns:a16="http://schemas.microsoft.com/office/drawing/2014/main" id="{1F486F55-49B5-412A-9B6D-8CABCC58D50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9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8" name="Freeform 50">
                    <a:extLst>
                      <a:ext uri="{FF2B5EF4-FFF2-40B4-BE49-F238E27FC236}">
                        <a16:creationId xmlns="" xmlns:a16="http://schemas.microsoft.com/office/drawing/2014/main" id="{A4F88E15-EFF7-468B-84F2-32053FA996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9" name="Freeform 51">
                    <a:extLst>
                      <a:ext uri="{FF2B5EF4-FFF2-40B4-BE49-F238E27FC236}">
                        <a16:creationId xmlns="" xmlns:a16="http://schemas.microsoft.com/office/drawing/2014/main" id="{82A05E5D-F1D6-439F-BF7E-1312AB997AE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0" name="Freeform 52">
                    <a:extLst>
                      <a:ext uri="{FF2B5EF4-FFF2-40B4-BE49-F238E27FC236}">
                        <a16:creationId xmlns="" xmlns:a16="http://schemas.microsoft.com/office/drawing/2014/main" id="{F36F247D-DFB3-4578-B41A-38C0E920C8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1" name="Freeform 53">
                    <a:extLst>
                      <a:ext uri="{FF2B5EF4-FFF2-40B4-BE49-F238E27FC236}">
                        <a16:creationId xmlns="" xmlns:a16="http://schemas.microsoft.com/office/drawing/2014/main" id="{45E39921-92FD-4A6A-9367-2455FCFF5E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2" name="Freeform 54">
                    <a:extLst>
                      <a:ext uri="{FF2B5EF4-FFF2-40B4-BE49-F238E27FC236}">
                        <a16:creationId xmlns="" xmlns:a16="http://schemas.microsoft.com/office/drawing/2014/main" id="{D0FADB7F-29B3-4C31-93AF-4771B22171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64" name="椭圆 93">
                <a:extLst>
                  <a:ext uri="{FF2B5EF4-FFF2-40B4-BE49-F238E27FC236}">
                    <a16:creationId xmlns="" xmlns:a16="http://schemas.microsoft.com/office/drawing/2014/main" id="{B96D65E3-F418-4595-B579-B11894CE2E78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92" name="矩形 91">
              <a:extLst>
                <a:ext uri="{FF2B5EF4-FFF2-40B4-BE49-F238E27FC236}">
                  <a16:creationId xmlns="" xmlns:a16="http://schemas.microsoft.com/office/drawing/2014/main" id="{135C1ABE-9043-46FC-BAAF-44E85AECBCC8}"/>
                </a:ext>
              </a:extLst>
            </p:cNvPr>
            <p:cNvSpPr/>
            <p:nvPr/>
          </p:nvSpPr>
          <p:spPr>
            <a:xfrm>
              <a:off x="5606781" y="4674953"/>
              <a:ext cx="981615" cy="46165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 defTabSz="1219078" fontAlgn="ctr"/>
              <a:r>
                <a:rPr lang="en-US" sz="23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33%+</a:t>
              </a:r>
              <a:endParaRPr lang="en-US" altLang="zh-CN" sz="23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8" name="组合 97">
            <a:extLst>
              <a:ext uri="{FF2B5EF4-FFF2-40B4-BE49-F238E27FC236}">
                <a16:creationId xmlns="" xmlns:a16="http://schemas.microsoft.com/office/drawing/2014/main" id="{029B3BC8-26F8-4F46-8C4E-6C7258BA1616}"/>
              </a:ext>
            </a:extLst>
          </p:cNvPr>
          <p:cNvGrpSpPr/>
          <p:nvPr/>
        </p:nvGrpSpPr>
        <p:grpSpPr>
          <a:xfrm>
            <a:off x="8139456" y="4274887"/>
            <a:ext cx="1699985" cy="1697800"/>
            <a:chOff x="8141575" y="4067746"/>
            <a:chExt cx="1700428" cy="1698242"/>
          </a:xfrm>
        </p:grpSpPr>
        <p:grpSp>
          <p:nvGrpSpPr>
            <p:cNvPr id="76" name="组合 91">
              <a:extLst>
                <a:ext uri="{FF2B5EF4-FFF2-40B4-BE49-F238E27FC236}">
                  <a16:creationId xmlns="" xmlns:a16="http://schemas.microsoft.com/office/drawing/2014/main" id="{D5A21C59-2E99-443B-95F3-13F43658C282}"/>
                </a:ext>
              </a:extLst>
            </p:cNvPr>
            <p:cNvGrpSpPr/>
            <p:nvPr/>
          </p:nvGrpSpPr>
          <p:grpSpPr>
            <a:xfrm>
              <a:off x="8141575" y="4067746"/>
              <a:ext cx="1700428" cy="1698242"/>
              <a:chOff x="7489175" y="714361"/>
              <a:chExt cx="1051588" cy="1051587"/>
            </a:xfrm>
          </p:grpSpPr>
          <p:grpSp>
            <p:nvGrpSpPr>
              <p:cNvPr id="77" name="组合 180">
                <a:extLst>
                  <a:ext uri="{FF2B5EF4-FFF2-40B4-BE49-F238E27FC236}">
                    <a16:creationId xmlns="" xmlns:a16="http://schemas.microsoft.com/office/drawing/2014/main" id="{E798A592-1B1E-4BAA-A855-00FA3AB768F0}"/>
                  </a:ext>
                </a:extLst>
              </p:cNvPr>
              <p:cNvGrpSpPr/>
              <p:nvPr/>
            </p:nvGrpSpPr>
            <p:grpSpPr>
              <a:xfrm>
                <a:off x="7489175" y="714361"/>
                <a:ext cx="1051588" cy="1051587"/>
                <a:chOff x="3168058" y="3253154"/>
                <a:chExt cx="1325196" cy="1325195"/>
              </a:xfrm>
            </p:grpSpPr>
            <p:grpSp>
              <p:nvGrpSpPr>
                <p:cNvPr id="79" name="组合 181">
                  <a:extLst>
                    <a:ext uri="{FF2B5EF4-FFF2-40B4-BE49-F238E27FC236}">
                      <a16:creationId xmlns="" xmlns:a16="http://schemas.microsoft.com/office/drawing/2014/main" id="{2220E414-01AD-439B-8119-238846D5B808}"/>
                    </a:ext>
                  </a:extLst>
                </p:cNvPr>
                <p:cNvGrpSpPr/>
                <p:nvPr/>
              </p:nvGrpSpPr>
              <p:grpSpPr>
                <a:xfrm>
                  <a:off x="3168058" y="3253154"/>
                  <a:ext cx="1325196" cy="1325195"/>
                  <a:chOff x="-15697197" y="-10797390"/>
                  <a:chExt cx="8229598" cy="8229595"/>
                </a:xfrm>
              </p:grpSpPr>
              <p:sp>
                <p:nvSpPr>
                  <p:cNvPr id="87" name="Freeform 32">
                    <a:extLst>
                      <a:ext uri="{FF2B5EF4-FFF2-40B4-BE49-F238E27FC236}">
                        <a16:creationId xmlns="" xmlns:a16="http://schemas.microsoft.com/office/drawing/2014/main" id="{86E42376-1808-4A83-A726-A96E12444F3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697197" y="-10797390"/>
                    <a:ext cx="8229598" cy="8229595"/>
                  </a:xfrm>
                  <a:custGeom>
                    <a:avLst/>
                    <a:gdLst/>
                    <a:ahLst/>
                    <a:cxnLst>
                      <a:cxn ang="0">
                        <a:pos x="2464" y="4990"/>
                      </a:cxn>
                      <a:cxn ang="0">
                        <a:pos x="2306" y="5168"/>
                      </a:cxn>
                      <a:cxn ang="0">
                        <a:pos x="2182" y="5152"/>
                      </a:cxn>
                      <a:cxn ang="0">
                        <a:pos x="3050" y="5144"/>
                      </a:cxn>
                      <a:cxn ang="0">
                        <a:pos x="3220" y="5108"/>
                      </a:cxn>
                      <a:cxn ang="0">
                        <a:pos x="3284" y="4892"/>
                      </a:cxn>
                      <a:cxn ang="0">
                        <a:pos x="3482" y="5028"/>
                      </a:cxn>
                      <a:cxn ang="0">
                        <a:pos x="1680" y="4814"/>
                      </a:cxn>
                      <a:cxn ang="0">
                        <a:pos x="1532" y="4746"/>
                      </a:cxn>
                      <a:cxn ang="0">
                        <a:pos x="1336" y="4862"/>
                      </a:cxn>
                      <a:cxn ang="0">
                        <a:pos x="3888" y="4838"/>
                      </a:cxn>
                      <a:cxn ang="0">
                        <a:pos x="4034" y="4746"/>
                      </a:cxn>
                      <a:cxn ang="0">
                        <a:pos x="4040" y="4506"/>
                      </a:cxn>
                      <a:cxn ang="0">
                        <a:pos x="4130" y="4434"/>
                      </a:cxn>
                      <a:cxn ang="0">
                        <a:pos x="852" y="4514"/>
                      </a:cxn>
                      <a:cxn ang="0">
                        <a:pos x="864" y="4258"/>
                      </a:cxn>
                      <a:cxn ang="0">
                        <a:pos x="626" y="4282"/>
                      </a:cxn>
                      <a:cxn ang="0">
                        <a:pos x="546" y="4186"/>
                      </a:cxn>
                      <a:cxn ang="0">
                        <a:pos x="4664" y="4150"/>
                      </a:cxn>
                      <a:cxn ang="0">
                        <a:pos x="4764" y="4006"/>
                      </a:cxn>
                      <a:cxn ang="0">
                        <a:pos x="4664" y="3804"/>
                      </a:cxn>
                      <a:cxn ang="0">
                        <a:pos x="4902" y="3770"/>
                      </a:cxn>
                      <a:cxn ang="0">
                        <a:pos x="410" y="3596"/>
                      </a:cxn>
                      <a:cxn ang="0">
                        <a:pos x="348" y="3448"/>
                      </a:cxn>
                      <a:cxn ang="0">
                        <a:pos x="128" y="3398"/>
                      </a:cxn>
                      <a:cxn ang="0">
                        <a:pos x="5072" y="3354"/>
                      </a:cxn>
                      <a:cxn ang="0">
                        <a:pos x="5116" y="3184"/>
                      </a:cxn>
                      <a:cxn ang="0">
                        <a:pos x="4958" y="3006"/>
                      </a:cxn>
                      <a:cxn ang="0">
                        <a:pos x="4974" y="2892"/>
                      </a:cxn>
                      <a:cxn ang="0">
                        <a:pos x="8" y="2814"/>
                      </a:cxn>
                      <a:cxn ang="0">
                        <a:pos x="192" y="2636"/>
                      </a:cxn>
                      <a:cxn ang="0">
                        <a:pos x="0" y="2516"/>
                      </a:cxn>
                      <a:cxn ang="0">
                        <a:pos x="200" y="2382"/>
                      </a:cxn>
                      <a:cxn ang="0">
                        <a:pos x="5170" y="2322"/>
                      </a:cxn>
                      <a:cxn ang="0">
                        <a:pos x="5148" y="2150"/>
                      </a:cxn>
                      <a:cxn ang="0">
                        <a:pos x="4936" y="2070"/>
                      </a:cxn>
                      <a:cxn ang="0">
                        <a:pos x="272" y="1974"/>
                      </a:cxn>
                      <a:cxn ang="0">
                        <a:pos x="318" y="1820"/>
                      </a:cxn>
                      <a:cxn ang="0">
                        <a:pos x="188" y="1618"/>
                      </a:cxn>
                      <a:cxn ang="0">
                        <a:pos x="238" y="1502"/>
                      </a:cxn>
                      <a:cxn ang="0">
                        <a:pos x="4754" y="1548"/>
                      </a:cxn>
                      <a:cxn ang="0">
                        <a:pos x="4846" y="1310"/>
                      </a:cxn>
                      <a:cxn ang="0">
                        <a:pos x="4608" y="1288"/>
                      </a:cxn>
                      <a:cxn ang="0">
                        <a:pos x="4542" y="1192"/>
                      </a:cxn>
                      <a:cxn ang="0">
                        <a:pos x="702" y="1112"/>
                      </a:cxn>
                      <a:cxn ang="0">
                        <a:pos x="806" y="988"/>
                      </a:cxn>
                      <a:cxn ang="0">
                        <a:pos x="748" y="770"/>
                      </a:cxn>
                      <a:cxn ang="0">
                        <a:pos x="984" y="808"/>
                      </a:cxn>
                      <a:cxn ang="0">
                        <a:pos x="4298" y="638"/>
                      </a:cxn>
                      <a:cxn ang="0">
                        <a:pos x="4162" y="528"/>
                      </a:cxn>
                      <a:cxn ang="0">
                        <a:pos x="3952" y="614"/>
                      </a:cxn>
                      <a:cxn ang="0">
                        <a:pos x="1316" y="558"/>
                      </a:cxn>
                      <a:cxn ang="0">
                        <a:pos x="1454" y="478"/>
                      </a:cxn>
                      <a:cxn ang="0">
                        <a:pos x="1496" y="242"/>
                      </a:cxn>
                      <a:cxn ang="0">
                        <a:pos x="1610" y="192"/>
                      </a:cxn>
                      <a:cxn ang="0">
                        <a:pos x="3464" y="354"/>
                      </a:cxn>
                      <a:cxn ang="0">
                        <a:pos x="3368" y="118"/>
                      </a:cxn>
                      <a:cxn ang="0">
                        <a:pos x="3178" y="264"/>
                      </a:cxn>
                      <a:cxn ang="0">
                        <a:pos x="3064" y="238"/>
                      </a:cxn>
                      <a:cxn ang="0">
                        <a:pos x="2216" y="220"/>
                      </a:cxn>
                      <a:cxn ang="0">
                        <a:pos x="2376" y="202"/>
                      </a:cxn>
                      <a:cxn ang="0">
                        <a:pos x="2482" y="2"/>
                      </a:cxn>
                    </a:cxnLst>
                    <a:rect l="0" t="0" r="r" b="b"/>
                    <a:pathLst>
                      <a:path w="5184" h="5184">
                        <a:moveTo>
                          <a:pt x="2604" y="5184"/>
                        </a:moveTo>
                        <a:lnTo>
                          <a:pt x="2602" y="4992"/>
                        </a:lnTo>
                        <a:lnTo>
                          <a:pt x="2602" y="4992"/>
                        </a:lnTo>
                        <a:lnTo>
                          <a:pt x="2626" y="4992"/>
                        </a:lnTo>
                        <a:lnTo>
                          <a:pt x="2628" y="5184"/>
                        </a:lnTo>
                        <a:lnTo>
                          <a:pt x="2628" y="5184"/>
                        </a:lnTo>
                        <a:lnTo>
                          <a:pt x="2604" y="5184"/>
                        </a:lnTo>
                        <a:lnTo>
                          <a:pt x="2604" y="5184"/>
                        </a:lnTo>
                        <a:close/>
                        <a:moveTo>
                          <a:pt x="2478" y="5182"/>
                        </a:moveTo>
                        <a:lnTo>
                          <a:pt x="2478" y="5182"/>
                        </a:lnTo>
                        <a:lnTo>
                          <a:pt x="2454" y="5180"/>
                        </a:lnTo>
                        <a:lnTo>
                          <a:pt x="2464" y="4990"/>
                        </a:lnTo>
                        <a:lnTo>
                          <a:pt x="2464" y="4990"/>
                        </a:lnTo>
                        <a:lnTo>
                          <a:pt x="2488" y="4990"/>
                        </a:lnTo>
                        <a:lnTo>
                          <a:pt x="2478" y="5182"/>
                        </a:lnTo>
                        <a:close/>
                        <a:moveTo>
                          <a:pt x="2752" y="5180"/>
                        </a:moveTo>
                        <a:lnTo>
                          <a:pt x="2740" y="4988"/>
                        </a:lnTo>
                        <a:lnTo>
                          <a:pt x="2740" y="4988"/>
                        </a:lnTo>
                        <a:lnTo>
                          <a:pt x="2764" y="4986"/>
                        </a:lnTo>
                        <a:lnTo>
                          <a:pt x="2778" y="5178"/>
                        </a:lnTo>
                        <a:lnTo>
                          <a:pt x="2778" y="5178"/>
                        </a:lnTo>
                        <a:lnTo>
                          <a:pt x="2752" y="5180"/>
                        </a:lnTo>
                        <a:lnTo>
                          <a:pt x="2752" y="5180"/>
                        </a:lnTo>
                        <a:close/>
                        <a:moveTo>
                          <a:pt x="2330" y="5172"/>
                        </a:moveTo>
                        <a:lnTo>
                          <a:pt x="2330" y="5172"/>
                        </a:lnTo>
                        <a:lnTo>
                          <a:pt x="2306" y="5168"/>
                        </a:lnTo>
                        <a:lnTo>
                          <a:pt x="2326" y="4978"/>
                        </a:lnTo>
                        <a:lnTo>
                          <a:pt x="2326" y="4978"/>
                        </a:lnTo>
                        <a:lnTo>
                          <a:pt x="2350" y="4980"/>
                        </a:lnTo>
                        <a:lnTo>
                          <a:pt x="2330" y="5172"/>
                        </a:lnTo>
                        <a:close/>
                        <a:moveTo>
                          <a:pt x="2902" y="5166"/>
                        </a:moveTo>
                        <a:lnTo>
                          <a:pt x="2878" y="4976"/>
                        </a:lnTo>
                        <a:lnTo>
                          <a:pt x="2878" y="4976"/>
                        </a:lnTo>
                        <a:lnTo>
                          <a:pt x="2902" y="4972"/>
                        </a:lnTo>
                        <a:lnTo>
                          <a:pt x="2926" y="5164"/>
                        </a:lnTo>
                        <a:lnTo>
                          <a:pt x="2926" y="5164"/>
                        </a:lnTo>
                        <a:lnTo>
                          <a:pt x="2902" y="5166"/>
                        </a:lnTo>
                        <a:lnTo>
                          <a:pt x="2902" y="5166"/>
                        </a:lnTo>
                        <a:close/>
                        <a:moveTo>
                          <a:pt x="2182" y="5152"/>
                        </a:moveTo>
                        <a:lnTo>
                          <a:pt x="2182" y="5152"/>
                        </a:lnTo>
                        <a:lnTo>
                          <a:pt x="2158" y="5148"/>
                        </a:lnTo>
                        <a:lnTo>
                          <a:pt x="2190" y="4958"/>
                        </a:lnTo>
                        <a:lnTo>
                          <a:pt x="2190" y="4958"/>
                        </a:lnTo>
                        <a:lnTo>
                          <a:pt x="2212" y="4962"/>
                        </a:lnTo>
                        <a:lnTo>
                          <a:pt x="2182" y="5152"/>
                        </a:lnTo>
                        <a:close/>
                        <a:moveTo>
                          <a:pt x="3050" y="5144"/>
                        </a:moveTo>
                        <a:lnTo>
                          <a:pt x="3016" y="4956"/>
                        </a:lnTo>
                        <a:lnTo>
                          <a:pt x="3016" y="4956"/>
                        </a:lnTo>
                        <a:lnTo>
                          <a:pt x="3038" y="4952"/>
                        </a:lnTo>
                        <a:lnTo>
                          <a:pt x="3074" y="5140"/>
                        </a:lnTo>
                        <a:lnTo>
                          <a:pt x="3074" y="5140"/>
                        </a:lnTo>
                        <a:lnTo>
                          <a:pt x="3050" y="5144"/>
                        </a:lnTo>
                        <a:lnTo>
                          <a:pt x="3050" y="5144"/>
                        </a:lnTo>
                        <a:close/>
                        <a:moveTo>
                          <a:pt x="2034" y="5124"/>
                        </a:moveTo>
                        <a:lnTo>
                          <a:pt x="2034" y="5124"/>
                        </a:lnTo>
                        <a:lnTo>
                          <a:pt x="2010" y="5120"/>
                        </a:lnTo>
                        <a:lnTo>
                          <a:pt x="2054" y="4932"/>
                        </a:lnTo>
                        <a:lnTo>
                          <a:pt x="2054" y="4932"/>
                        </a:lnTo>
                        <a:lnTo>
                          <a:pt x="2076" y="4938"/>
                        </a:lnTo>
                        <a:lnTo>
                          <a:pt x="2034" y="5124"/>
                        </a:lnTo>
                        <a:close/>
                        <a:moveTo>
                          <a:pt x="3196" y="5114"/>
                        </a:moveTo>
                        <a:lnTo>
                          <a:pt x="3152" y="4928"/>
                        </a:lnTo>
                        <a:lnTo>
                          <a:pt x="3152" y="4928"/>
                        </a:lnTo>
                        <a:lnTo>
                          <a:pt x="3174" y="4922"/>
                        </a:lnTo>
                        <a:lnTo>
                          <a:pt x="3220" y="5108"/>
                        </a:lnTo>
                        <a:lnTo>
                          <a:pt x="3220" y="5108"/>
                        </a:lnTo>
                        <a:lnTo>
                          <a:pt x="3196" y="5114"/>
                        </a:lnTo>
                        <a:lnTo>
                          <a:pt x="3196" y="5114"/>
                        </a:lnTo>
                        <a:close/>
                        <a:moveTo>
                          <a:pt x="1890" y="5088"/>
                        </a:moveTo>
                        <a:lnTo>
                          <a:pt x="1890" y="5088"/>
                        </a:lnTo>
                        <a:lnTo>
                          <a:pt x="1866" y="5082"/>
                        </a:lnTo>
                        <a:lnTo>
                          <a:pt x="1920" y="4898"/>
                        </a:lnTo>
                        <a:lnTo>
                          <a:pt x="1920" y="4898"/>
                        </a:lnTo>
                        <a:lnTo>
                          <a:pt x="1942" y="4904"/>
                        </a:lnTo>
                        <a:lnTo>
                          <a:pt x="1890" y="5088"/>
                        </a:lnTo>
                        <a:close/>
                        <a:moveTo>
                          <a:pt x="3340" y="5074"/>
                        </a:moveTo>
                        <a:lnTo>
                          <a:pt x="3284" y="4892"/>
                        </a:lnTo>
                        <a:lnTo>
                          <a:pt x="3284" y="4892"/>
                        </a:lnTo>
                        <a:lnTo>
                          <a:pt x="3306" y="4884"/>
                        </a:lnTo>
                        <a:lnTo>
                          <a:pt x="3364" y="5068"/>
                        </a:lnTo>
                        <a:lnTo>
                          <a:pt x="3364" y="5068"/>
                        </a:lnTo>
                        <a:lnTo>
                          <a:pt x="3340" y="5074"/>
                        </a:lnTo>
                        <a:lnTo>
                          <a:pt x="3340" y="5074"/>
                        </a:lnTo>
                        <a:close/>
                        <a:moveTo>
                          <a:pt x="1748" y="5044"/>
                        </a:moveTo>
                        <a:lnTo>
                          <a:pt x="1748" y="5044"/>
                        </a:lnTo>
                        <a:lnTo>
                          <a:pt x="1724" y="5036"/>
                        </a:lnTo>
                        <a:lnTo>
                          <a:pt x="1788" y="4854"/>
                        </a:lnTo>
                        <a:lnTo>
                          <a:pt x="1788" y="4854"/>
                        </a:lnTo>
                        <a:lnTo>
                          <a:pt x="1810" y="4862"/>
                        </a:lnTo>
                        <a:lnTo>
                          <a:pt x="1748" y="5044"/>
                        </a:lnTo>
                        <a:close/>
                        <a:moveTo>
                          <a:pt x="3482" y="5028"/>
                        </a:moveTo>
                        <a:lnTo>
                          <a:pt x="3416" y="4848"/>
                        </a:lnTo>
                        <a:lnTo>
                          <a:pt x="3416" y="4848"/>
                        </a:lnTo>
                        <a:lnTo>
                          <a:pt x="3438" y="4840"/>
                        </a:lnTo>
                        <a:lnTo>
                          <a:pt x="3506" y="5020"/>
                        </a:lnTo>
                        <a:lnTo>
                          <a:pt x="3506" y="5020"/>
                        </a:lnTo>
                        <a:lnTo>
                          <a:pt x="3482" y="5028"/>
                        </a:lnTo>
                        <a:lnTo>
                          <a:pt x="3482" y="5028"/>
                        </a:lnTo>
                        <a:close/>
                        <a:moveTo>
                          <a:pt x="1606" y="4990"/>
                        </a:moveTo>
                        <a:lnTo>
                          <a:pt x="1606" y="4990"/>
                        </a:lnTo>
                        <a:lnTo>
                          <a:pt x="1584" y="4982"/>
                        </a:lnTo>
                        <a:lnTo>
                          <a:pt x="1658" y="4804"/>
                        </a:lnTo>
                        <a:lnTo>
                          <a:pt x="1658" y="4804"/>
                        </a:lnTo>
                        <a:lnTo>
                          <a:pt x="1680" y="4814"/>
                        </a:lnTo>
                        <a:lnTo>
                          <a:pt x="1606" y="4990"/>
                        </a:lnTo>
                        <a:close/>
                        <a:moveTo>
                          <a:pt x="3620" y="4972"/>
                        </a:moveTo>
                        <a:lnTo>
                          <a:pt x="3544" y="4796"/>
                        </a:lnTo>
                        <a:lnTo>
                          <a:pt x="3544" y="4796"/>
                        </a:lnTo>
                        <a:lnTo>
                          <a:pt x="3566" y="4788"/>
                        </a:lnTo>
                        <a:lnTo>
                          <a:pt x="3644" y="4962"/>
                        </a:lnTo>
                        <a:lnTo>
                          <a:pt x="3644" y="4962"/>
                        </a:lnTo>
                        <a:lnTo>
                          <a:pt x="3620" y="4972"/>
                        </a:lnTo>
                        <a:lnTo>
                          <a:pt x="3620" y="4972"/>
                        </a:lnTo>
                        <a:close/>
                        <a:moveTo>
                          <a:pt x="1470" y="4930"/>
                        </a:moveTo>
                        <a:lnTo>
                          <a:pt x="1470" y="4930"/>
                        </a:lnTo>
                        <a:lnTo>
                          <a:pt x="1448" y="4918"/>
                        </a:lnTo>
                        <a:lnTo>
                          <a:pt x="1532" y="4746"/>
                        </a:lnTo>
                        <a:lnTo>
                          <a:pt x="1532" y="4746"/>
                        </a:lnTo>
                        <a:lnTo>
                          <a:pt x="1554" y="4756"/>
                        </a:lnTo>
                        <a:lnTo>
                          <a:pt x="1470" y="4930"/>
                        </a:lnTo>
                        <a:close/>
                        <a:moveTo>
                          <a:pt x="3756" y="4910"/>
                        </a:moveTo>
                        <a:lnTo>
                          <a:pt x="3670" y="4738"/>
                        </a:lnTo>
                        <a:lnTo>
                          <a:pt x="3670" y="4738"/>
                        </a:lnTo>
                        <a:lnTo>
                          <a:pt x="3690" y="4728"/>
                        </a:lnTo>
                        <a:lnTo>
                          <a:pt x="3778" y="4898"/>
                        </a:lnTo>
                        <a:lnTo>
                          <a:pt x="3778" y="4898"/>
                        </a:lnTo>
                        <a:lnTo>
                          <a:pt x="3756" y="4910"/>
                        </a:lnTo>
                        <a:lnTo>
                          <a:pt x="3756" y="4910"/>
                        </a:lnTo>
                        <a:close/>
                        <a:moveTo>
                          <a:pt x="1336" y="4862"/>
                        </a:moveTo>
                        <a:lnTo>
                          <a:pt x="1336" y="4862"/>
                        </a:lnTo>
                        <a:lnTo>
                          <a:pt x="1316" y="4848"/>
                        </a:lnTo>
                        <a:lnTo>
                          <a:pt x="1410" y="4682"/>
                        </a:lnTo>
                        <a:lnTo>
                          <a:pt x="1410" y="4682"/>
                        </a:lnTo>
                        <a:lnTo>
                          <a:pt x="1430" y="4694"/>
                        </a:lnTo>
                        <a:lnTo>
                          <a:pt x="1336" y="4862"/>
                        </a:lnTo>
                        <a:close/>
                        <a:moveTo>
                          <a:pt x="3888" y="4838"/>
                        </a:moveTo>
                        <a:lnTo>
                          <a:pt x="3792" y="4672"/>
                        </a:lnTo>
                        <a:lnTo>
                          <a:pt x="3792" y="4672"/>
                        </a:lnTo>
                        <a:lnTo>
                          <a:pt x="3810" y="4660"/>
                        </a:lnTo>
                        <a:lnTo>
                          <a:pt x="3908" y="4826"/>
                        </a:lnTo>
                        <a:lnTo>
                          <a:pt x="3908" y="4826"/>
                        </a:lnTo>
                        <a:lnTo>
                          <a:pt x="3888" y="4838"/>
                        </a:lnTo>
                        <a:lnTo>
                          <a:pt x="3888" y="4838"/>
                        </a:lnTo>
                        <a:close/>
                        <a:moveTo>
                          <a:pt x="1208" y="4784"/>
                        </a:moveTo>
                        <a:lnTo>
                          <a:pt x="1208" y="4784"/>
                        </a:lnTo>
                        <a:lnTo>
                          <a:pt x="1188" y="4772"/>
                        </a:lnTo>
                        <a:lnTo>
                          <a:pt x="1292" y="4610"/>
                        </a:lnTo>
                        <a:lnTo>
                          <a:pt x="1292" y="4610"/>
                        </a:lnTo>
                        <a:lnTo>
                          <a:pt x="1310" y="4622"/>
                        </a:lnTo>
                        <a:lnTo>
                          <a:pt x="1208" y="4784"/>
                        </a:lnTo>
                        <a:close/>
                        <a:moveTo>
                          <a:pt x="4014" y="4760"/>
                        </a:moveTo>
                        <a:lnTo>
                          <a:pt x="3908" y="4600"/>
                        </a:lnTo>
                        <a:lnTo>
                          <a:pt x="3908" y="4600"/>
                        </a:lnTo>
                        <a:lnTo>
                          <a:pt x="3928" y="4586"/>
                        </a:lnTo>
                        <a:lnTo>
                          <a:pt x="4034" y="4746"/>
                        </a:lnTo>
                        <a:lnTo>
                          <a:pt x="4034" y="4746"/>
                        </a:lnTo>
                        <a:lnTo>
                          <a:pt x="4014" y="4760"/>
                        </a:lnTo>
                        <a:lnTo>
                          <a:pt x="4014" y="4760"/>
                        </a:lnTo>
                        <a:close/>
                        <a:moveTo>
                          <a:pt x="1084" y="4702"/>
                        </a:moveTo>
                        <a:lnTo>
                          <a:pt x="1084" y="4702"/>
                        </a:lnTo>
                        <a:lnTo>
                          <a:pt x="1064" y="4686"/>
                        </a:lnTo>
                        <a:lnTo>
                          <a:pt x="1178" y="4532"/>
                        </a:lnTo>
                        <a:lnTo>
                          <a:pt x="1178" y="4532"/>
                        </a:lnTo>
                        <a:lnTo>
                          <a:pt x="1196" y="4546"/>
                        </a:lnTo>
                        <a:lnTo>
                          <a:pt x="1084" y="4702"/>
                        </a:lnTo>
                        <a:close/>
                        <a:moveTo>
                          <a:pt x="4136" y="4674"/>
                        </a:moveTo>
                        <a:lnTo>
                          <a:pt x="4022" y="4520"/>
                        </a:lnTo>
                        <a:lnTo>
                          <a:pt x="4022" y="4520"/>
                        </a:lnTo>
                        <a:lnTo>
                          <a:pt x="4040" y="4506"/>
                        </a:lnTo>
                        <a:lnTo>
                          <a:pt x="4156" y="4660"/>
                        </a:lnTo>
                        <a:lnTo>
                          <a:pt x="4156" y="4660"/>
                        </a:lnTo>
                        <a:lnTo>
                          <a:pt x="4136" y="4674"/>
                        </a:lnTo>
                        <a:lnTo>
                          <a:pt x="4136" y="4674"/>
                        </a:lnTo>
                        <a:close/>
                        <a:moveTo>
                          <a:pt x="966" y="4610"/>
                        </a:moveTo>
                        <a:lnTo>
                          <a:pt x="966" y="4610"/>
                        </a:lnTo>
                        <a:lnTo>
                          <a:pt x="946" y="4594"/>
                        </a:lnTo>
                        <a:lnTo>
                          <a:pt x="1068" y="4446"/>
                        </a:lnTo>
                        <a:lnTo>
                          <a:pt x="1068" y="4446"/>
                        </a:lnTo>
                        <a:lnTo>
                          <a:pt x="1086" y="4462"/>
                        </a:lnTo>
                        <a:lnTo>
                          <a:pt x="966" y="4610"/>
                        </a:lnTo>
                        <a:close/>
                        <a:moveTo>
                          <a:pt x="4254" y="4582"/>
                        </a:moveTo>
                        <a:lnTo>
                          <a:pt x="4130" y="4434"/>
                        </a:lnTo>
                        <a:lnTo>
                          <a:pt x="4130" y="4434"/>
                        </a:lnTo>
                        <a:lnTo>
                          <a:pt x="4148" y="4420"/>
                        </a:lnTo>
                        <a:lnTo>
                          <a:pt x="4272" y="4566"/>
                        </a:lnTo>
                        <a:lnTo>
                          <a:pt x="4272" y="4566"/>
                        </a:lnTo>
                        <a:lnTo>
                          <a:pt x="4254" y="4582"/>
                        </a:lnTo>
                        <a:lnTo>
                          <a:pt x="4254" y="4582"/>
                        </a:lnTo>
                        <a:close/>
                        <a:moveTo>
                          <a:pt x="852" y="4514"/>
                        </a:moveTo>
                        <a:lnTo>
                          <a:pt x="852" y="4514"/>
                        </a:lnTo>
                        <a:lnTo>
                          <a:pt x="834" y="4496"/>
                        </a:lnTo>
                        <a:lnTo>
                          <a:pt x="964" y="4356"/>
                        </a:lnTo>
                        <a:lnTo>
                          <a:pt x="964" y="4356"/>
                        </a:lnTo>
                        <a:lnTo>
                          <a:pt x="980" y="4372"/>
                        </a:lnTo>
                        <a:lnTo>
                          <a:pt x="852" y="4514"/>
                        </a:lnTo>
                        <a:close/>
                        <a:moveTo>
                          <a:pt x="4366" y="4482"/>
                        </a:moveTo>
                        <a:lnTo>
                          <a:pt x="4234" y="4342"/>
                        </a:lnTo>
                        <a:lnTo>
                          <a:pt x="4234" y="4342"/>
                        </a:lnTo>
                        <a:lnTo>
                          <a:pt x="4252" y="4328"/>
                        </a:lnTo>
                        <a:lnTo>
                          <a:pt x="4384" y="4466"/>
                        </a:lnTo>
                        <a:lnTo>
                          <a:pt x="4384" y="4466"/>
                        </a:lnTo>
                        <a:lnTo>
                          <a:pt x="4366" y="4482"/>
                        </a:lnTo>
                        <a:lnTo>
                          <a:pt x="4366" y="4482"/>
                        </a:lnTo>
                        <a:close/>
                        <a:moveTo>
                          <a:pt x="744" y="4410"/>
                        </a:moveTo>
                        <a:lnTo>
                          <a:pt x="744" y="4410"/>
                        </a:lnTo>
                        <a:lnTo>
                          <a:pt x="726" y="4392"/>
                        </a:lnTo>
                        <a:lnTo>
                          <a:pt x="864" y="4258"/>
                        </a:lnTo>
                        <a:lnTo>
                          <a:pt x="864" y="4258"/>
                        </a:lnTo>
                        <a:lnTo>
                          <a:pt x="880" y="4276"/>
                        </a:lnTo>
                        <a:lnTo>
                          <a:pt x="744" y="4410"/>
                        </a:lnTo>
                        <a:close/>
                        <a:moveTo>
                          <a:pt x="4472" y="4378"/>
                        </a:moveTo>
                        <a:lnTo>
                          <a:pt x="4332" y="4246"/>
                        </a:lnTo>
                        <a:lnTo>
                          <a:pt x="4332" y="4246"/>
                        </a:lnTo>
                        <a:lnTo>
                          <a:pt x="4348" y="4228"/>
                        </a:lnTo>
                        <a:lnTo>
                          <a:pt x="4488" y="4360"/>
                        </a:lnTo>
                        <a:lnTo>
                          <a:pt x="4488" y="4360"/>
                        </a:lnTo>
                        <a:lnTo>
                          <a:pt x="4472" y="4378"/>
                        </a:lnTo>
                        <a:lnTo>
                          <a:pt x="4472" y="4378"/>
                        </a:lnTo>
                        <a:close/>
                        <a:moveTo>
                          <a:pt x="642" y="4300"/>
                        </a:moveTo>
                        <a:lnTo>
                          <a:pt x="642" y="4300"/>
                        </a:lnTo>
                        <a:lnTo>
                          <a:pt x="626" y="4282"/>
                        </a:lnTo>
                        <a:lnTo>
                          <a:pt x="772" y="4156"/>
                        </a:lnTo>
                        <a:lnTo>
                          <a:pt x="772" y="4156"/>
                        </a:lnTo>
                        <a:lnTo>
                          <a:pt x="786" y="4174"/>
                        </a:lnTo>
                        <a:lnTo>
                          <a:pt x="642" y="4300"/>
                        </a:lnTo>
                        <a:close/>
                        <a:moveTo>
                          <a:pt x="4572" y="4266"/>
                        </a:moveTo>
                        <a:lnTo>
                          <a:pt x="4424" y="4142"/>
                        </a:lnTo>
                        <a:lnTo>
                          <a:pt x="4424" y="4142"/>
                        </a:lnTo>
                        <a:lnTo>
                          <a:pt x="4440" y="4124"/>
                        </a:lnTo>
                        <a:lnTo>
                          <a:pt x="4588" y="4248"/>
                        </a:lnTo>
                        <a:lnTo>
                          <a:pt x="4588" y="4248"/>
                        </a:lnTo>
                        <a:lnTo>
                          <a:pt x="4572" y="4266"/>
                        </a:lnTo>
                        <a:lnTo>
                          <a:pt x="4572" y="4266"/>
                        </a:lnTo>
                        <a:close/>
                        <a:moveTo>
                          <a:pt x="546" y="4186"/>
                        </a:moveTo>
                        <a:lnTo>
                          <a:pt x="546" y="4186"/>
                        </a:lnTo>
                        <a:lnTo>
                          <a:pt x="532" y="4166"/>
                        </a:lnTo>
                        <a:lnTo>
                          <a:pt x="684" y="4050"/>
                        </a:lnTo>
                        <a:lnTo>
                          <a:pt x="684" y="4050"/>
                        </a:lnTo>
                        <a:lnTo>
                          <a:pt x="698" y="4068"/>
                        </a:lnTo>
                        <a:lnTo>
                          <a:pt x="546" y="4186"/>
                        </a:lnTo>
                        <a:close/>
                        <a:moveTo>
                          <a:pt x="4664" y="4150"/>
                        </a:moveTo>
                        <a:lnTo>
                          <a:pt x="4512" y="4034"/>
                        </a:lnTo>
                        <a:lnTo>
                          <a:pt x="4512" y="4034"/>
                        </a:lnTo>
                        <a:lnTo>
                          <a:pt x="4526" y="4016"/>
                        </a:lnTo>
                        <a:lnTo>
                          <a:pt x="4680" y="4130"/>
                        </a:lnTo>
                        <a:lnTo>
                          <a:pt x="4680" y="4130"/>
                        </a:lnTo>
                        <a:lnTo>
                          <a:pt x="4664" y="4150"/>
                        </a:lnTo>
                        <a:lnTo>
                          <a:pt x="4664" y="4150"/>
                        </a:lnTo>
                        <a:close/>
                        <a:moveTo>
                          <a:pt x="458" y="4066"/>
                        </a:moveTo>
                        <a:lnTo>
                          <a:pt x="458" y="4066"/>
                        </a:lnTo>
                        <a:lnTo>
                          <a:pt x="444" y="4044"/>
                        </a:lnTo>
                        <a:lnTo>
                          <a:pt x="604" y="3936"/>
                        </a:lnTo>
                        <a:lnTo>
                          <a:pt x="604" y="3936"/>
                        </a:lnTo>
                        <a:lnTo>
                          <a:pt x="616" y="3956"/>
                        </a:lnTo>
                        <a:lnTo>
                          <a:pt x="458" y="4066"/>
                        </a:lnTo>
                        <a:close/>
                        <a:moveTo>
                          <a:pt x="4752" y="4028"/>
                        </a:moveTo>
                        <a:lnTo>
                          <a:pt x="4592" y="3920"/>
                        </a:lnTo>
                        <a:lnTo>
                          <a:pt x="4592" y="3920"/>
                        </a:lnTo>
                        <a:lnTo>
                          <a:pt x="4604" y="3902"/>
                        </a:lnTo>
                        <a:lnTo>
                          <a:pt x="4764" y="4006"/>
                        </a:lnTo>
                        <a:lnTo>
                          <a:pt x="4764" y="4006"/>
                        </a:lnTo>
                        <a:lnTo>
                          <a:pt x="4752" y="4028"/>
                        </a:lnTo>
                        <a:lnTo>
                          <a:pt x="4752" y="4028"/>
                        </a:lnTo>
                        <a:close/>
                        <a:moveTo>
                          <a:pt x="376" y="3940"/>
                        </a:moveTo>
                        <a:lnTo>
                          <a:pt x="376" y="3940"/>
                        </a:lnTo>
                        <a:lnTo>
                          <a:pt x="364" y="3918"/>
                        </a:lnTo>
                        <a:lnTo>
                          <a:pt x="528" y="3820"/>
                        </a:lnTo>
                        <a:lnTo>
                          <a:pt x="528" y="3820"/>
                        </a:lnTo>
                        <a:lnTo>
                          <a:pt x="540" y="3840"/>
                        </a:lnTo>
                        <a:lnTo>
                          <a:pt x="376" y="3940"/>
                        </a:lnTo>
                        <a:close/>
                        <a:moveTo>
                          <a:pt x="4830" y="3900"/>
                        </a:moveTo>
                        <a:lnTo>
                          <a:pt x="4664" y="3804"/>
                        </a:lnTo>
                        <a:lnTo>
                          <a:pt x="4664" y="3804"/>
                        </a:lnTo>
                        <a:lnTo>
                          <a:pt x="4676" y="3784"/>
                        </a:lnTo>
                        <a:lnTo>
                          <a:pt x="4844" y="3880"/>
                        </a:lnTo>
                        <a:lnTo>
                          <a:pt x="4844" y="3880"/>
                        </a:lnTo>
                        <a:lnTo>
                          <a:pt x="4830" y="3900"/>
                        </a:lnTo>
                        <a:lnTo>
                          <a:pt x="4830" y="3900"/>
                        </a:lnTo>
                        <a:close/>
                        <a:moveTo>
                          <a:pt x="302" y="3810"/>
                        </a:moveTo>
                        <a:lnTo>
                          <a:pt x="302" y="3810"/>
                        </a:lnTo>
                        <a:lnTo>
                          <a:pt x="292" y="3788"/>
                        </a:lnTo>
                        <a:lnTo>
                          <a:pt x="462" y="3700"/>
                        </a:lnTo>
                        <a:lnTo>
                          <a:pt x="462" y="3700"/>
                        </a:lnTo>
                        <a:lnTo>
                          <a:pt x="472" y="3720"/>
                        </a:lnTo>
                        <a:lnTo>
                          <a:pt x="302" y="3810"/>
                        </a:lnTo>
                        <a:close/>
                        <a:moveTo>
                          <a:pt x="4902" y="3770"/>
                        </a:moveTo>
                        <a:lnTo>
                          <a:pt x="4732" y="3682"/>
                        </a:lnTo>
                        <a:lnTo>
                          <a:pt x="4732" y="3682"/>
                        </a:lnTo>
                        <a:lnTo>
                          <a:pt x="4742" y="3662"/>
                        </a:lnTo>
                        <a:lnTo>
                          <a:pt x="4914" y="3746"/>
                        </a:lnTo>
                        <a:lnTo>
                          <a:pt x="4914" y="3746"/>
                        </a:lnTo>
                        <a:lnTo>
                          <a:pt x="4902" y="3770"/>
                        </a:lnTo>
                        <a:lnTo>
                          <a:pt x="4902" y="3770"/>
                        </a:lnTo>
                        <a:close/>
                        <a:moveTo>
                          <a:pt x="236" y="3676"/>
                        </a:moveTo>
                        <a:lnTo>
                          <a:pt x="236" y="3676"/>
                        </a:lnTo>
                        <a:lnTo>
                          <a:pt x="226" y="3654"/>
                        </a:lnTo>
                        <a:lnTo>
                          <a:pt x="402" y="3576"/>
                        </a:lnTo>
                        <a:lnTo>
                          <a:pt x="402" y="3576"/>
                        </a:lnTo>
                        <a:lnTo>
                          <a:pt x="410" y="3596"/>
                        </a:lnTo>
                        <a:lnTo>
                          <a:pt x="236" y="3676"/>
                        </a:lnTo>
                        <a:close/>
                        <a:moveTo>
                          <a:pt x="4966" y="3634"/>
                        </a:moveTo>
                        <a:lnTo>
                          <a:pt x="4790" y="3556"/>
                        </a:lnTo>
                        <a:lnTo>
                          <a:pt x="4790" y="3556"/>
                        </a:lnTo>
                        <a:lnTo>
                          <a:pt x="4800" y="3536"/>
                        </a:lnTo>
                        <a:lnTo>
                          <a:pt x="4976" y="3610"/>
                        </a:lnTo>
                        <a:lnTo>
                          <a:pt x="4976" y="3610"/>
                        </a:lnTo>
                        <a:lnTo>
                          <a:pt x="4966" y="3634"/>
                        </a:lnTo>
                        <a:lnTo>
                          <a:pt x="4966" y="3634"/>
                        </a:lnTo>
                        <a:close/>
                        <a:moveTo>
                          <a:pt x="178" y="3540"/>
                        </a:moveTo>
                        <a:lnTo>
                          <a:pt x="178" y="3540"/>
                        </a:lnTo>
                        <a:lnTo>
                          <a:pt x="170" y="3516"/>
                        </a:lnTo>
                        <a:lnTo>
                          <a:pt x="348" y="3448"/>
                        </a:lnTo>
                        <a:lnTo>
                          <a:pt x="348" y="3448"/>
                        </a:lnTo>
                        <a:lnTo>
                          <a:pt x="356" y="3470"/>
                        </a:lnTo>
                        <a:lnTo>
                          <a:pt x="178" y="3540"/>
                        </a:lnTo>
                        <a:close/>
                        <a:moveTo>
                          <a:pt x="5022" y="3496"/>
                        </a:moveTo>
                        <a:lnTo>
                          <a:pt x="4842" y="3428"/>
                        </a:lnTo>
                        <a:lnTo>
                          <a:pt x="4842" y="3428"/>
                        </a:lnTo>
                        <a:lnTo>
                          <a:pt x="4850" y="3406"/>
                        </a:lnTo>
                        <a:lnTo>
                          <a:pt x="5032" y="3472"/>
                        </a:lnTo>
                        <a:lnTo>
                          <a:pt x="5032" y="3472"/>
                        </a:lnTo>
                        <a:lnTo>
                          <a:pt x="5022" y="3496"/>
                        </a:lnTo>
                        <a:lnTo>
                          <a:pt x="5022" y="3496"/>
                        </a:lnTo>
                        <a:close/>
                        <a:moveTo>
                          <a:pt x="128" y="3398"/>
                        </a:moveTo>
                        <a:lnTo>
                          <a:pt x="128" y="3398"/>
                        </a:lnTo>
                        <a:lnTo>
                          <a:pt x="120" y="3376"/>
                        </a:lnTo>
                        <a:lnTo>
                          <a:pt x="302" y="3318"/>
                        </a:lnTo>
                        <a:lnTo>
                          <a:pt x="302" y="3318"/>
                        </a:lnTo>
                        <a:lnTo>
                          <a:pt x="310" y="3340"/>
                        </a:lnTo>
                        <a:lnTo>
                          <a:pt x="128" y="3398"/>
                        </a:lnTo>
                        <a:close/>
                        <a:moveTo>
                          <a:pt x="5072" y="3354"/>
                        </a:moveTo>
                        <a:lnTo>
                          <a:pt x="4888" y="3296"/>
                        </a:lnTo>
                        <a:lnTo>
                          <a:pt x="4888" y="3296"/>
                        </a:lnTo>
                        <a:lnTo>
                          <a:pt x="4894" y="3274"/>
                        </a:lnTo>
                        <a:lnTo>
                          <a:pt x="5078" y="3330"/>
                        </a:lnTo>
                        <a:lnTo>
                          <a:pt x="5078" y="3330"/>
                        </a:lnTo>
                        <a:lnTo>
                          <a:pt x="5072" y="3354"/>
                        </a:lnTo>
                        <a:lnTo>
                          <a:pt x="5072" y="3354"/>
                        </a:lnTo>
                        <a:close/>
                        <a:moveTo>
                          <a:pt x="86" y="3256"/>
                        </a:moveTo>
                        <a:lnTo>
                          <a:pt x="86" y="3256"/>
                        </a:lnTo>
                        <a:lnTo>
                          <a:pt x="78" y="3232"/>
                        </a:lnTo>
                        <a:lnTo>
                          <a:pt x="264" y="3184"/>
                        </a:lnTo>
                        <a:lnTo>
                          <a:pt x="264" y="3184"/>
                        </a:lnTo>
                        <a:lnTo>
                          <a:pt x="270" y="3206"/>
                        </a:lnTo>
                        <a:lnTo>
                          <a:pt x="86" y="3256"/>
                        </a:lnTo>
                        <a:close/>
                        <a:moveTo>
                          <a:pt x="5110" y="3208"/>
                        </a:moveTo>
                        <a:lnTo>
                          <a:pt x="4924" y="3164"/>
                        </a:lnTo>
                        <a:lnTo>
                          <a:pt x="4924" y="3164"/>
                        </a:lnTo>
                        <a:lnTo>
                          <a:pt x="4930" y="3140"/>
                        </a:lnTo>
                        <a:lnTo>
                          <a:pt x="5116" y="3184"/>
                        </a:lnTo>
                        <a:lnTo>
                          <a:pt x="5116" y="3184"/>
                        </a:lnTo>
                        <a:lnTo>
                          <a:pt x="5110" y="3208"/>
                        </a:lnTo>
                        <a:lnTo>
                          <a:pt x="5110" y="3208"/>
                        </a:lnTo>
                        <a:close/>
                        <a:moveTo>
                          <a:pt x="52" y="3110"/>
                        </a:moveTo>
                        <a:lnTo>
                          <a:pt x="52" y="3110"/>
                        </a:lnTo>
                        <a:lnTo>
                          <a:pt x="46" y="3086"/>
                        </a:lnTo>
                        <a:lnTo>
                          <a:pt x="234" y="3048"/>
                        </a:lnTo>
                        <a:lnTo>
                          <a:pt x="234" y="3048"/>
                        </a:lnTo>
                        <a:lnTo>
                          <a:pt x="240" y="3072"/>
                        </a:lnTo>
                        <a:lnTo>
                          <a:pt x="52" y="3110"/>
                        </a:lnTo>
                        <a:close/>
                        <a:moveTo>
                          <a:pt x="5142" y="3062"/>
                        </a:moveTo>
                        <a:lnTo>
                          <a:pt x="4954" y="3028"/>
                        </a:lnTo>
                        <a:lnTo>
                          <a:pt x="4954" y="3028"/>
                        </a:lnTo>
                        <a:lnTo>
                          <a:pt x="4958" y="3006"/>
                        </a:lnTo>
                        <a:lnTo>
                          <a:pt x="5146" y="3038"/>
                        </a:lnTo>
                        <a:lnTo>
                          <a:pt x="5146" y="3038"/>
                        </a:lnTo>
                        <a:lnTo>
                          <a:pt x="5142" y="3062"/>
                        </a:lnTo>
                        <a:lnTo>
                          <a:pt x="5142" y="3062"/>
                        </a:lnTo>
                        <a:close/>
                        <a:moveTo>
                          <a:pt x="26" y="2962"/>
                        </a:moveTo>
                        <a:lnTo>
                          <a:pt x="26" y="2962"/>
                        </a:lnTo>
                        <a:lnTo>
                          <a:pt x="22" y="2938"/>
                        </a:lnTo>
                        <a:lnTo>
                          <a:pt x="212" y="2912"/>
                        </a:lnTo>
                        <a:lnTo>
                          <a:pt x="212" y="2912"/>
                        </a:lnTo>
                        <a:lnTo>
                          <a:pt x="216" y="2936"/>
                        </a:lnTo>
                        <a:lnTo>
                          <a:pt x="26" y="2962"/>
                        </a:lnTo>
                        <a:close/>
                        <a:moveTo>
                          <a:pt x="5164" y="2914"/>
                        </a:moveTo>
                        <a:lnTo>
                          <a:pt x="4974" y="2892"/>
                        </a:lnTo>
                        <a:lnTo>
                          <a:pt x="4974" y="2892"/>
                        </a:lnTo>
                        <a:lnTo>
                          <a:pt x="4976" y="2868"/>
                        </a:lnTo>
                        <a:lnTo>
                          <a:pt x="5168" y="2890"/>
                        </a:lnTo>
                        <a:lnTo>
                          <a:pt x="5168" y="2890"/>
                        </a:lnTo>
                        <a:lnTo>
                          <a:pt x="5164" y="2914"/>
                        </a:lnTo>
                        <a:lnTo>
                          <a:pt x="5164" y="2914"/>
                        </a:lnTo>
                        <a:close/>
                        <a:moveTo>
                          <a:pt x="8" y="2814"/>
                        </a:moveTo>
                        <a:lnTo>
                          <a:pt x="8" y="2814"/>
                        </a:lnTo>
                        <a:lnTo>
                          <a:pt x="6" y="2790"/>
                        </a:lnTo>
                        <a:lnTo>
                          <a:pt x="198" y="2774"/>
                        </a:lnTo>
                        <a:lnTo>
                          <a:pt x="198" y="2774"/>
                        </a:lnTo>
                        <a:lnTo>
                          <a:pt x="200" y="2798"/>
                        </a:lnTo>
                        <a:lnTo>
                          <a:pt x="8" y="2814"/>
                        </a:lnTo>
                        <a:close/>
                        <a:moveTo>
                          <a:pt x="5178" y="2766"/>
                        </a:moveTo>
                        <a:lnTo>
                          <a:pt x="4988" y="2754"/>
                        </a:lnTo>
                        <a:lnTo>
                          <a:pt x="4988" y="2754"/>
                        </a:lnTo>
                        <a:lnTo>
                          <a:pt x="4988" y="2730"/>
                        </a:lnTo>
                        <a:lnTo>
                          <a:pt x="5180" y="2742"/>
                        </a:lnTo>
                        <a:lnTo>
                          <a:pt x="5180" y="2742"/>
                        </a:lnTo>
                        <a:lnTo>
                          <a:pt x="5178" y="2766"/>
                        </a:lnTo>
                        <a:lnTo>
                          <a:pt x="5178" y="2766"/>
                        </a:lnTo>
                        <a:close/>
                        <a:moveTo>
                          <a:pt x="0" y="2664"/>
                        </a:moveTo>
                        <a:lnTo>
                          <a:pt x="0" y="2664"/>
                        </a:lnTo>
                        <a:lnTo>
                          <a:pt x="0" y="2640"/>
                        </a:lnTo>
                        <a:lnTo>
                          <a:pt x="192" y="2636"/>
                        </a:lnTo>
                        <a:lnTo>
                          <a:pt x="192" y="2636"/>
                        </a:lnTo>
                        <a:lnTo>
                          <a:pt x="192" y="2660"/>
                        </a:lnTo>
                        <a:lnTo>
                          <a:pt x="0" y="2664"/>
                        </a:lnTo>
                        <a:close/>
                        <a:moveTo>
                          <a:pt x="5184" y="2616"/>
                        </a:moveTo>
                        <a:lnTo>
                          <a:pt x="4992" y="2616"/>
                        </a:lnTo>
                        <a:lnTo>
                          <a:pt x="4992" y="2616"/>
                        </a:lnTo>
                        <a:lnTo>
                          <a:pt x="4992" y="2592"/>
                        </a:lnTo>
                        <a:lnTo>
                          <a:pt x="5184" y="2592"/>
                        </a:lnTo>
                        <a:lnTo>
                          <a:pt x="5184" y="2592"/>
                        </a:lnTo>
                        <a:lnTo>
                          <a:pt x="5184" y="2616"/>
                        </a:lnTo>
                        <a:lnTo>
                          <a:pt x="5184" y="2616"/>
                        </a:lnTo>
                        <a:close/>
                        <a:moveTo>
                          <a:pt x="192" y="2520"/>
                        </a:moveTo>
                        <a:lnTo>
                          <a:pt x="0" y="2516"/>
                        </a:lnTo>
                        <a:lnTo>
                          <a:pt x="0" y="2516"/>
                        </a:lnTo>
                        <a:lnTo>
                          <a:pt x="2" y="2490"/>
                        </a:lnTo>
                        <a:lnTo>
                          <a:pt x="194" y="2498"/>
                        </a:lnTo>
                        <a:lnTo>
                          <a:pt x="194" y="2498"/>
                        </a:lnTo>
                        <a:lnTo>
                          <a:pt x="192" y="2520"/>
                        </a:lnTo>
                        <a:lnTo>
                          <a:pt x="192" y="2520"/>
                        </a:lnTo>
                        <a:close/>
                        <a:moveTo>
                          <a:pt x="4990" y="2480"/>
                        </a:moveTo>
                        <a:lnTo>
                          <a:pt x="4990" y="2480"/>
                        </a:lnTo>
                        <a:lnTo>
                          <a:pt x="4988" y="2458"/>
                        </a:lnTo>
                        <a:lnTo>
                          <a:pt x="5180" y="2446"/>
                        </a:lnTo>
                        <a:lnTo>
                          <a:pt x="5180" y="2446"/>
                        </a:lnTo>
                        <a:lnTo>
                          <a:pt x="5182" y="2472"/>
                        </a:lnTo>
                        <a:lnTo>
                          <a:pt x="4990" y="2480"/>
                        </a:lnTo>
                        <a:close/>
                        <a:moveTo>
                          <a:pt x="200" y="2382"/>
                        </a:moveTo>
                        <a:lnTo>
                          <a:pt x="10" y="2366"/>
                        </a:lnTo>
                        <a:lnTo>
                          <a:pt x="10" y="2366"/>
                        </a:lnTo>
                        <a:lnTo>
                          <a:pt x="12" y="2342"/>
                        </a:lnTo>
                        <a:lnTo>
                          <a:pt x="202" y="2360"/>
                        </a:lnTo>
                        <a:lnTo>
                          <a:pt x="202" y="2360"/>
                        </a:lnTo>
                        <a:lnTo>
                          <a:pt x="200" y="2382"/>
                        </a:lnTo>
                        <a:lnTo>
                          <a:pt x="200" y="2382"/>
                        </a:lnTo>
                        <a:close/>
                        <a:moveTo>
                          <a:pt x="4980" y="2342"/>
                        </a:moveTo>
                        <a:lnTo>
                          <a:pt x="4980" y="2342"/>
                        </a:lnTo>
                        <a:lnTo>
                          <a:pt x="4978" y="2320"/>
                        </a:lnTo>
                        <a:lnTo>
                          <a:pt x="5168" y="2298"/>
                        </a:lnTo>
                        <a:lnTo>
                          <a:pt x="5168" y="2298"/>
                        </a:lnTo>
                        <a:lnTo>
                          <a:pt x="5170" y="2322"/>
                        </a:lnTo>
                        <a:lnTo>
                          <a:pt x="4980" y="2342"/>
                        </a:lnTo>
                        <a:close/>
                        <a:moveTo>
                          <a:pt x="216" y="2246"/>
                        </a:moveTo>
                        <a:lnTo>
                          <a:pt x="26" y="2218"/>
                        </a:lnTo>
                        <a:lnTo>
                          <a:pt x="26" y="2218"/>
                        </a:lnTo>
                        <a:lnTo>
                          <a:pt x="30" y="2194"/>
                        </a:lnTo>
                        <a:lnTo>
                          <a:pt x="220" y="2222"/>
                        </a:lnTo>
                        <a:lnTo>
                          <a:pt x="220" y="2222"/>
                        </a:lnTo>
                        <a:lnTo>
                          <a:pt x="216" y="2246"/>
                        </a:lnTo>
                        <a:lnTo>
                          <a:pt x="216" y="2246"/>
                        </a:lnTo>
                        <a:close/>
                        <a:moveTo>
                          <a:pt x="4962" y="2206"/>
                        </a:moveTo>
                        <a:lnTo>
                          <a:pt x="4962" y="2206"/>
                        </a:lnTo>
                        <a:lnTo>
                          <a:pt x="4958" y="2182"/>
                        </a:lnTo>
                        <a:lnTo>
                          <a:pt x="5148" y="2150"/>
                        </a:lnTo>
                        <a:lnTo>
                          <a:pt x="5148" y="2150"/>
                        </a:lnTo>
                        <a:lnTo>
                          <a:pt x="5152" y="2174"/>
                        </a:lnTo>
                        <a:lnTo>
                          <a:pt x="4962" y="2206"/>
                        </a:lnTo>
                        <a:close/>
                        <a:moveTo>
                          <a:pt x="240" y="2108"/>
                        </a:moveTo>
                        <a:lnTo>
                          <a:pt x="52" y="2070"/>
                        </a:lnTo>
                        <a:lnTo>
                          <a:pt x="52" y="2070"/>
                        </a:lnTo>
                        <a:lnTo>
                          <a:pt x="56" y="2046"/>
                        </a:lnTo>
                        <a:lnTo>
                          <a:pt x="244" y="2086"/>
                        </a:lnTo>
                        <a:lnTo>
                          <a:pt x="244" y="2086"/>
                        </a:lnTo>
                        <a:lnTo>
                          <a:pt x="240" y="2108"/>
                        </a:lnTo>
                        <a:lnTo>
                          <a:pt x="240" y="2108"/>
                        </a:lnTo>
                        <a:close/>
                        <a:moveTo>
                          <a:pt x="4936" y="2070"/>
                        </a:moveTo>
                        <a:lnTo>
                          <a:pt x="4936" y="2070"/>
                        </a:lnTo>
                        <a:lnTo>
                          <a:pt x="4930" y="2046"/>
                        </a:lnTo>
                        <a:lnTo>
                          <a:pt x="5118" y="2004"/>
                        </a:lnTo>
                        <a:lnTo>
                          <a:pt x="5118" y="2004"/>
                        </a:lnTo>
                        <a:lnTo>
                          <a:pt x="5122" y="2028"/>
                        </a:lnTo>
                        <a:lnTo>
                          <a:pt x="4936" y="2070"/>
                        </a:lnTo>
                        <a:close/>
                        <a:moveTo>
                          <a:pt x="272" y="1974"/>
                        </a:moveTo>
                        <a:lnTo>
                          <a:pt x="86" y="1924"/>
                        </a:lnTo>
                        <a:lnTo>
                          <a:pt x="86" y="1924"/>
                        </a:lnTo>
                        <a:lnTo>
                          <a:pt x="92" y="1900"/>
                        </a:lnTo>
                        <a:lnTo>
                          <a:pt x="278" y="1952"/>
                        </a:lnTo>
                        <a:lnTo>
                          <a:pt x="278" y="1952"/>
                        </a:lnTo>
                        <a:lnTo>
                          <a:pt x="272" y="1974"/>
                        </a:lnTo>
                        <a:lnTo>
                          <a:pt x="272" y="1974"/>
                        </a:lnTo>
                        <a:close/>
                        <a:moveTo>
                          <a:pt x="4902" y="1936"/>
                        </a:moveTo>
                        <a:lnTo>
                          <a:pt x="4902" y="1936"/>
                        </a:lnTo>
                        <a:lnTo>
                          <a:pt x="4896" y="1912"/>
                        </a:lnTo>
                        <a:lnTo>
                          <a:pt x="5080" y="1858"/>
                        </a:lnTo>
                        <a:lnTo>
                          <a:pt x="5080" y="1858"/>
                        </a:lnTo>
                        <a:lnTo>
                          <a:pt x="5086" y="1882"/>
                        </a:lnTo>
                        <a:lnTo>
                          <a:pt x="4902" y="1936"/>
                        </a:lnTo>
                        <a:close/>
                        <a:moveTo>
                          <a:pt x="310" y="1842"/>
                        </a:moveTo>
                        <a:lnTo>
                          <a:pt x="128" y="1782"/>
                        </a:lnTo>
                        <a:lnTo>
                          <a:pt x="128" y="1782"/>
                        </a:lnTo>
                        <a:lnTo>
                          <a:pt x="136" y="1758"/>
                        </a:lnTo>
                        <a:lnTo>
                          <a:pt x="318" y="1820"/>
                        </a:lnTo>
                        <a:lnTo>
                          <a:pt x="318" y="1820"/>
                        </a:lnTo>
                        <a:lnTo>
                          <a:pt x="310" y="1842"/>
                        </a:lnTo>
                        <a:lnTo>
                          <a:pt x="310" y="1842"/>
                        </a:lnTo>
                        <a:close/>
                        <a:moveTo>
                          <a:pt x="4860" y="1804"/>
                        </a:moveTo>
                        <a:lnTo>
                          <a:pt x="4860" y="1804"/>
                        </a:lnTo>
                        <a:lnTo>
                          <a:pt x="4852" y="1782"/>
                        </a:lnTo>
                        <a:lnTo>
                          <a:pt x="5034" y="1716"/>
                        </a:lnTo>
                        <a:lnTo>
                          <a:pt x="5034" y="1716"/>
                        </a:lnTo>
                        <a:lnTo>
                          <a:pt x="5042" y="1740"/>
                        </a:lnTo>
                        <a:lnTo>
                          <a:pt x="4860" y="1804"/>
                        </a:lnTo>
                        <a:close/>
                        <a:moveTo>
                          <a:pt x="358" y="1712"/>
                        </a:moveTo>
                        <a:lnTo>
                          <a:pt x="180" y="1640"/>
                        </a:lnTo>
                        <a:lnTo>
                          <a:pt x="180" y="1640"/>
                        </a:lnTo>
                        <a:lnTo>
                          <a:pt x="188" y="1618"/>
                        </a:lnTo>
                        <a:lnTo>
                          <a:pt x="366" y="1690"/>
                        </a:lnTo>
                        <a:lnTo>
                          <a:pt x="366" y="1690"/>
                        </a:lnTo>
                        <a:lnTo>
                          <a:pt x="358" y="1712"/>
                        </a:lnTo>
                        <a:lnTo>
                          <a:pt x="358" y="1712"/>
                        </a:lnTo>
                        <a:close/>
                        <a:moveTo>
                          <a:pt x="4810" y="1674"/>
                        </a:moveTo>
                        <a:lnTo>
                          <a:pt x="4810" y="1674"/>
                        </a:lnTo>
                        <a:lnTo>
                          <a:pt x="4802" y="1652"/>
                        </a:lnTo>
                        <a:lnTo>
                          <a:pt x="4978" y="1578"/>
                        </a:lnTo>
                        <a:lnTo>
                          <a:pt x="4978" y="1578"/>
                        </a:lnTo>
                        <a:lnTo>
                          <a:pt x="4988" y="1600"/>
                        </a:lnTo>
                        <a:lnTo>
                          <a:pt x="4810" y="1674"/>
                        </a:lnTo>
                        <a:close/>
                        <a:moveTo>
                          <a:pt x="412" y="1584"/>
                        </a:moveTo>
                        <a:lnTo>
                          <a:pt x="238" y="1502"/>
                        </a:lnTo>
                        <a:lnTo>
                          <a:pt x="238" y="1502"/>
                        </a:lnTo>
                        <a:lnTo>
                          <a:pt x="250" y="1480"/>
                        </a:lnTo>
                        <a:lnTo>
                          <a:pt x="422" y="1562"/>
                        </a:lnTo>
                        <a:lnTo>
                          <a:pt x="422" y="1562"/>
                        </a:lnTo>
                        <a:lnTo>
                          <a:pt x="412" y="1584"/>
                        </a:lnTo>
                        <a:lnTo>
                          <a:pt x="412" y="1584"/>
                        </a:lnTo>
                        <a:close/>
                        <a:moveTo>
                          <a:pt x="4754" y="1548"/>
                        </a:moveTo>
                        <a:lnTo>
                          <a:pt x="4754" y="1548"/>
                        </a:lnTo>
                        <a:lnTo>
                          <a:pt x="4744" y="1528"/>
                        </a:lnTo>
                        <a:lnTo>
                          <a:pt x="4916" y="1442"/>
                        </a:lnTo>
                        <a:lnTo>
                          <a:pt x="4916" y="1442"/>
                        </a:lnTo>
                        <a:lnTo>
                          <a:pt x="4928" y="1464"/>
                        </a:lnTo>
                        <a:lnTo>
                          <a:pt x="4754" y="1548"/>
                        </a:lnTo>
                        <a:close/>
                        <a:moveTo>
                          <a:pt x="474" y="1460"/>
                        </a:moveTo>
                        <a:lnTo>
                          <a:pt x="306" y="1368"/>
                        </a:lnTo>
                        <a:lnTo>
                          <a:pt x="306" y="1368"/>
                        </a:lnTo>
                        <a:lnTo>
                          <a:pt x="318" y="1348"/>
                        </a:lnTo>
                        <a:lnTo>
                          <a:pt x="486" y="1440"/>
                        </a:lnTo>
                        <a:lnTo>
                          <a:pt x="486" y="1440"/>
                        </a:lnTo>
                        <a:lnTo>
                          <a:pt x="474" y="1460"/>
                        </a:lnTo>
                        <a:lnTo>
                          <a:pt x="474" y="1460"/>
                        </a:lnTo>
                        <a:close/>
                        <a:moveTo>
                          <a:pt x="4690" y="1426"/>
                        </a:moveTo>
                        <a:lnTo>
                          <a:pt x="4690" y="1426"/>
                        </a:lnTo>
                        <a:lnTo>
                          <a:pt x="4680" y="1406"/>
                        </a:lnTo>
                        <a:lnTo>
                          <a:pt x="4846" y="1310"/>
                        </a:lnTo>
                        <a:lnTo>
                          <a:pt x="4846" y="1310"/>
                        </a:lnTo>
                        <a:lnTo>
                          <a:pt x="4858" y="1332"/>
                        </a:lnTo>
                        <a:lnTo>
                          <a:pt x="4690" y="1426"/>
                        </a:lnTo>
                        <a:close/>
                        <a:moveTo>
                          <a:pt x="544" y="1340"/>
                        </a:moveTo>
                        <a:lnTo>
                          <a:pt x="380" y="1240"/>
                        </a:lnTo>
                        <a:lnTo>
                          <a:pt x="380" y="1240"/>
                        </a:lnTo>
                        <a:lnTo>
                          <a:pt x="394" y="1218"/>
                        </a:lnTo>
                        <a:lnTo>
                          <a:pt x="556" y="1320"/>
                        </a:lnTo>
                        <a:lnTo>
                          <a:pt x="556" y="1320"/>
                        </a:lnTo>
                        <a:lnTo>
                          <a:pt x="544" y="1340"/>
                        </a:lnTo>
                        <a:lnTo>
                          <a:pt x="544" y="1340"/>
                        </a:lnTo>
                        <a:close/>
                        <a:moveTo>
                          <a:pt x="4620" y="1306"/>
                        </a:moveTo>
                        <a:lnTo>
                          <a:pt x="4620" y="1306"/>
                        </a:lnTo>
                        <a:lnTo>
                          <a:pt x="4608" y="1288"/>
                        </a:lnTo>
                        <a:lnTo>
                          <a:pt x="4768" y="1182"/>
                        </a:lnTo>
                        <a:lnTo>
                          <a:pt x="4768" y="1182"/>
                        </a:lnTo>
                        <a:lnTo>
                          <a:pt x="4782" y="1204"/>
                        </a:lnTo>
                        <a:lnTo>
                          <a:pt x="4620" y="1306"/>
                        </a:lnTo>
                        <a:close/>
                        <a:moveTo>
                          <a:pt x="620" y="1224"/>
                        </a:moveTo>
                        <a:lnTo>
                          <a:pt x="462" y="1114"/>
                        </a:lnTo>
                        <a:lnTo>
                          <a:pt x="462" y="1114"/>
                        </a:lnTo>
                        <a:lnTo>
                          <a:pt x="476" y="1094"/>
                        </a:lnTo>
                        <a:lnTo>
                          <a:pt x="632" y="1204"/>
                        </a:lnTo>
                        <a:lnTo>
                          <a:pt x="632" y="1204"/>
                        </a:lnTo>
                        <a:lnTo>
                          <a:pt x="620" y="1224"/>
                        </a:lnTo>
                        <a:lnTo>
                          <a:pt x="620" y="1224"/>
                        </a:lnTo>
                        <a:close/>
                        <a:moveTo>
                          <a:pt x="4542" y="1192"/>
                        </a:moveTo>
                        <a:lnTo>
                          <a:pt x="4542" y="1192"/>
                        </a:lnTo>
                        <a:lnTo>
                          <a:pt x="4528" y="1174"/>
                        </a:lnTo>
                        <a:lnTo>
                          <a:pt x="4684" y="1060"/>
                        </a:lnTo>
                        <a:lnTo>
                          <a:pt x="4684" y="1060"/>
                        </a:lnTo>
                        <a:lnTo>
                          <a:pt x="4698" y="1080"/>
                        </a:lnTo>
                        <a:lnTo>
                          <a:pt x="4542" y="1192"/>
                        </a:lnTo>
                        <a:close/>
                        <a:moveTo>
                          <a:pt x="702" y="1112"/>
                        </a:moveTo>
                        <a:lnTo>
                          <a:pt x="550" y="994"/>
                        </a:lnTo>
                        <a:lnTo>
                          <a:pt x="550" y="994"/>
                        </a:lnTo>
                        <a:lnTo>
                          <a:pt x="566" y="974"/>
                        </a:lnTo>
                        <a:lnTo>
                          <a:pt x="716" y="1094"/>
                        </a:lnTo>
                        <a:lnTo>
                          <a:pt x="716" y="1094"/>
                        </a:lnTo>
                        <a:lnTo>
                          <a:pt x="702" y="1112"/>
                        </a:lnTo>
                        <a:lnTo>
                          <a:pt x="702" y="1112"/>
                        </a:lnTo>
                        <a:close/>
                        <a:moveTo>
                          <a:pt x="4458" y="1082"/>
                        </a:moveTo>
                        <a:lnTo>
                          <a:pt x="4458" y="1082"/>
                        </a:lnTo>
                        <a:lnTo>
                          <a:pt x="4444" y="1064"/>
                        </a:lnTo>
                        <a:lnTo>
                          <a:pt x="4592" y="942"/>
                        </a:lnTo>
                        <a:lnTo>
                          <a:pt x="4592" y="942"/>
                        </a:lnTo>
                        <a:lnTo>
                          <a:pt x="4608" y="962"/>
                        </a:lnTo>
                        <a:lnTo>
                          <a:pt x="4458" y="1082"/>
                        </a:lnTo>
                        <a:close/>
                        <a:moveTo>
                          <a:pt x="790" y="1006"/>
                        </a:moveTo>
                        <a:lnTo>
                          <a:pt x="646" y="878"/>
                        </a:lnTo>
                        <a:lnTo>
                          <a:pt x="646" y="878"/>
                        </a:lnTo>
                        <a:lnTo>
                          <a:pt x="662" y="860"/>
                        </a:lnTo>
                        <a:lnTo>
                          <a:pt x="806" y="988"/>
                        </a:lnTo>
                        <a:lnTo>
                          <a:pt x="806" y="988"/>
                        </a:lnTo>
                        <a:lnTo>
                          <a:pt x="790" y="1006"/>
                        </a:lnTo>
                        <a:lnTo>
                          <a:pt x="790" y="1006"/>
                        </a:lnTo>
                        <a:close/>
                        <a:moveTo>
                          <a:pt x="4368" y="978"/>
                        </a:moveTo>
                        <a:lnTo>
                          <a:pt x="4368" y="978"/>
                        </a:lnTo>
                        <a:lnTo>
                          <a:pt x="4352" y="960"/>
                        </a:lnTo>
                        <a:lnTo>
                          <a:pt x="4494" y="830"/>
                        </a:lnTo>
                        <a:lnTo>
                          <a:pt x="4494" y="830"/>
                        </a:lnTo>
                        <a:lnTo>
                          <a:pt x="4510" y="848"/>
                        </a:lnTo>
                        <a:lnTo>
                          <a:pt x="4368" y="978"/>
                        </a:lnTo>
                        <a:close/>
                        <a:moveTo>
                          <a:pt x="884" y="904"/>
                        </a:moveTo>
                        <a:lnTo>
                          <a:pt x="748" y="770"/>
                        </a:lnTo>
                        <a:lnTo>
                          <a:pt x="748" y="770"/>
                        </a:lnTo>
                        <a:lnTo>
                          <a:pt x="766" y="752"/>
                        </a:lnTo>
                        <a:lnTo>
                          <a:pt x="902" y="888"/>
                        </a:lnTo>
                        <a:lnTo>
                          <a:pt x="902" y="888"/>
                        </a:lnTo>
                        <a:lnTo>
                          <a:pt x="884" y="904"/>
                        </a:lnTo>
                        <a:lnTo>
                          <a:pt x="884" y="904"/>
                        </a:lnTo>
                        <a:close/>
                        <a:moveTo>
                          <a:pt x="4272" y="878"/>
                        </a:moveTo>
                        <a:lnTo>
                          <a:pt x="4272" y="878"/>
                        </a:lnTo>
                        <a:lnTo>
                          <a:pt x="4256" y="862"/>
                        </a:lnTo>
                        <a:lnTo>
                          <a:pt x="4388" y="722"/>
                        </a:lnTo>
                        <a:lnTo>
                          <a:pt x="4388" y="722"/>
                        </a:lnTo>
                        <a:lnTo>
                          <a:pt x="4406" y="740"/>
                        </a:lnTo>
                        <a:lnTo>
                          <a:pt x="4272" y="878"/>
                        </a:lnTo>
                        <a:close/>
                        <a:moveTo>
                          <a:pt x="984" y="808"/>
                        </a:moveTo>
                        <a:lnTo>
                          <a:pt x="856" y="666"/>
                        </a:lnTo>
                        <a:lnTo>
                          <a:pt x="856" y="666"/>
                        </a:lnTo>
                        <a:lnTo>
                          <a:pt x="874" y="650"/>
                        </a:lnTo>
                        <a:lnTo>
                          <a:pt x="1002" y="794"/>
                        </a:lnTo>
                        <a:lnTo>
                          <a:pt x="1002" y="794"/>
                        </a:lnTo>
                        <a:lnTo>
                          <a:pt x="984" y="808"/>
                        </a:lnTo>
                        <a:lnTo>
                          <a:pt x="984" y="808"/>
                        </a:lnTo>
                        <a:close/>
                        <a:moveTo>
                          <a:pt x="4170" y="784"/>
                        </a:moveTo>
                        <a:lnTo>
                          <a:pt x="4170" y="784"/>
                        </a:lnTo>
                        <a:lnTo>
                          <a:pt x="4154" y="768"/>
                        </a:lnTo>
                        <a:lnTo>
                          <a:pt x="4278" y="622"/>
                        </a:lnTo>
                        <a:lnTo>
                          <a:pt x="4278" y="622"/>
                        </a:lnTo>
                        <a:lnTo>
                          <a:pt x="4298" y="638"/>
                        </a:lnTo>
                        <a:lnTo>
                          <a:pt x="4170" y="784"/>
                        </a:lnTo>
                        <a:close/>
                        <a:moveTo>
                          <a:pt x="1090" y="720"/>
                        </a:moveTo>
                        <a:lnTo>
                          <a:pt x="970" y="570"/>
                        </a:lnTo>
                        <a:lnTo>
                          <a:pt x="970" y="570"/>
                        </a:lnTo>
                        <a:lnTo>
                          <a:pt x="990" y="554"/>
                        </a:lnTo>
                        <a:lnTo>
                          <a:pt x="1108" y="704"/>
                        </a:lnTo>
                        <a:lnTo>
                          <a:pt x="1108" y="704"/>
                        </a:lnTo>
                        <a:lnTo>
                          <a:pt x="1090" y="720"/>
                        </a:lnTo>
                        <a:lnTo>
                          <a:pt x="1090" y="720"/>
                        </a:lnTo>
                        <a:close/>
                        <a:moveTo>
                          <a:pt x="4064" y="696"/>
                        </a:moveTo>
                        <a:lnTo>
                          <a:pt x="4064" y="696"/>
                        </a:lnTo>
                        <a:lnTo>
                          <a:pt x="4046" y="682"/>
                        </a:lnTo>
                        <a:lnTo>
                          <a:pt x="4162" y="528"/>
                        </a:lnTo>
                        <a:lnTo>
                          <a:pt x="4162" y="528"/>
                        </a:lnTo>
                        <a:lnTo>
                          <a:pt x="4182" y="544"/>
                        </a:lnTo>
                        <a:lnTo>
                          <a:pt x="4064" y="696"/>
                        </a:lnTo>
                        <a:close/>
                        <a:moveTo>
                          <a:pt x="1200" y="636"/>
                        </a:moveTo>
                        <a:lnTo>
                          <a:pt x="1090" y="480"/>
                        </a:lnTo>
                        <a:lnTo>
                          <a:pt x="1090" y="480"/>
                        </a:lnTo>
                        <a:lnTo>
                          <a:pt x="1110" y="464"/>
                        </a:lnTo>
                        <a:lnTo>
                          <a:pt x="1220" y="622"/>
                        </a:lnTo>
                        <a:lnTo>
                          <a:pt x="1220" y="622"/>
                        </a:lnTo>
                        <a:lnTo>
                          <a:pt x="1200" y="636"/>
                        </a:lnTo>
                        <a:lnTo>
                          <a:pt x="1200" y="636"/>
                        </a:lnTo>
                        <a:close/>
                        <a:moveTo>
                          <a:pt x="3952" y="614"/>
                        </a:moveTo>
                        <a:lnTo>
                          <a:pt x="3952" y="614"/>
                        </a:lnTo>
                        <a:lnTo>
                          <a:pt x="3932" y="600"/>
                        </a:lnTo>
                        <a:lnTo>
                          <a:pt x="4040" y="442"/>
                        </a:lnTo>
                        <a:lnTo>
                          <a:pt x="4040" y="442"/>
                        </a:lnTo>
                        <a:lnTo>
                          <a:pt x="4060" y="456"/>
                        </a:lnTo>
                        <a:lnTo>
                          <a:pt x="3952" y="614"/>
                        </a:lnTo>
                        <a:close/>
                        <a:moveTo>
                          <a:pt x="1316" y="558"/>
                        </a:moveTo>
                        <a:lnTo>
                          <a:pt x="1214" y="396"/>
                        </a:lnTo>
                        <a:lnTo>
                          <a:pt x="1214" y="396"/>
                        </a:lnTo>
                        <a:lnTo>
                          <a:pt x="1234" y="382"/>
                        </a:lnTo>
                        <a:lnTo>
                          <a:pt x="1334" y="546"/>
                        </a:lnTo>
                        <a:lnTo>
                          <a:pt x="1334" y="546"/>
                        </a:lnTo>
                        <a:lnTo>
                          <a:pt x="1316" y="558"/>
                        </a:lnTo>
                        <a:lnTo>
                          <a:pt x="1316" y="558"/>
                        </a:lnTo>
                        <a:close/>
                        <a:moveTo>
                          <a:pt x="3836" y="538"/>
                        </a:moveTo>
                        <a:lnTo>
                          <a:pt x="3836" y="538"/>
                        </a:lnTo>
                        <a:lnTo>
                          <a:pt x="3816" y="526"/>
                        </a:lnTo>
                        <a:lnTo>
                          <a:pt x="3914" y="362"/>
                        </a:lnTo>
                        <a:lnTo>
                          <a:pt x="3914" y="362"/>
                        </a:lnTo>
                        <a:lnTo>
                          <a:pt x="3936" y="374"/>
                        </a:lnTo>
                        <a:lnTo>
                          <a:pt x="3836" y="538"/>
                        </a:lnTo>
                        <a:close/>
                        <a:moveTo>
                          <a:pt x="1434" y="488"/>
                        </a:moveTo>
                        <a:lnTo>
                          <a:pt x="1342" y="320"/>
                        </a:lnTo>
                        <a:lnTo>
                          <a:pt x="1342" y="320"/>
                        </a:lnTo>
                        <a:lnTo>
                          <a:pt x="1364" y="308"/>
                        </a:lnTo>
                        <a:lnTo>
                          <a:pt x="1454" y="478"/>
                        </a:lnTo>
                        <a:lnTo>
                          <a:pt x="1454" y="478"/>
                        </a:lnTo>
                        <a:lnTo>
                          <a:pt x="1434" y="488"/>
                        </a:lnTo>
                        <a:lnTo>
                          <a:pt x="1434" y="488"/>
                        </a:lnTo>
                        <a:close/>
                        <a:moveTo>
                          <a:pt x="3716" y="470"/>
                        </a:moveTo>
                        <a:lnTo>
                          <a:pt x="3716" y="470"/>
                        </a:lnTo>
                        <a:lnTo>
                          <a:pt x="3694" y="460"/>
                        </a:lnTo>
                        <a:lnTo>
                          <a:pt x="3782" y="288"/>
                        </a:lnTo>
                        <a:lnTo>
                          <a:pt x="3782" y="288"/>
                        </a:lnTo>
                        <a:lnTo>
                          <a:pt x="3806" y="300"/>
                        </a:lnTo>
                        <a:lnTo>
                          <a:pt x="3716" y="470"/>
                        </a:lnTo>
                        <a:close/>
                        <a:moveTo>
                          <a:pt x="1558" y="426"/>
                        </a:moveTo>
                        <a:lnTo>
                          <a:pt x="1474" y="252"/>
                        </a:lnTo>
                        <a:lnTo>
                          <a:pt x="1474" y="252"/>
                        </a:lnTo>
                        <a:lnTo>
                          <a:pt x="1496" y="242"/>
                        </a:lnTo>
                        <a:lnTo>
                          <a:pt x="1578" y="416"/>
                        </a:lnTo>
                        <a:lnTo>
                          <a:pt x="1578" y="416"/>
                        </a:lnTo>
                        <a:lnTo>
                          <a:pt x="1558" y="426"/>
                        </a:lnTo>
                        <a:lnTo>
                          <a:pt x="1558" y="426"/>
                        </a:lnTo>
                        <a:close/>
                        <a:moveTo>
                          <a:pt x="3590" y="408"/>
                        </a:moveTo>
                        <a:lnTo>
                          <a:pt x="3590" y="408"/>
                        </a:lnTo>
                        <a:lnTo>
                          <a:pt x="3570" y="398"/>
                        </a:lnTo>
                        <a:lnTo>
                          <a:pt x="3648" y="224"/>
                        </a:lnTo>
                        <a:lnTo>
                          <a:pt x="3648" y="224"/>
                        </a:lnTo>
                        <a:lnTo>
                          <a:pt x="3670" y="234"/>
                        </a:lnTo>
                        <a:lnTo>
                          <a:pt x="3590" y="408"/>
                        </a:lnTo>
                        <a:close/>
                        <a:moveTo>
                          <a:pt x="1684" y="370"/>
                        </a:moveTo>
                        <a:lnTo>
                          <a:pt x="1610" y="192"/>
                        </a:lnTo>
                        <a:lnTo>
                          <a:pt x="1610" y="192"/>
                        </a:lnTo>
                        <a:lnTo>
                          <a:pt x="1634" y="182"/>
                        </a:lnTo>
                        <a:lnTo>
                          <a:pt x="1704" y="360"/>
                        </a:lnTo>
                        <a:lnTo>
                          <a:pt x="1704" y="360"/>
                        </a:lnTo>
                        <a:lnTo>
                          <a:pt x="1684" y="370"/>
                        </a:lnTo>
                        <a:lnTo>
                          <a:pt x="1684" y="370"/>
                        </a:lnTo>
                        <a:close/>
                        <a:moveTo>
                          <a:pt x="3464" y="354"/>
                        </a:moveTo>
                        <a:lnTo>
                          <a:pt x="3464" y="354"/>
                        </a:lnTo>
                        <a:lnTo>
                          <a:pt x="3442" y="346"/>
                        </a:lnTo>
                        <a:lnTo>
                          <a:pt x="3510" y="166"/>
                        </a:lnTo>
                        <a:lnTo>
                          <a:pt x="3510" y="166"/>
                        </a:lnTo>
                        <a:lnTo>
                          <a:pt x="3532" y="176"/>
                        </a:lnTo>
                        <a:lnTo>
                          <a:pt x="3464" y="354"/>
                        </a:lnTo>
                        <a:close/>
                        <a:moveTo>
                          <a:pt x="1814" y="320"/>
                        </a:moveTo>
                        <a:lnTo>
                          <a:pt x="1750" y="138"/>
                        </a:lnTo>
                        <a:lnTo>
                          <a:pt x="1750" y="138"/>
                        </a:lnTo>
                        <a:lnTo>
                          <a:pt x="1774" y="130"/>
                        </a:lnTo>
                        <a:lnTo>
                          <a:pt x="1834" y="314"/>
                        </a:lnTo>
                        <a:lnTo>
                          <a:pt x="1834" y="314"/>
                        </a:lnTo>
                        <a:lnTo>
                          <a:pt x="1814" y="320"/>
                        </a:lnTo>
                        <a:lnTo>
                          <a:pt x="1814" y="320"/>
                        </a:lnTo>
                        <a:close/>
                        <a:moveTo>
                          <a:pt x="3332" y="308"/>
                        </a:moveTo>
                        <a:lnTo>
                          <a:pt x="3332" y="308"/>
                        </a:lnTo>
                        <a:lnTo>
                          <a:pt x="3310" y="300"/>
                        </a:lnTo>
                        <a:lnTo>
                          <a:pt x="3368" y="118"/>
                        </a:lnTo>
                        <a:lnTo>
                          <a:pt x="3368" y="118"/>
                        </a:lnTo>
                        <a:lnTo>
                          <a:pt x="3392" y="126"/>
                        </a:lnTo>
                        <a:lnTo>
                          <a:pt x="3332" y="308"/>
                        </a:lnTo>
                        <a:close/>
                        <a:moveTo>
                          <a:pt x="1946" y="280"/>
                        </a:moveTo>
                        <a:lnTo>
                          <a:pt x="1894" y="94"/>
                        </a:lnTo>
                        <a:lnTo>
                          <a:pt x="1894" y="94"/>
                        </a:lnTo>
                        <a:lnTo>
                          <a:pt x="1918" y="88"/>
                        </a:lnTo>
                        <a:lnTo>
                          <a:pt x="1968" y="274"/>
                        </a:lnTo>
                        <a:lnTo>
                          <a:pt x="1968" y="274"/>
                        </a:lnTo>
                        <a:lnTo>
                          <a:pt x="1946" y="280"/>
                        </a:lnTo>
                        <a:lnTo>
                          <a:pt x="1946" y="280"/>
                        </a:lnTo>
                        <a:close/>
                        <a:moveTo>
                          <a:pt x="3200" y="268"/>
                        </a:moveTo>
                        <a:lnTo>
                          <a:pt x="3200" y="268"/>
                        </a:lnTo>
                        <a:lnTo>
                          <a:pt x="3178" y="264"/>
                        </a:lnTo>
                        <a:lnTo>
                          <a:pt x="3224" y="76"/>
                        </a:lnTo>
                        <a:lnTo>
                          <a:pt x="3224" y="76"/>
                        </a:lnTo>
                        <a:lnTo>
                          <a:pt x="3248" y="84"/>
                        </a:lnTo>
                        <a:lnTo>
                          <a:pt x="3200" y="268"/>
                        </a:lnTo>
                        <a:close/>
                        <a:moveTo>
                          <a:pt x="2080" y="246"/>
                        </a:moveTo>
                        <a:lnTo>
                          <a:pt x="2038" y="58"/>
                        </a:lnTo>
                        <a:lnTo>
                          <a:pt x="2038" y="58"/>
                        </a:lnTo>
                        <a:lnTo>
                          <a:pt x="2064" y="54"/>
                        </a:lnTo>
                        <a:lnTo>
                          <a:pt x="2102" y="242"/>
                        </a:lnTo>
                        <a:lnTo>
                          <a:pt x="2102" y="242"/>
                        </a:lnTo>
                        <a:lnTo>
                          <a:pt x="2080" y="246"/>
                        </a:lnTo>
                        <a:lnTo>
                          <a:pt x="2080" y="246"/>
                        </a:lnTo>
                        <a:close/>
                        <a:moveTo>
                          <a:pt x="3064" y="238"/>
                        </a:moveTo>
                        <a:lnTo>
                          <a:pt x="3064" y="238"/>
                        </a:lnTo>
                        <a:lnTo>
                          <a:pt x="3042" y="234"/>
                        </a:lnTo>
                        <a:lnTo>
                          <a:pt x="3078" y="44"/>
                        </a:lnTo>
                        <a:lnTo>
                          <a:pt x="3078" y="44"/>
                        </a:lnTo>
                        <a:lnTo>
                          <a:pt x="3102" y="50"/>
                        </a:lnTo>
                        <a:lnTo>
                          <a:pt x="3064" y="238"/>
                        </a:lnTo>
                        <a:close/>
                        <a:moveTo>
                          <a:pt x="2216" y="220"/>
                        </a:moveTo>
                        <a:lnTo>
                          <a:pt x="2186" y="32"/>
                        </a:lnTo>
                        <a:lnTo>
                          <a:pt x="2186" y="32"/>
                        </a:lnTo>
                        <a:lnTo>
                          <a:pt x="2210" y="28"/>
                        </a:lnTo>
                        <a:lnTo>
                          <a:pt x="2238" y="218"/>
                        </a:lnTo>
                        <a:lnTo>
                          <a:pt x="2238" y="218"/>
                        </a:lnTo>
                        <a:lnTo>
                          <a:pt x="2216" y="220"/>
                        </a:lnTo>
                        <a:lnTo>
                          <a:pt x="2216" y="220"/>
                        </a:lnTo>
                        <a:close/>
                        <a:moveTo>
                          <a:pt x="2928" y="214"/>
                        </a:moveTo>
                        <a:lnTo>
                          <a:pt x="2928" y="214"/>
                        </a:lnTo>
                        <a:lnTo>
                          <a:pt x="2906" y="212"/>
                        </a:lnTo>
                        <a:lnTo>
                          <a:pt x="2930" y="22"/>
                        </a:lnTo>
                        <a:lnTo>
                          <a:pt x="2930" y="22"/>
                        </a:lnTo>
                        <a:lnTo>
                          <a:pt x="2954" y="24"/>
                        </a:lnTo>
                        <a:lnTo>
                          <a:pt x="2928" y="214"/>
                        </a:lnTo>
                        <a:close/>
                        <a:moveTo>
                          <a:pt x="2352" y="204"/>
                        </a:moveTo>
                        <a:lnTo>
                          <a:pt x="2334" y="12"/>
                        </a:lnTo>
                        <a:lnTo>
                          <a:pt x="2334" y="12"/>
                        </a:lnTo>
                        <a:lnTo>
                          <a:pt x="2358" y="10"/>
                        </a:lnTo>
                        <a:lnTo>
                          <a:pt x="2376" y="202"/>
                        </a:lnTo>
                        <a:lnTo>
                          <a:pt x="2376" y="202"/>
                        </a:lnTo>
                        <a:lnTo>
                          <a:pt x="2352" y="204"/>
                        </a:lnTo>
                        <a:lnTo>
                          <a:pt x="2352" y="204"/>
                        </a:lnTo>
                        <a:close/>
                        <a:moveTo>
                          <a:pt x="2790" y="200"/>
                        </a:moveTo>
                        <a:lnTo>
                          <a:pt x="2790" y="200"/>
                        </a:lnTo>
                        <a:lnTo>
                          <a:pt x="2768" y="198"/>
                        </a:lnTo>
                        <a:lnTo>
                          <a:pt x="2782" y="6"/>
                        </a:lnTo>
                        <a:lnTo>
                          <a:pt x="2782" y="6"/>
                        </a:lnTo>
                        <a:lnTo>
                          <a:pt x="2806" y="8"/>
                        </a:lnTo>
                        <a:lnTo>
                          <a:pt x="2790" y="200"/>
                        </a:lnTo>
                        <a:close/>
                        <a:moveTo>
                          <a:pt x="2490" y="194"/>
                        </a:moveTo>
                        <a:lnTo>
                          <a:pt x="2482" y="2"/>
                        </a:lnTo>
                        <a:lnTo>
                          <a:pt x="2482" y="2"/>
                        </a:lnTo>
                        <a:lnTo>
                          <a:pt x="2508" y="0"/>
                        </a:lnTo>
                        <a:lnTo>
                          <a:pt x="2514" y="192"/>
                        </a:lnTo>
                        <a:lnTo>
                          <a:pt x="2514" y="192"/>
                        </a:lnTo>
                        <a:lnTo>
                          <a:pt x="2490" y="194"/>
                        </a:lnTo>
                        <a:lnTo>
                          <a:pt x="2490" y="194"/>
                        </a:lnTo>
                        <a:close/>
                        <a:moveTo>
                          <a:pt x="2652" y="192"/>
                        </a:moveTo>
                        <a:lnTo>
                          <a:pt x="2652" y="192"/>
                        </a:lnTo>
                        <a:lnTo>
                          <a:pt x="2630" y="192"/>
                        </a:lnTo>
                        <a:lnTo>
                          <a:pt x="2632" y="0"/>
                        </a:lnTo>
                        <a:lnTo>
                          <a:pt x="2632" y="0"/>
                        </a:lnTo>
                        <a:lnTo>
                          <a:pt x="2658" y="0"/>
                        </a:lnTo>
                        <a:lnTo>
                          <a:pt x="2652" y="19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8" name="Freeform 37">
                    <a:extLst>
                      <a:ext uri="{FF2B5EF4-FFF2-40B4-BE49-F238E27FC236}">
                        <a16:creationId xmlns="" xmlns:a16="http://schemas.microsoft.com/office/drawing/2014/main" id="{27E998BB-E2F0-4CCC-A10B-A7AAC3E144B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5220950" y="-10321131"/>
                    <a:ext cx="7277100" cy="7277100"/>
                  </a:xfrm>
                  <a:custGeom>
                    <a:avLst/>
                    <a:gdLst/>
                    <a:ahLst/>
                    <a:cxnLst>
                      <a:cxn ang="0">
                        <a:pos x="2178" y="4582"/>
                      </a:cxn>
                      <a:cxn ang="0">
                        <a:pos x="2058" y="4572"/>
                      </a:cxn>
                      <a:cxn ang="0">
                        <a:pos x="1950" y="4536"/>
                      </a:cxn>
                      <a:cxn ang="0">
                        <a:pos x="1848" y="4518"/>
                      </a:cxn>
                      <a:cxn ang="0">
                        <a:pos x="1734" y="4516"/>
                      </a:cxn>
                      <a:cxn ang="0">
                        <a:pos x="3056" y="4454"/>
                      </a:cxn>
                      <a:cxn ang="0">
                        <a:pos x="3152" y="4392"/>
                      </a:cxn>
                      <a:cxn ang="0">
                        <a:pos x="3262" y="4344"/>
                      </a:cxn>
                      <a:cxn ang="0">
                        <a:pos x="3372" y="4314"/>
                      </a:cxn>
                      <a:cxn ang="0">
                        <a:pos x="3462" y="4264"/>
                      </a:cxn>
                      <a:cxn ang="0">
                        <a:pos x="1016" y="4198"/>
                      </a:cxn>
                      <a:cxn ang="0">
                        <a:pos x="918" y="4128"/>
                      </a:cxn>
                      <a:cxn ang="0">
                        <a:pos x="846" y="4040"/>
                      </a:cxn>
                      <a:cxn ang="0">
                        <a:pos x="766" y="3972"/>
                      </a:cxn>
                      <a:cxn ang="0">
                        <a:pos x="670" y="3912"/>
                      </a:cxn>
                      <a:cxn ang="0">
                        <a:pos x="4058" y="3754"/>
                      </a:cxn>
                      <a:cxn ang="0">
                        <a:pos x="4108" y="3650"/>
                      </a:cxn>
                      <a:cxn ang="0">
                        <a:pos x="4178" y="3554"/>
                      </a:cxn>
                      <a:cxn ang="0">
                        <a:pos x="4258" y="3472"/>
                      </a:cxn>
                      <a:cxn ang="0">
                        <a:pos x="4310" y="3380"/>
                      </a:cxn>
                      <a:cxn ang="0">
                        <a:pos x="218" y="3272"/>
                      </a:cxn>
                      <a:cxn ang="0">
                        <a:pos x="170" y="3162"/>
                      </a:cxn>
                      <a:cxn ang="0">
                        <a:pos x="152" y="3048"/>
                      </a:cxn>
                      <a:cxn ang="0">
                        <a:pos x="120" y="2950"/>
                      </a:cxn>
                      <a:cxn ang="0">
                        <a:pos x="68" y="2848"/>
                      </a:cxn>
                      <a:cxn ang="0">
                        <a:pos x="4558" y="2636"/>
                      </a:cxn>
                      <a:cxn ang="0">
                        <a:pos x="4550" y="2522"/>
                      </a:cxn>
                      <a:cxn ang="0">
                        <a:pos x="4558" y="2404"/>
                      </a:cxn>
                      <a:cxn ang="0">
                        <a:pos x="4584" y="2292"/>
                      </a:cxn>
                      <a:cxn ang="0">
                        <a:pos x="4558" y="2190"/>
                      </a:cxn>
                      <a:cxn ang="0">
                        <a:pos x="34" y="2068"/>
                      </a:cxn>
                      <a:cxn ang="0">
                        <a:pos x="24" y="1954"/>
                      </a:cxn>
                      <a:cxn ang="0">
                        <a:pos x="44" y="1836"/>
                      </a:cxn>
                      <a:cxn ang="0">
                        <a:pos x="94" y="1732"/>
                      </a:cxn>
                      <a:cxn ang="0">
                        <a:pos x="120" y="1632"/>
                      </a:cxn>
                      <a:cxn ang="0">
                        <a:pos x="4392" y="1434"/>
                      </a:cxn>
                      <a:cxn ang="0">
                        <a:pos x="4344" y="1324"/>
                      </a:cxn>
                      <a:cxn ang="0">
                        <a:pos x="4316" y="1214"/>
                      </a:cxn>
                      <a:cxn ang="0">
                        <a:pos x="4264" y="1122"/>
                      </a:cxn>
                      <a:cxn ang="0">
                        <a:pos x="4184" y="1040"/>
                      </a:cxn>
                      <a:cxn ang="0">
                        <a:pos x="472" y="938"/>
                      </a:cxn>
                      <a:cxn ang="0">
                        <a:pos x="522" y="836"/>
                      </a:cxn>
                      <a:cxn ang="0">
                        <a:pos x="600" y="744"/>
                      </a:cxn>
                      <a:cxn ang="0">
                        <a:pos x="696" y="680"/>
                      </a:cxn>
                      <a:cxn ang="0">
                        <a:pos x="770" y="610"/>
                      </a:cxn>
                      <a:cxn ang="0">
                        <a:pos x="3652" y="476"/>
                      </a:cxn>
                      <a:cxn ang="0">
                        <a:pos x="3556" y="408"/>
                      </a:cxn>
                      <a:cxn ang="0">
                        <a:pos x="3474" y="326"/>
                      </a:cxn>
                      <a:cxn ang="0">
                        <a:pos x="3382" y="274"/>
                      </a:cxn>
                      <a:cxn ang="0">
                        <a:pos x="3272" y="246"/>
                      </a:cxn>
                      <a:cxn ang="0">
                        <a:pos x="1426" y="194"/>
                      </a:cxn>
                      <a:cxn ang="0">
                        <a:pos x="1522" y="132"/>
                      </a:cxn>
                      <a:cxn ang="0">
                        <a:pos x="1636" y="94"/>
                      </a:cxn>
                      <a:cxn ang="0">
                        <a:pos x="1750" y="88"/>
                      </a:cxn>
                      <a:cxn ang="0">
                        <a:pos x="1852" y="66"/>
                      </a:cxn>
                      <a:cxn ang="0">
                        <a:pos x="2524" y="36"/>
                      </a:cxn>
                      <a:cxn ang="0">
                        <a:pos x="2406" y="26"/>
                      </a:cxn>
                      <a:cxn ang="0">
                        <a:pos x="2294" y="0"/>
                      </a:cxn>
                    </a:cxnLst>
                    <a:rect l="0" t="0" r="r" b="b"/>
                    <a:pathLst>
                      <a:path w="4584" h="4584">
                        <a:moveTo>
                          <a:pt x="2292" y="4584"/>
                        </a:moveTo>
                        <a:lnTo>
                          <a:pt x="2284" y="4584"/>
                        </a:lnTo>
                        <a:lnTo>
                          <a:pt x="2284" y="4560"/>
                        </a:lnTo>
                        <a:lnTo>
                          <a:pt x="2292" y="4560"/>
                        </a:lnTo>
                        <a:lnTo>
                          <a:pt x="2292" y="4584"/>
                        </a:lnTo>
                        <a:close/>
                        <a:moveTo>
                          <a:pt x="2396" y="4582"/>
                        </a:moveTo>
                        <a:lnTo>
                          <a:pt x="2394" y="4558"/>
                        </a:lnTo>
                        <a:lnTo>
                          <a:pt x="2402" y="4558"/>
                        </a:lnTo>
                        <a:lnTo>
                          <a:pt x="2404" y="4582"/>
                        </a:lnTo>
                        <a:lnTo>
                          <a:pt x="2396" y="4582"/>
                        </a:lnTo>
                        <a:close/>
                        <a:moveTo>
                          <a:pt x="2178" y="4582"/>
                        </a:moveTo>
                        <a:lnTo>
                          <a:pt x="2170" y="4582"/>
                        </a:lnTo>
                        <a:lnTo>
                          <a:pt x="2172" y="4558"/>
                        </a:lnTo>
                        <a:lnTo>
                          <a:pt x="2180" y="4558"/>
                        </a:lnTo>
                        <a:lnTo>
                          <a:pt x="2178" y="4582"/>
                        </a:lnTo>
                        <a:close/>
                        <a:moveTo>
                          <a:pt x="2508" y="4574"/>
                        </a:moveTo>
                        <a:lnTo>
                          <a:pt x="2506" y="4550"/>
                        </a:lnTo>
                        <a:lnTo>
                          <a:pt x="2514" y="4550"/>
                        </a:lnTo>
                        <a:lnTo>
                          <a:pt x="2516" y="4574"/>
                        </a:lnTo>
                        <a:lnTo>
                          <a:pt x="2508" y="4574"/>
                        </a:lnTo>
                        <a:close/>
                        <a:moveTo>
                          <a:pt x="2066" y="4574"/>
                        </a:moveTo>
                        <a:lnTo>
                          <a:pt x="2058" y="4572"/>
                        </a:lnTo>
                        <a:lnTo>
                          <a:pt x="2062" y="4550"/>
                        </a:lnTo>
                        <a:lnTo>
                          <a:pt x="2068" y="4550"/>
                        </a:lnTo>
                        <a:lnTo>
                          <a:pt x="2066" y="4574"/>
                        </a:lnTo>
                        <a:close/>
                        <a:moveTo>
                          <a:pt x="2620" y="4562"/>
                        </a:moveTo>
                        <a:lnTo>
                          <a:pt x="2616" y="4538"/>
                        </a:lnTo>
                        <a:lnTo>
                          <a:pt x="2624" y="4536"/>
                        </a:lnTo>
                        <a:lnTo>
                          <a:pt x="2628" y="4560"/>
                        </a:lnTo>
                        <a:lnTo>
                          <a:pt x="2620" y="4562"/>
                        </a:lnTo>
                        <a:close/>
                        <a:moveTo>
                          <a:pt x="1954" y="4560"/>
                        </a:moveTo>
                        <a:lnTo>
                          <a:pt x="1946" y="4558"/>
                        </a:lnTo>
                        <a:lnTo>
                          <a:pt x="1950" y="4536"/>
                        </a:lnTo>
                        <a:lnTo>
                          <a:pt x="1958" y="4536"/>
                        </a:lnTo>
                        <a:lnTo>
                          <a:pt x="1954" y="4560"/>
                        </a:lnTo>
                        <a:close/>
                        <a:moveTo>
                          <a:pt x="2730" y="4542"/>
                        </a:moveTo>
                        <a:lnTo>
                          <a:pt x="2726" y="4520"/>
                        </a:lnTo>
                        <a:lnTo>
                          <a:pt x="2734" y="4518"/>
                        </a:lnTo>
                        <a:lnTo>
                          <a:pt x="2738" y="4542"/>
                        </a:lnTo>
                        <a:lnTo>
                          <a:pt x="2730" y="4542"/>
                        </a:lnTo>
                        <a:close/>
                        <a:moveTo>
                          <a:pt x="1844" y="4540"/>
                        </a:moveTo>
                        <a:lnTo>
                          <a:pt x="1836" y="4540"/>
                        </a:lnTo>
                        <a:lnTo>
                          <a:pt x="1840" y="4516"/>
                        </a:lnTo>
                        <a:lnTo>
                          <a:pt x="1848" y="4518"/>
                        </a:lnTo>
                        <a:lnTo>
                          <a:pt x="1844" y="4540"/>
                        </a:lnTo>
                        <a:close/>
                        <a:moveTo>
                          <a:pt x="2840" y="4518"/>
                        </a:moveTo>
                        <a:lnTo>
                          <a:pt x="2836" y="4496"/>
                        </a:lnTo>
                        <a:lnTo>
                          <a:pt x="2842" y="4494"/>
                        </a:lnTo>
                        <a:lnTo>
                          <a:pt x="2848" y="4516"/>
                        </a:lnTo>
                        <a:lnTo>
                          <a:pt x="2840" y="4518"/>
                        </a:lnTo>
                        <a:close/>
                        <a:moveTo>
                          <a:pt x="1734" y="4516"/>
                        </a:moveTo>
                        <a:lnTo>
                          <a:pt x="1726" y="4514"/>
                        </a:lnTo>
                        <a:lnTo>
                          <a:pt x="1732" y="4492"/>
                        </a:lnTo>
                        <a:lnTo>
                          <a:pt x="1740" y="4492"/>
                        </a:lnTo>
                        <a:lnTo>
                          <a:pt x="1734" y="4516"/>
                        </a:lnTo>
                        <a:close/>
                        <a:moveTo>
                          <a:pt x="2950" y="4488"/>
                        </a:moveTo>
                        <a:lnTo>
                          <a:pt x="2942" y="4466"/>
                        </a:lnTo>
                        <a:lnTo>
                          <a:pt x="2950" y="4464"/>
                        </a:lnTo>
                        <a:lnTo>
                          <a:pt x="2958" y="4486"/>
                        </a:lnTo>
                        <a:lnTo>
                          <a:pt x="2950" y="4488"/>
                        </a:lnTo>
                        <a:close/>
                        <a:moveTo>
                          <a:pt x="1626" y="4486"/>
                        </a:moveTo>
                        <a:lnTo>
                          <a:pt x="1618" y="4484"/>
                        </a:lnTo>
                        <a:lnTo>
                          <a:pt x="1626" y="4460"/>
                        </a:lnTo>
                        <a:lnTo>
                          <a:pt x="1632" y="4464"/>
                        </a:lnTo>
                        <a:lnTo>
                          <a:pt x="1626" y="4486"/>
                        </a:lnTo>
                        <a:close/>
                        <a:moveTo>
                          <a:pt x="3056" y="4454"/>
                        </a:moveTo>
                        <a:lnTo>
                          <a:pt x="3048" y="4432"/>
                        </a:lnTo>
                        <a:lnTo>
                          <a:pt x="3056" y="4428"/>
                        </a:lnTo>
                        <a:lnTo>
                          <a:pt x="3064" y="4452"/>
                        </a:lnTo>
                        <a:lnTo>
                          <a:pt x="3056" y="4454"/>
                        </a:lnTo>
                        <a:close/>
                        <a:moveTo>
                          <a:pt x="1518" y="4450"/>
                        </a:moveTo>
                        <a:lnTo>
                          <a:pt x="1510" y="4448"/>
                        </a:lnTo>
                        <a:lnTo>
                          <a:pt x="1520" y="4426"/>
                        </a:lnTo>
                        <a:lnTo>
                          <a:pt x="1526" y="4428"/>
                        </a:lnTo>
                        <a:lnTo>
                          <a:pt x="1518" y="4450"/>
                        </a:lnTo>
                        <a:close/>
                        <a:moveTo>
                          <a:pt x="3162" y="4414"/>
                        </a:moveTo>
                        <a:lnTo>
                          <a:pt x="3152" y="4392"/>
                        </a:lnTo>
                        <a:lnTo>
                          <a:pt x="3160" y="4388"/>
                        </a:lnTo>
                        <a:lnTo>
                          <a:pt x="3170" y="4410"/>
                        </a:lnTo>
                        <a:lnTo>
                          <a:pt x="3162" y="4414"/>
                        </a:lnTo>
                        <a:close/>
                        <a:moveTo>
                          <a:pt x="1414" y="4410"/>
                        </a:moveTo>
                        <a:lnTo>
                          <a:pt x="1406" y="4408"/>
                        </a:lnTo>
                        <a:lnTo>
                          <a:pt x="1416" y="4384"/>
                        </a:lnTo>
                        <a:lnTo>
                          <a:pt x="1422" y="4388"/>
                        </a:lnTo>
                        <a:lnTo>
                          <a:pt x="1414" y="4410"/>
                        </a:lnTo>
                        <a:close/>
                        <a:moveTo>
                          <a:pt x="3264" y="4368"/>
                        </a:moveTo>
                        <a:lnTo>
                          <a:pt x="3254" y="4348"/>
                        </a:lnTo>
                        <a:lnTo>
                          <a:pt x="3262" y="4344"/>
                        </a:lnTo>
                        <a:lnTo>
                          <a:pt x="3272" y="4366"/>
                        </a:lnTo>
                        <a:lnTo>
                          <a:pt x="3264" y="4368"/>
                        </a:lnTo>
                        <a:close/>
                        <a:moveTo>
                          <a:pt x="1310" y="4364"/>
                        </a:moveTo>
                        <a:lnTo>
                          <a:pt x="1302" y="4360"/>
                        </a:lnTo>
                        <a:lnTo>
                          <a:pt x="1314" y="4340"/>
                        </a:lnTo>
                        <a:lnTo>
                          <a:pt x="1320" y="4342"/>
                        </a:lnTo>
                        <a:lnTo>
                          <a:pt x="1310" y="4364"/>
                        </a:lnTo>
                        <a:close/>
                        <a:moveTo>
                          <a:pt x="3364" y="4318"/>
                        </a:moveTo>
                        <a:lnTo>
                          <a:pt x="3354" y="4298"/>
                        </a:lnTo>
                        <a:lnTo>
                          <a:pt x="3360" y="4294"/>
                        </a:lnTo>
                        <a:lnTo>
                          <a:pt x="3372" y="4314"/>
                        </a:lnTo>
                        <a:lnTo>
                          <a:pt x="3364" y="4318"/>
                        </a:lnTo>
                        <a:close/>
                        <a:moveTo>
                          <a:pt x="1210" y="4314"/>
                        </a:moveTo>
                        <a:lnTo>
                          <a:pt x="1202" y="4310"/>
                        </a:lnTo>
                        <a:lnTo>
                          <a:pt x="1214" y="4288"/>
                        </a:lnTo>
                        <a:lnTo>
                          <a:pt x="1222" y="4292"/>
                        </a:lnTo>
                        <a:lnTo>
                          <a:pt x="1210" y="4314"/>
                        </a:lnTo>
                        <a:close/>
                        <a:moveTo>
                          <a:pt x="3462" y="4264"/>
                        </a:moveTo>
                        <a:lnTo>
                          <a:pt x="3450" y="4242"/>
                        </a:lnTo>
                        <a:lnTo>
                          <a:pt x="3458" y="4238"/>
                        </a:lnTo>
                        <a:lnTo>
                          <a:pt x="3470" y="4260"/>
                        </a:lnTo>
                        <a:lnTo>
                          <a:pt x="3462" y="4264"/>
                        </a:lnTo>
                        <a:close/>
                        <a:moveTo>
                          <a:pt x="1112" y="4258"/>
                        </a:moveTo>
                        <a:lnTo>
                          <a:pt x="1104" y="4254"/>
                        </a:lnTo>
                        <a:lnTo>
                          <a:pt x="1118" y="4234"/>
                        </a:lnTo>
                        <a:lnTo>
                          <a:pt x="1124" y="4238"/>
                        </a:lnTo>
                        <a:lnTo>
                          <a:pt x="1112" y="4258"/>
                        </a:lnTo>
                        <a:close/>
                        <a:moveTo>
                          <a:pt x="3558" y="4204"/>
                        </a:moveTo>
                        <a:lnTo>
                          <a:pt x="3544" y="4184"/>
                        </a:lnTo>
                        <a:lnTo>
                          <a:pt x="3552" y="4180"/>
                        </a:lnTo>
                        <a:lnTo>
                          <a:pt x="3564" y="4200"/>
                        </a:lnTo>
                        <a:lnTo>
                          <a:pt x="3558" y="4204"/>
                        </a:lnTo>
                        <a:close/>
                        <a:moveTo>
                          <a:pt x="1016" y="4198"/>
                        </a:moveTo>
                        <a:lnTo>
                          <a:pt x="1010" y="4192"/>
                        </a:lnTo>
                        <a:lnTo>
                          <a:pt x="1024" y="4172"/>
                        </a:lnTo>
                        <a:lnTo>
                          <a:pt x="1030" y="4178"/>
                        </a:lnTo>
                        <a:lnTo>
                          <a:pt x="1016" y="4198"/>
                        </a:lnTo>
                        <a:close/>
                        <a:moveTo>
                          <a:pt x="3650" y="4140"/>
                        </a:moveTo>
                        <a:lnTo>
                          <a:pt x="3636" y="4120"/>
                        </a:lnTo>
                        <a:lnTo>
                          <a:pt x="3642" y="4116"/>
                        </a:lnTo>
                        <a:lnTo>
                          <a:pt x="3656" y="4134"/>
                        </a:lnTo>
                        <a:lnTo>
                          <a:pt x="3650" y="4140"/>
                        </a:lnTo>
                        <a:close/>
                        <a:moveTo>
                          <a:pt x="924" y="4132"/>
                        </a:moveTo>
                        <a:lnTo>
                          <a:pt x="918" y="4128"/>
                        </a:lnTo>
                        <a:lnTo>
                          <a:pt x="932" y="4108"/>
                        </a:lnTo>
                        <a:lnTo>
                          <a:pt x="938" y="4114"/>
                        </a:lnTo>
                        <a:lnTo>
                          <a:pt x="924" y="4132"/>
                        </a:lnTo>
                        <a:close/>
                        <a:moveTo>
                          <a:pt x="3740" y="4070"/>
                        </a:moveTo>
                        <a:lnTo>
                          <a:pt x="3724" y="4052"/>
                        </a:lnTo>
                        <a:lnTo>
                          <a:pt x="3730" y="4046"/>
                        </a:lnTo>
                        <a:lnTo>
                          <a:pt x="3746" y="4066"/>
                        </a:lnTo>
                        <a:lnTo>
                          <a:pt x="3740" y="4070"/>
                        </a:lnTo>
                        <a:close/>
                        <a:moveTo>
                          <a:pt x="836" y="4062"/>
                        </a:moveTo>
                        <a:lnTo>
                          <a:pt x="830" y="4058"/>
                        </a:lnTo>
                        <a:lnTo>
                          <a:pt x="846" y="4040"/>
                        </a:lnTo>
                        <a:lnTo>
                          <a:pt x="852" y="4044"/>
                        </a:lnTo>
                        <a:lnTo>
                          <a:pt x="836" y="4062"/>
                        </a:lnTo>
                        <a:close/>
                        <a:moveTo>
                          <a:pt x="3824" y="3998"/>
                        </a:moveTo>
                        <a:lnTo>
                          <a:pt x="3808" y="3980"/>
                        </a:lnTo>
                        <a:lnTo>
                          <a:pt x="3814" y="3974"/>
                        </a:lnTo>
                        <a:lnTo>
                          <a:pt x="3830" y="3992"/>
                        </a:lnTo>
                        <a:lnTo>
                          <a:pt x="3824" y="3998"/>
                        </a:lnTo>
                        <a:close/>
                        <a:moveTo>
                          <a:pt x="750" y="3990"/>
                        </a:moveTo>
                        <a:lnTo>
                          <a:pt x="744" y="3984"/>
                        </a:lnTo>
                        <a:lnTo>
                          <a:pt x="762" y="3966"/>
                        </a:lnTo>
                        <a:lnTo>
                          <a:pt x="766" y="3972"/>
                        </a:lnTo>
                        <a:lnTo>
                          <a:pt x="750" y="3990"/>
                        </a:lnTo>
                        <a:close/>
                        <a:moveTo>
                          <a:pt x="3906" y="3920"/>
                        </a:moveTo>
                        <a:lnTo>
                          <a:pt x="3890" y="3902"/>
                        </a:lnTo>
                        <a:lnTo>
                          <a:pt x="3896" y="3898"/>
                        </a:lnTo>
                        <a:lnTo>
                          <a:pt x="3912" y="3914"/>
                        </a:lnTo>
                        <a:lnTo>
                          <a:pt x="3906" y="3920"/>
                        </a:lnTo>
                        <a:close/>
                        <a:moveTo>
                          <a:pt x="670" y="3912"/>
                        </a:moveTo>
                        <a:lnTo>
                          <a:pt x="664" y="3906"/>
                        </a:lnTo>
                        <a:lnTo>
                          <a:pt x="680" y="3888"/>
                        </a:lnTo>
                        <a:lnTo>
                          <a:pt x="686" y="3894"/>
                        </a:lnTo>
                        <a:lnTo>
                          <a:pt x="670" y="3912"/>
                        </a:lnTo>
                        <a:close/>
                        <a:moveTo>
                          <a:pt x="3984" y="3838"/>
                        </a:moveTo>
                        <a:lnTo>
                          <a:pt x="3966" y="3822"/>
                        </a:lnTo>
                        <a:lnTo>
                          <a:pt x="3972" y="3816"/>
                        </a:lnTo>
                        <a:lnTo>
                          <a:pt x="3990" y="3832"/>
                        </a:lnTo>
                        <a:lnTo>
                          <a:pt x="3984" y="3838"/>
                        </a:lnTo>
                        <a:close/>
                        <a:moveTo>
                          <a:pt x="592" y="3830"/>
                        </a:moveTo>
                        <a:lnTo>
                          <a:pt x="586" y="3824"/>
                        </a:lnTo>
                        <a:lnTo>
                          <a:pt x="604" y="3808"/>
                        </a:lnTo>
                        <a:lnTo>
                          <a:pt x="610" y="3814"/>
                        </a:lnTo>
                        <a:lnTo>
                          <a:pt x="592" y="3830"/>
                        </a:lnTo>
                        <a:close/>
                        <a:moveTo>
                          <a:pt x="4058" y="3754"/>
                        </a:moveTo>
                        <a:lnTo>
                          <a:pt x="4040" y="3738"/>
                        </a:lnTo>
                        <a:lnTo>
                          <a:pt x="4044" y="3732"/>
                        </a:lnTo>
                        <a:lnTo>
                          <a:pt x="4064" y="3748"/>
                        </a:lnTo>
                        <a:lnTo>
                          <a:pt x="4058" y="3754"/>
                        </a:lnTo>
                        <a:close/>
                        <a:moveTo>
                          <a:pt x="518" y="3744"/>
                        </a:moveTo>
                        <a:lnTo>
                          <a:pt x="514" y="3738"/>
                        </a:lnTo>
                        <a:lnTo>
                          <a:pt x="532" y="3724"/>
                        </a:lnTo>
                        <a:lnTo>
                          <a:pt x="536" y="3730"/>
                        </a:lnTo>
                        <a:lnTo>
                          <a:pt x="518" y="3744"/>
                        </a:lnTo>
                        <a:close/>
                        <a:moveTo>
                          <a:pt x="4128" y="3666"/>
                        </a:moveTo>
                        <a:lnTo>
                          <a:pt x="4108" y="3650"/>
                        </a:lnTo>
                        <a:lnTo>
                          <a:pt x="4114" y="3644"/>
                        </a:lnTo>
                        <a:lnTo>
                          <a:pt x="4132" y="3658"/>
                        </a:lnTo>
                        <a:lnTo>
                          <a:pt x="4128" y="3666"/>
                        </a:lnTo>
                        <a:close/>
                        <a:moveTo>
                          <a:pt x="450" y="3656"/>
                        </a:moveTo>
                        <a:lnTo>
                          <a:pt x="444" y="3650"/>
                        </a:lnTo>
                        <a:lnTo>
                          <a:pt x="464" y="3636"/>
                        </a:lnTo>
                        <a:lnTo>
                          <a:pt x="468" y="3642"/>
                        </a:lnTo>
                        <a:lnTo>
                          <a:pt x="450" y="3656"/>
                        </a:lnTo>
                        <a:close/>
                        <a:moveTo>
                          <a:pt x="4194" y="3574"/>
                        </a:moveTo>
                        <a:lnTo>
                          <a:pt x="4174" y="3560"/>
                        </a:lnTo>
                        <a:lnTo>
                          <a:pt x="4178" y="3554"/>
                        </a:lnTo>
                        <a:lnTo>
                          <a:pt x="4198" y="3566"/>
                        </a:lnTo>
                        <a:lnTo>
                          <a:pt x="4194" y="3574"/>
                        </a:lnTo>
                        <a:close/>
                        <a:moveTo>
                          <a:pt x="384" y="3564"/>
                        </a:moveTo>
                        <a:lnTo>
                          <a:pt x="380" y="3558"/>
                        </a:lnTo>
                        <a:lnTo>
                          <a:pt x="400" y="3544"/>
                        </a:lnTo>
                        <a:lnTo>
                          <a:pt x="404" y="3550"/>
                        </a:lnTo>
                        <a:lnTo>
                          <a:pt x="384" y="3564"/>
                        </a:lnTo>
                        <a:close/>
                        <a:moveTo>
                          <a:pt x="4254" y="3478"/>
                        </a:moveTo>
                        <a:lnTo>
                          <a:pt x="4234" y="3466"/>
                        </a:lnTo>
                        <a:lnTo>
                          <a:pt x="4238" y="3460"/>
                        </a:lnTo>
                        <a:lnTo>
                          <a:pt x="4258" y="3472"/>
                        </a:lnTo>
                        <a:lnTo>
                          <a:pt x="4254" y="3478"/>
                        </a:lnTo>
                        <a:close/>
                        <a:moveTo>
                          <a:pt x="324" y="3470"/>
                        </a:moveTo>
                        <a:lnTo>
                          <a:pt x="320" y="3462"/>
                        </a:lnTo>
                        <a:lnTo>
                          <a:pt x="340" y="3450"/>
                        </a:lnTo>
                        <a:lnTo>
                          <a:pt x="344" y="3456"/>
                        </a:lnTo>
                        <a:lnTo>
                          <a:pt x="324" y="3470"/>
                        </a:lnTo>
                        <a:close/>
                        <a:moveTo>
                          <a:pt x="4310" y="3380"/>
                        </a:moveTo>
                        <a:lnTo>
                          <a:pt x="4288" y="3370"/>
                        </a:lnTo>
                        <a:lnTo>
                          <a:pt x="4292" y="3362"/>
                        </a:lnTo>
                        <a:lnTo>
                          <a:pt x="4314" y="3374"/>
                        </a:lnTo>
                        <a:lnTo>
                          <a:pt x="4310" y="3380"/>
                        </a:lnTo>
                        <a:close/>
                        <a:moveTo>
                          <a:pt x="268" y="3372"/>
                        </a:moveTo>
                        <a:lnTo>
                          <a:pt x="266" y="3364"/>
                        </a:lnTo>
                        <a:lnTo>
                          <a:pt x="286" y="3354"/>
                        </a:lnTo>
                        <a:lnTo>
                          <a:pt x="290" y="3360"/>
                        </a:lnTo>
                        <a:lnTo>
                          <a:pt x="268" y="3372"/>
                        </a:lnTo>
                        <a:close/>
                        <a:moveTo>
                          <a:pt x="4362" y="3280"/>
                        </a:moveTo>
                        <a:lnTo>
                          <a:pt x="4340" y="3270"/>
                        </a:lnTo>
                        <a:lnTo>
                          <a:pt x="4342" y="3262"/>
                        </a:lnTo>
                        <a:lnTo>
                          <a:pt x="4364" y="3274"/>
                        </a:lnTo>
                        <a:lnTo>
                          <a:pt x="4362" y="3280"/>
                        </a:lnTo>
                        <a:close/>
                        <a:moveTo>
                          <a:pt x="218" y="3272"/>
                        </a:moveTo>
                        <a:lnTo>
                          <a:pt x="214" y="3264"/>
                        </a:lnTo>
                        <a:lnTo>
                          <a:pt x="236" y="3254"/>
                        </a:lnTo>
                        <a:lnTo>
                          <a:pt x="240" y="3260"/>
                        </a:lnTo>
                        <a:lnTo>
                          <a:pt x="218" y="3272"/>
                        </a:lnTo>
                        <a:close/>
                        <a:moveTo>
                          <a:pt x="4408" y="3178"/>
                        </a:moveTo>
                        <a:lnTo>
                          <a:pt x="4386" y="3168"/>
                        </a:lnTo>
                        <a:lnTo>
                          <a:pt x="4388" y="3160"/>
                        </a:lnTo>
                        <a:lnTo>
                          <a:pt x="4410" y="3170"/>
                        </a:lnTo>
                        <a:lnTo>
                          <a:pt x="4408" y="3178"/>
                        </a:lnTo>
                        <a:close/>
                        <a:moveTo>
                          <a:pt x="172" y="3168"/>
                        </a:moveTo>
                        <a:lnTo>
                          <a:pt x="170" y="3162"/>
                        </a:lnTo>
                        <a:lnTo>
                          <a:pt x="192" y="3152"/>
                        </a:lnTo>
                        <a:lnTo>
                          <a:pt x="196" y="3160"/>
                        </a:lnTo>
                        <a:lnTo>
                          <a:pt x="172" y="3168"/>
                        </a:lnTo>
                        <a:close/>
                        <a:moveTo>
                          <a:pt x="4448" y="3072"/>
                        </a:moveTo>
                        <a:lnTo>
                          <a:pt x="4426" y="3064"/>
                        </a:lnTo>
                        <a:lnTo>
                          <a:pt x="4428" y="3056"/>
                        </a:lnTo>
                        <a:lnTo>
                          <a:pt x="4452" y="3064"/>
                        </a:lnTo>
                        <a:lnTo>
                          <a:pt x="4448" y="3072"/>
                        </a:lnTo>
                        <a:close/>
                        <a:moveTo>
                          <a:pt x="132" y="3064"/>
                        </a:moveTo>
                        <a:lnTo>
                          <a:pt x="130" y="3056"/>
                        </a:lnTo>
                        <a:lnTo>
                          <a:pt x="152" y="3048"/>
                        </a:lnTo>
                        <a:lnTo>
                          <a:pt x="156" y="3056"/>
                        </a:lnTo>
                        <a:lnTo>
                          <a:pt x="132" y="3064"/>
                        </a:lnTo>
                        <a:close/>
                        <a:moveTo>
                          <a:pt x="4484" y="2966"/>
                        </a:moveTo>
                        <a:lnTo>
                          <a:pt x="4462" y="2958"/>
                        </a:lnTo>
                        <a:lnTo>
                          <a:pt x="4464" y="2950"/>
                        </a:lnTo>
                        <a:lnTo>
                          <a:pt x="4486" y="2958"/>
                        </a:lnTo>
                        <a:lnTo>
                          <a:pt x="4484" y="2966"/>
                        </a:lnTo>
                        <a:close/>
                        <a:moveTo>
                          <a:pt x="98" y="2956"/>
                        </a:moveTo>
                        <a:lnTo>
                          <a:pt x="94" y="2948"/>
                        </a:lnTo>
                        <a:lnTo>
                          <a:pt x="118" y="2942"/>
                        </a:lnTo>
                        <a:lnTo>
                          <a:pt x="120" y="2950"/>
                        </a:lnTo>
                        <a:lnTo>
                          <a:pt x="98" y="2956"/>
                        </a:lnTo>
                        <a:close/>
                        <a:moveTo>
                          <a:pt x="4514" y="2856"/>
                        </a:moveTo>
                        <a:lnTo>
                          <a:pt x="4492" y="2852"/>
                        </a:lnTo>
                        <a:lnTo>
                          <a:pt x="4494" y="2844"/>
                        </a:lnTo>
                        <a:lnTo>
                          <a:pt x="4516" y="2850"/>
                        </a:lnTo>
                        <a:lnTo>
                          <a:pt x="4514" y="2856"/>
                        </a:lnTo>
                        <a:close/>
                        <a:moveTo>
                          <a:pt x="68" y="2848"/>
                        </a:moveTo>
                        <a:lnTo>
                          <a:pt x="66" y="2840"/>
                        </a:lnTo>
                        <a:lnTo>
                          <a:pt x="88" y="2834"/>
                        </a:lnTo>
                        <a:lnTo>
                          <a:pt x="90" y="2842"/>
                        </a:lnTo>
                        <a:lnTo>
                          <a:pt x="68" y="2848"/>
                        </a:lnTo>
                        <a:close/>
                        <a:moveTo>
                          <a:pt x="4540" y="2748"/>
                        </a:moveTo>
                        <a:lnTo>
                          <a:pt x="4516" y="2742"/>
                        </a:lnTo>
                        <a:lnTo>
                          <a:pt x="4518" y="2734"/>
                        </a:lnTo>
                        <a:lnTo>
                          <a:pt x="4540" y="2740"/>
                        </a:lnTo>
                        <a:lnTo>
                          <a:pt x="4540" y="2748"/>
                        </a:lnTo>
                        <a:close/>
                        <a:moveTo>
                          <a:pt x="42" y="2738"/>
                        </a:moveTo>
                        <a:lnTo>
                          <a:pt x="42" y="2730"/>
                        </a:lnTo>
                        <a:lnTo>
                          <a:pt x="64" y="2726"/>
                        </a:lnTo>
                        <a:lnTo>
                          <a:pt x="66" y="2734"/>
                        </a:lnTo>
                        <a:lnTo>
                          <a:pt x="42" y="2738"/>
                        </a:lnTo>
                        <a:close/>
                        <a:moveTo>
                          <a:pt x="4558" y="2636"/>
                        </a:moveTo>
                        <a:lnTo>
                          <a:pt x="4536" y="2632"/>
                        </a:lnTo>
                        <a:lnTo>
                          <a:pt x="4536" y="2624"/>
                        </a:lnTo>
                        <a:lnTo>
                          <a:pt x="4560" y="2628"/>
                        </a:lnTo>
                        <a:lnTo>
                          <a:pt x="4558" y="2636"/>
                        </a:lnTo>
                        <a:close/>
                        <a:moveTo>
                          <a:pt x="24" y="2628"/>
                        </a:moveTo>
                        <a:lnTo>
                          <a:pt x="22" y="2620"/>
                        </a:lnTo>
                        <a:lnTo>
                          <a:pt x="46" y="2616"/>
                        </a:lnTo>
                        <a:lnTo>
                          <a:pt x="48" y="2624"/>
                        </a:lnTo>
                        <a:lnTo>
                          <a:pt x="24" y="2628"/>
                        </a:lnTo>
                        <a:close/>
                        <a:moveTo>
                          <a:pt x="4572" y="2524"/>
                        </a:moveTo>
                        <a:lnTo>
                          <a:pt x="4550" y="2522"/>
                        </a:lnTo>
                        <a:lnTo>
                          <a:pt x="4550" y="2514"/>
                        </a:lnTo>
                        <a:lnTo>
                          <a:pt x="4574" y="2516"/>
                        </a:lnTo>
                        <a:lnTo>
                          <a:pt x="4572" y="2524"/>
                        </a:lnTo>
                        <a:close/>
                        <a:moveTo>
                          <a:pt x="10" y="2516"/>
                        </a:moveTo>
                        <a:lnTo>
                          <a:pt x="10" y="2508"/>
                        </a:lnTo>
                        <a:lnTo>
                          <a:pt x="34" y="2506"/>
                        </a:lnTo>
                        <a:lnTo>
                          <a:pt x="34" y="2514"/>
                        </a:lnTo>
                        <a:lnTo>
                          <a:pt x="10" y="2516"/>
                        </a:lnTo>
                        <a:close/>
                        <a:moveTo>
                          <a:pt x="4582" y="2412"/>
                        </a:moveTo>
                        <a:lnTo>
                          <a:pt x="4558" y="2412"/>
                        </a:lnTo>
                        <a:lnTo>
                          <a:pt x="4558" y="2404"/>
                        </a:lnTo>
                        <a:lnTo>
                          <a:pt x="4582" y="2404"/>
                        </a:lnTo>
                        <a:lnTo>
                          <a:pt x="4582" y="2412"/>
                        </a:lnTo>
                        <a:close/>
                        <a:moveTo>
                          <a:pt x="2" y="2404"/>
                        </a:moveTo>
                        <a:lnTo>
                          <a:pt x="2" y="2396"/>
                        </a:lnTo>
                        <a:lnTo>
                          <a:pt x="26" y="2394"/>
                        </a:lnTo>
                        <a:lnTo>
                          <a:pt x="26" y="2402"/>
                        </a:lnTo>
                        <a:lnTo>
                          <a:pt x="2" y="2404"/>
                        </a:lnTo>
                        <a:close/>
                        <a:moveTo>
                          <a:pt x="4584" y="2300"/>
                        </a:moveTo>
                        <a:lnTo>
                          <a:pt x="4560" y="2300"/>
                        </a:lnTo>
                        <a:lnTo>
                          <a:pt x="4560" y="2292"/>
                        </a:lnTo>
                        <a:lnTo>
                          <a:pt x="4584" y="2292"/>
                        </a:lnTo>
                        <a:lnTo>
                          <a:pt x="4584" y="2300"/>
                        </a:lnTo>
                        <a:close/>
                        <a:moveTo>
                          <a:pt x="24" y="2290"/>
                        </a:moveTo>
                        <a:lnTo>
                          <a:pt x="0" y="2290"/>
                        </a:lnTo>
                        <a:lnTo>
                          <a:pt x="0" y="2282"/>
                        </a:lnTo>
                        <a:lnTo>
                          <a:pt x="24" y="2282"/>
                        </a:lnTo>
                        <a:lnTo>
                          <a:pt x="24" y="2290"/>
                        </a:lnTo>
                        <a:close/>
                        <a:moveTo>
                          <a:pt x="4558" y="2190"/>
                        </a:moveTo>
                        <a:lnTo>
                          <a:pt x="4558" y="2184"/>
                        </a:lnTo>
                        <a:lnTo>
                          <a:pt x="4582" y="2182"/>
                        </a:lnTo>
                        <a:lnTo>
                          <a:pt x="4582" y="2190"/>
                        </a:lnTo>
                        <a:lnTo>
                          <a:pt x="4558" y="2190"/>
                        </a:lnTo>
                        <a:close/>
                        <a:moveTo>
                          <a:pt x="26" y="2180"/>
                        </a:moveTo>
                        <a:lnTo>
                          <a:pt x="2" y="2178"/>
                        </a:lnTo>
                        <a:lnTo>
                          <a:pt x="2" y="2170"/>
                        </a:lnTo>
                        <a:lnTo>
                          <a:pt x="26" y="2172"/>
                        </a:lnTo>
                        <a:lnTo>
                          <a:pt x="26" y="2180"/>
                        </a:lnTo>
                        <a:close/>
                        <a:moveTo>
                          <a:pt x="4550" y="2080"/>
                        </a:moveTo>
                        <a:lnTo>
                          <a:pt x="4550" y="2072"/>
                        </a:lnTo>
                        <a:lnTo>
                          <a:pt x="4574" y="2070"/>
                        </a:lnTo>
                        <a:lnTo>
                          <a:pt x="4574" y="2078"/>
                        </a:lnTo>
                        <a:lnTo>
                          <a:pt x="4550" y="2080"/>
                        </a:lnTo>
                        <a:close/>
                        <a:moveTo>
                          <a:pt x="34" y="2068"/>
                        </a:moveTo>
                        <a:lnTo>
                          <a:pt x="10" y="2066"/>
                        </a:lnTo>
                        <a:lnTo>
                          <a:pt x="12" y="2058"/>
                        </a:lnTo>
                        <a:lnTo>
                          <a:pt x="36" y="2060"/>
                        </a:lnTo>
                        <a:lnTo>
                          <a:pt x="34" y="2068"/>
                        </a:lnTo>
                        <a:close/>
                        <a:moveTo>
                          <a:pt x="4538" y="1970"/>
                        </a:moveTo>
                        <a:lnTo>
                          <a:pt x="4536" y="1962"/>
                        </a:lnTo>
                        <a:lnTo>
                          <a:pt x="4560" y="1958"/>
                        </a:lnTo>
                        <a:lnTo>
                          <a:pt x="4562" y="1966"/>
                        </a:lnTo>
                        <a:lnTo>
                          <a:pt x="4538" y="1970"/>
                        </a:lnTo>
                        <a:close/>
                        <a:moveTo>
                          <a:pt x="48" y="1958"/>
                        </a:moveTo>
                        <a:lnTo>
                          <a:pt x="24" y="1954"/>
                        </a:lnTo>
                        <a:lnTo>
                          <a:pt x="26" y="1946"/>
                        </a:lnTo>
                        <a:lnTo>
                          <a:pt x="50" y="1950"/>
                        </a:lnTo>
                        <a:lnTo>
                          <a:pt x="48" y="1958"/>
                        </a:lnTo>
                        <a:close/>
                        <a:moveTo>
                          <a:pt x="4520" y="1860"/>
                        </a:moveTo>
                        <a:lnTo>
                          <a:pt x="4518" y="1852"/>
                        </a:lnTo>
                        <a:lnTo>
                          <a:pt x="4542" y="1846"/>
                        </a:lnTo>
                        <a:lnTo>
                          <a:pt x="4542" y="1854"/>
                        </a:lnTo>
                        <a:lnTo>
                          <a:pt x="4520" y="1860"/>
                        </a:lnTo>
                        <a:close/>
                        <a:moveTo>
                          <a:pt x="66" y="1848"/>
                        </a:moveTo>
                        <a:lnTo>
                          <a:pt x="44" y="1844"/>
                        </a:lnTo>
                        <a:lnTo>
                          <a:pt x="44" y="1836"/>
                        </a:lnTo>
                        <a:lnTo>
                          <a:pt x="68" y="1840"/>
                        </a:lnTo>
                        <a:lnTo>
                          <a:pt x="66" y="1848"/>
                        </a:lnTo>
                        <a:close/>
                        <a:moveTo>
                          <a:pt x="4496" y="1750"/>
                        </a:moveTo>
                        <a:lnTo>
                          <a:pt x="4494" y="1742"/>
                        </a:lnTo>
                        <a:lnTo>
                          <a:pt x="4518" y="1738"/>
                        </a:lnTo>
                        <a:lnTo>
                          <a:pt x="4518" y="1744"/>
                        </a:lnTo>
                        <a:lnTo>
                          <a:pt x="4496" y="1750"/>
                        </a:lnTo>
                        <a:close/>
                        <a:moveTo>
                          <a:pt x="92" y="1740"/>
                        </a:moveTo>
                        <a:lnTo>
                          <a:pt x="68" y="1734"/>
                        </a:lnTo>
                        <a:lnTo>
                          <a:pt x="70" y="1726"/>
                        </a:lnTo>
                        <a:lnTo>
                          <a:pt x="94" y="1732"/>
                        </a:lnTo>
                        <a:lnTo>
                          <a:pt x="92" y="1740"/>
                        </a:lnTo>
                        <a:close/>
                        <a:moveTo>
                          <a:pt x="4466" y="1644"/>
                        </a:moveTo>
                        <a:lnTo>
                          <a:pt x="4464" y="1636"/>
                        </a:lnTo>
                        <a:lnTo>
                          <a:pt x="4488" y="1628"/>
                        </a:lnTo>
                        <a:lnTo>
                          <a:pt x="4490" y="1636"/>
                        </a:lnTo>
                        <a:lnTo>
                          <a:pt x="4466" y="1644"/>
                        </a:lnTo>
                        <a:close/>
                        <a:moveTo>
                          <a:pt x="120" y="1632"/>
                        </a:moveTo>
                        <a:lnTo>
                          <a:pt x="98" y="1626"/>
                        </a:lnTo>
                        <a:lnTo>
                          <a:pt x="100" y="1618"/>
                        </a:lnTo>
                        <a:lnTo>
                          <a:pt x="124" y="1624"/>
                        </a:lnTo>
                        <a:lnTo>
                          <a:pt x="120" y="1632"/>
                        </a:lnTo>
                        <a:close/>
                        <a:moveTo>
                          <a:pt x="4432" y="1538"/>
                        </a:moveTo>
                        <a:lnTo>
                          <a:pt x="4430" y="1530"/>
                        </a:lnTo>
                        <a:lnTo>
                          <a:pt x="4452" y="1522"/>
                        </a:lnTo>
                        <a:lnTo>
                          <a:pt x="4454" y="1530"/>
                        </a:lnTo>
                        <a:lnTo>
                          <a:pt x="4432" y="1538"/>
                        </a:lnTo>
                        <a:close/>
                        <a:moveTo>
                          <a:pt x="156" y="1526"/>
                        </a:moveTo>
                        <a:lnTo>
                          <a:pt x="134" y="1518"/>
                        </a:lnTo>
                        <a:lnTo>
                          <a:pt x="136" y="1510"/>
                        </a:lnTo>
                        <a:lnTo>
                          <a:pt x="158" y="1518"/>
                        </a:lnTo>
                        <a:lnTo>
                          <a:pt x="156" y="1526"/>
                        </a:lnTo>
                        <a:close/>
                        <a:moveTo>
                          <a:pt x="4392" y="1434"/>
                        </a:moveTo>
                        <a:lnTo>
                          <a:pt x="4390" y="1426"/>
                        </a:lnTo>
                        <a:lnTo>
                          <a:pt x="4412" y="1416"/>
                        </a:lnTo>
                        <a:lnTo>
                          <a:pt x="4414" y="1424"/>
                        </a:lnTo>
                        <a:lnTo>
                          <a:pt x="4392" y="1434"/>
                        </a:lnTo>
                        <a:close/>
                        <a:moveTo>
                          <a:pt x="196" y="1422"/>
                        </a:moveTo>
                        <a:lnTo>
                          <a:pt x="174" y="1412"/>
                        </a:lnTo>
                        <a:lnTo>
                          <a:pt x="178" y="1406"/>
                        </a:lnTo>
                        <a:lnTo>
                          <a:pt x="200" y="1414"/>
                        </a:lnTo>
                        <a:lnTo>
                          <a:pt x="196" y="1422"/>
                        </a:lnTo>
                        <a:close/>
                        <a:moveTo>
                          <a:pt x="4348" y="1332"/>
                        </a:moveTo>
                        <a:lnTo>
                          <a:pt x="4344" y="1324"/>
                        </a:lnTo>
                        <a:lnTo>
                          <a:pt x="4366" y="1314"/>
                        </a:lnTo>
                        <a:lnTo>
                          <a:pt x="4370" y="1322"/>
                        </a:lnTo>
                        <a:lnTo>
                          <a:pt x="4348" y="1332"/>
                        </a:lnTo>
                        <a:close/>
                        <a:moveTo>
                          <a:pt x="242" y="1320"/>
                        </a:moveTo>
                        <a:lnTo>
                          <a:pt x="220" y="1310"/>
                        </a:lnTo>
                        <a:lnTo>
                          <a:pt x="224" y="1302"/>
                        </a:lnTo>
                        <a:lnTo>
                          <a:pt x="246" y="1312"/>
                        </a:lnTo>
                        <a:lnTo>
                          <a:pt x="242" y="1320"/>
                        </a:lnTo>
                        <a:close/>
                        <a:moveTo>
                          <a:pt x="4298" y="1232"/>
                        </a:moveTo>
                        <a:lnTo>
                          <a:pt x="4294" y="1224"/>
                        </a:lnTo>
                        <a:lnTo>
                          <a:pt x="4316" y="1214"/>
                        </a:lnTo>
                        <a:lnTo>
                          <a:pt x="4320" y="1220"/>
                        </a:lnTo>
                        <a:lnTo>
                          <a:pt x="4298" y="1232"/>
                        </a:lnTo>
                        <a:close/>
                        <a:moveTo>
                          <a:pt x="292" y="1220"/>
                        </a:moveTo>
                        <a:lnTo>
                          <a:pt x="270" y="1210"/>
                        </a:lnTo>
                        <a:lnTo>
                          <a:pt x="274" y="1202"/>
                        </a:lnTo>
                        <a:lnTo>
                          <a:pt x="296" y="1214"/>
                        </a:lnTo>
                        <a:lnTo>
                          <a:pt x="292" y="1220"/>
                        </a:lnTo>
                        <a:close/>
                        <a:moveTo>
                          <a:pt x="4244" y="1136"/>
                        </a:moveTo>
                        <a:lnTo>
                          <a:pt x="4240" y="1128"/>
                        </a:lnTo>
                        <a:lnTo>
                          <a:pt x="4260" y="1116"/>
                        </a:lnTo>
                        <a:lnTo>
                          <a:pt x="4264" y="1122"/>
                        </a:lnTo>
                        <a:lnTo>
                          <a:pt x="4244" y="1136"/>
                        </a:lnTo>
                        <a:close/>
                        <a:moveTo>
                          <a:pt x="348" y="1124"/>
                        </a:moveTo>
                        <a:lnTo>
                          <a:pt x="326" y="1112"/>
                        </a:lnTo>
                        <a:lnTo>
                          <a:pt x="330" y="1104"/>
                        </a:lnTo>
                        <a:lnTo>
                          <a:pt x="352" y="1116"/>
                        </a:lnTo>
                        <a:lnTo>
                          <a:pt x="348" y="1124"/>
                        </a:lnTo>
                        <a:close/>
                        <a:moveTo>
                          <a:pt x="4184" y="1040"/>
                        </a:moveTo>
                        <a:lnTo>
                          <a:pt x="4180" y="1034"/>
                        </a:lnTo>
                        <a:lnTo>
                          <a:pt x="4200" y="1020"/>
                        </a:lnTo>
                        <a:lnTo>
                          <a:pt x="4204" y="1028"/>
                        </a:lnTo>
                        <a:lnTo>
                          <a:pt x="4184" y="1040"/>
                        </a:lnTo>
                        <a:close/>
                        <a:moveTo>
                          <a:pt x="406" y="1030"/>
                        </a:moveTo>
                        <a:lnTo>
                          <a:pt x="386" y="1016"/>
                        </a:lnTo>
                        <a:lnTo>
                          <a:pt x="392" y="1010"/>
                        </a:lnTo>
                        <a:lnTo>
                          <a:pt x="412" y="1022"/>
                        </a:lnTo>
                        <a:lnTo>
                          <a:pt x="406" y="1030"/>
                        </a:lnTo>
                        <a:close/>
                        <a:moveTo>
                          <a:pt x="4120" y="950"/>
                        </a:moveTo>
                        <a:lnTo>
                          <a:pt x="4116" y="944"/>
                        </a:lnTo>
                        <a:lnTo>
                          <a:pt x="4136" y="928"/>
                        </a:lnTo>
                        <a:lnTo>
                          <a:pt x="4140" y="936"/>
                        </a:lnTo>
                        <a:lnTo>
                          <a:pt x="4120" y="950"/>
                        </a:lnTo>
                        <a:close/>
                        <a:moveTo>
                          <a:pt x="472" y="938"/>
                        </a:moveTo>
                        <a:lnTo>
                          <a:pt x="452" y="924"/>
                        </a:lnTo>
                        <a:lnTo>
                          <a:pt x="456" y="918"/>
                        </a:lnTo>
                        <a:lnTo>
                          <a:pt x="476" y="932"/>
                        </a:lnTo>
                        <a:lnTo>
                          <a:pt x="472" y="938"/>
                        </a:lnTo>
                        <a:close/>
                        <a:moveTo>
                          <a:pt x="4052" y="862"/>
                        </a:moveTo>
                        <a:lnTo>
                          <a:pt x="4048" y="856"/>
                        </a:lnTo>
                        <a:lnTo>
                          <a:pt x="4066" y="840"/>
                        </a:lnTo>
                        <a:lnTo>
                          <a:pt x="4072" y="846"/>
                        </a:lnTo>
                        <a:lnTo>
                          <a:pt x="4052" y="862"/>
                        </a:lnTo>
                        <a:close/>
                        <a:moveTo>
                          <a:pt x="540" y="850"/>
                        </a:moveTo>
                        <a:lnTo>
                          <a:pt x="522" y="836"/>
                        </a:lnTo>
                        <a:lnTo>
                          <a:pt x="526" y="830"/>
                        </a:lnTo>
                        <a:lnTo>
                          <a:pt x="546" y="844"/>
                        </a:lnTo>
                        <a:lnTo>
                          <a:pt x="540" y="850"/>
                        </a:lnTo>
                        <a:close/>
                        <a:moveTo>
                          <a:pt x="3980" y="776"/>
                        </a:moveTo>
                        <a:lnTo>
                          <a:pt x="3976" y="770"/>
                        </a:lnTo>
                        <a:lnTo>
                          <a:pt x="3992" y="754"/>
                        </a:lnTo>
                        <a:lnTo>
                          <a:pt x="3998" y="760"/>
                        </a:lnTo>
                        <a:lnTo>
                          <a:pt x="3980" y="776"/>
                        </a:lnTo>
                        <a:close/>
                        <a:moveTo>
                          <a:pt x="612" y="766"/>
                        </a:moveTo>
                        <a:lnTo>
                          <a:pt x="596" y="750"/>
                        </a:lnTo>
                        <a:lnTo>
                          <a:pt x="600" y="744"/>
                        </a:lnTo>
                        <a:lnTo>
                          <a:pt x="618" y="760"/>
                        </a:lnTo>
                        <a:lnTo>
                          <a:pt x="612" y="766"/>
                        </a:lnTo>
                        <a:close/>
                        <a:moveTo>
                          <a:pt x="3904" y="696"/>
                        </a:moveTo>
                        <a:lnTo>
                          <a:pt x="3898" y="690"/>
                        </a:lnTo>
                        <a:lnTo>
                          <a:pt x="3916" y="674"/>
                        </a:lnTo>
                        <a:lnTo>
                          <a:pt x="3922" y="678"/>
                        </a:lnTo>
                        <a:lnTo>
                          <a:pt x="3904" y="696"/>
                        </a:lnTo>
                        <a:close/>
                        <a:moveTo>
                          <a:pt x="690" y="686"/>
                        </a:moveTo>
                        <a:lnTo>
                          <a:pt x="672" y="668"/>
                        </a:lnTo>
                        <a:lnTo>
                          <a:pt x="678" y="664"/>
                        </a:lnTo>
                        <a:lnTo>
                          <a:pt x="696" y="680"/>
                        </a:lnTo>
                        <a:lnTo>
                          <a:pt x="690" y="686"/>
                        </a:lnTo>
                        <a:close/>
                        <a:moveTo>
                          <a:pt x="3824" y="618"/>
                        </a:moveTo>
                        <a:lnTo>
                          <a:pt x="3818" y="614"/>
                        </a:lnTo>
                        <a:lnTo>
                          <a:pt x="3834" y="596"/>
                        </a:lnTo>
                        <a:lnTo>
                          <a:pt x="3840" y="600"/>
                        </a:lnTo>
                        <a:lnTo>
                          <a:pt x="3824" y="618"/>
                        </a:lnTo>
                        <a:close/>
                        <a:moveTo>
                          <a:pt x="770" y="610"/>
                        </a:moveTo>
                        <a:lnTo>
                          <a:pt x="754" y="592"/>
                        </a:lnTo>
                        <a:lnTo>
                          <a:pt x="760" y="586"/>
                        </a:lnTo>
                        <a:lnTo>
                          <a:pt x="776" y="604"/>
                        </a:lnTo>
                        <a:lnTo>
                          <a:pt x="770" y="610"/>
                        </a:lnTo>
                        <a:close/>
                        <a:moveTo>
                          <a:pt x="3740" y="546"/>
                        </a:moveTo>
                        <a:lnTo>
                          <a:pt x="3734" y="540"/>
                        </a:lnTo>
                        <a:lnTo>
                          <a:pt x="3748" y="522"/>
                        </a:lnTo>
                        <a:lnTo>
                          <a:pt x="3756" y="526"/>
                        </a:lnTo>
                        <a:lnTo>
                          <a:pt x="3740" y="546"/>
                        </a:lnTo>
                        <a:close/>
                        <a:moveTo>
                          <a:pt x="854" y="536"/>
                        </a:moveTo>
                        <a:lnTo>
                          <a:pt x="840" y="518"/>
                        </a:lnTo>
                        <a:lnTo>
                          <a:pt x="846" y="512"/>
                        </a:lnTo>
                        <a:lnTo>
                          <a:pt x="862" y="532"/>
                        </a:lnTo>
                        <a:lnTo>
                          <a:pt x="854" y="536"/>
                        </a:lnTo>
                        <a:close/>
                        <a:moveTo>
                          <a:pt x="3652" y="476"/>
                        </a:moveTo>
                        <a:lnTo>
                          <a:pt x="3646" y="472"/>
                        </a:lnTo>
                        <a:lnTo>
                          <a:pt x="3660" y="452"/>
                        </a:lnTo>
                        <a:lnTo>
                          <a:pt x="3666" y="458"/>
                        </a:lnTo>
                        <a:lnTo>
                          <a:pt x="3652" y="476"/>
                        </a:lnTo>
                        <a:close/>
                        <a:moveTo>
                          <a:pt x="942" y="468"/>
                        </a:moveTo>
                        <a:lnTo>
                          <a:pt x="928" y="448"/>
                        </a:lnTo>
                        <a:lnTo>
                          <a:pt x="934" y="444"/>
                        </a:lnTo>
                        <a:lnTo>
                          <a:pt x="950" y="464"/>
                        </a:lnTo>
                        <a:lnTo>
                          <a:pt x="942" y="468"/>
                        </a:lnTo>
                        <a:close/>
                        <a:moveTo>
                          <a:pt x="3562" y="412"/>
                        </a:moveTo>
                        <a:lnTo>
                          <a:pt x="3556" y="408"/>
                        </a:lnTo>
                        <a:lnTo>
                          <a:pt x="3568" y="388"/>
                        </a:lnTo>
                        <a:lnTo>
                          <a:pt x="3576" y="392"/>
                        </a:lnTo>
                        <a:lnTo>
                          <a:pt x="3562" y="412"/>
                        </a:lnTo>
                        <a:close/>
                        <a:moveTo>
                          <a:pt x="1034" y="404"/>
                        </a:moveTo>
                        <a:lnTo>
                          <a:pt x="1020" y="384"/>
                        </a:lnTo>
                        <a:lnTo>
                          <a:pt x="1026" y="380"/>
                        </a:lnTo>
                        <a:lnTo>
                          <a:pt x="1040" y="400"/>
                        </a:lnTo>
                        <a:lnTo>
                          <a:pt x="1034" y="404"/>
                        </a:lnTo>
                        <a:close/>
                        <a:moveTo>
                          <a:pt x="3468" y="352"/>
                        </a:moveTo>
                        <a:lnTo>
                          <a:pt x="3460" y="348"/>
                        </a:lnTo>
                        <a:lnTo>
                          <a:pt x="3474" y="326"/>
                        </a:lnTo>
                        <a:lnTo>
                          <a:pt x="3480" y="330"/>
                        </a:lnTo>
                        <a:lnTo>
                          <a:pt x="3468" y="352"/>
                        </a:lnTo>
                        <a:close/>
                        <a:moveTo>
                          <a:pt x="1128" y="344"/>
                        </a:moveTo>
                        <a:lnTo>
                          <a:pt x="1116" y="324"/>
                        </a:lnTo>
                        <a:lnTo>
                          <a:pt x="1122" y="320"/>
                        </a:lnTo>
                        <a:lnTo>
                          <a:pt x="1134" y="340"/>
                        </a:lnTo>
                        <a:lnTo>
                          <a:pt x="1128" y="344"/>
                        </a:lnTo>
                        <a:close/>
                        <a:moveTo>
                          <a:pt x="3372" y="296"/>
                        </a:moveTo>
                        <a:lnTo>
                          <a:pt x="3364" y="292"/>
                        </a:lnTo>
                        <a:lnTo>
                          <a:pt x="3376" y="272"/>
                        </a:lnTo>
                        <a:lnTo>
                          <a:pt x="3382" y="274"/>
                        </a:lnTo>
                        <a:lnTo>
                          <a:pt x="3372" y="296"/>
                        </a:lnTo>
                        <a:close/>
                        <a:moveTo>
                          <a:pt x="1224" y="290"/>
                        </a:moveTo>
                        <a:lnTo>
                          <a:pt x="1214" y="268"/>
                        </a:lnTo>
                        <a:lnTo>
                          <a:pt x="1220" y="264"/>
                        </a:lnTo>
                        <a:lnTo>
                          <a:pt x="1232" y="286"/>
                        </a:lnTo>
                        <a:lnTo>
                          <a:pt x="1224" y="290"/>
                        </a:lnTo>
                        <a:close/>
                        <a:moveTo>
                          <a:pt x="3272" y="246"/>
                        </a:moveTo>
                        <a:lnTo>
                          <a:pt x="3264" y="242"/>
                        </a:lnTo>
                        <a:lnTo>
                          <a:pt x="3274" y="220"/>
                        </a:lnTo>
                        <a:lnTo>
                          <a:pt x="3282" y="224"/>
                        </a:lnTo>
                        <a:lnTo>
                          <a:pt x="3272" y="246"/>
                        </a:lnTo>
                        <a:close/>
                        <a:moveTo>
                          <a:pt x="1324" y="240"/>
                        </a:moveTo>
                        <a:lnTo>
                          <a:pt x="1314" y="218"/>
                        </a:lnTo>
                        <a:lnTo>
                          <a:pt x="1320" y="214"/>
                        </a:lnTo>
                        <a:lnTo>
                          <a:pt x="1330" y="236"/>
                        </a:lnTo>
                        <a:lnTo>
                          <a:pt x="1324" y="240"/>
                        </a:lnTo>
                        <a:close/>
                        <a:moveTo>
                          <a:pt x="3170" y="200"/>
                        </a:moveTo>
                        <a:lnTo>
                          <a:pt x="3162" y="196"/>
                        </a:lnTo>
                        <a:lnTo>
                          <a:pt x="3172" y="174"/>
                        </a:lnTo>
                        <a:lnTo>
                          <a:pt x="3180" y="178"/>
                        </a:lnTo>
                        <a:lnTo>
                          <a:pt x="3170" y="200"/>
                        </a:lnTo>
                        <a:close/>
                        <a:moveTo>
                          <a:pt x="1426" y="194"/>
                        </a:moveTo>
                        <a:lnTo>
                          <a:pt x="1416" y="172"/>
                        </a:lnTo>
                        <a:lnTo>
                          <a:pt x="1424" y="170"/>
                        </a:lnTo>
                        <a:lnTo>
                          <a:pt x="1432" y="192"/>
                        </a:lnTo>
                        <a:lnTo>
                          <a:pt x="1426" y="194"/>
                        </a:lnTo>
                        <a:close/>
                        <a:moveTo>
                          <a:pt x="3066" y="158"/>
                        </a:moveTo>
                        <a:lnTo>
                          <a:pt x="3058" y="156"/>
                        </a:lnTo>
                        <a:lnTo>
                          <a:pt x="3066" y="134"/>
                        </a:lnTo>
                        <a:lnTo>
                          <a:pt x="3074" y="136"/>
                        </a:lnTo>
                        <a:lnTo>
                          <a:pt x="3066" y="158"/>
                        </a:lnTo>
                        <a:close/>
                        <a:moveTo>
                          <a:pt x="1530" y="154"/>
                        </a:moveTo>
                        <a:lnTo>
                          <a:pt x="1522" y="132"/>
                        </a:lnTo>
                        <a:lnTo>
                          <a:pt x="1528" y="130"/>
                        </a:lnTo>
                        <a:lnTo>
                          <a:pt x="1536" y="152"/>
                        </a:lnTo>
                        <a:lnTo>
                          <a:pt x="1530" y="154"/>
                        </a:lnTo>
                        <a:close/>
                        <a:moveTo>
                          <a:pt x="2960" y="124"/>
                        </a:moveTo>
                        <a:lnTo>
                          <a:pt x="2952" y="122"/>
                        </a:lnTo>
                        <a:lnTo>
                          <a:pt x="2960" y="98"/>
                        </a:lnTo>
                        <a:lnTo>
                          <a:pt x="2968" y="100"/>
                        </a:lnTo>
                        <a:lnTo>
                          <a:pt x="2960" y="124"/>
                        </a:lnTo>
                        <a:close/>
                        <a:moveTo>
                          <a:pt x="1634" y="120"/>
                        </a:moveTo>
                        <a:lnTo>
                          <a:pt x="1628" y="98"/>
                        </a:lnTo>
                        <a:lnTo>
                          <a:pt x="1636" y="94"/>
                        </a:lnTo>
                        <a:lnTo>
                          <a:pt x="1642" y="118"/>
                        </a:lnTo>
                        <a:lnTo>
                          <a:pt x="1634" y="120"/>
                        </a:lnTo>
                        <a:close/>
                        <a:moveTo>
                          <a:pt x="2852" y="94"/>
                        </a:moveTo>
                        <a:lnTo>
                          <a:pt x="2846" y="92"/>
                        </a:lnTo>
                        <a:lnTo>
                          <a:pt x="2850" y="68"/>
                        </a:lnTo>
                        <a:lnTo>
                          <a:pt x="2858" y="70"/>
                        </a:lnTo>
                        <a:lnTo>
                          <a:pt x="2852" y="94"/>
                        </a:lnTo>
                        <a:close/>
                        <a:moveTo>
                          <a:pt x="1742" y="90"/>
                        </a:moveTo>
                        <a:lnTo>
                          <a:pt x="1736" y="68"/>
                        </a:lnTo>
                        <a:lnTo>
                          <a:pt x="1744" y="66"/>
                        </a:lnTo>
                        <a:lnTo>
                          <a:pt x="1750" y="88"/>
                        </a:lnTo>
                        <a:lnTo>
                          <a:pt x="1742" y="90"/>
                        </a:lnTo>
                        <a:close/>
                        <a:moveTo>
                          <a:pt x="2744" y="68"/>
                        </a:moveTo>
                        <a:lnTo>
                          <a:pt x="2736" y="66"/>
                        </a:lnTo>
                        <a:lnTo>
                          <a:pt x="2742" y="44"/>
                        </a:lnTo>
                        <a:lnTo>
                          <a:pt x="2750" y="44"/>
                        </a:lnTo>
                        <a:lnTo>
                          <a:pt x="2744" y="68"/>
                        </a:lnTo>
                        <a:close/>
                        <a:moveTo>
                          <a:pt x="1852" y="66"/>
                        </a:moveTo>
                        <a:lnTo>
                          <a:pt x="1846" y="42"/>
                        </a:lnTo>
                        <a:lnTo>
                          <a:pt x="1854" y="42"/>
                        </a:lnTo>
                        <a:lnTo>
                          <a:pt x="1858" y="64"/>
                        </a:lnTo>
                        <a:lnTo>
                          <a:pt x="1852" y="66"/>
                        </a:lnTo>
                        <a:close/>
                        <a:moveTo>
                          <a:pt x="2634" y="50"/>
                        </a:moveTo>
                        <a:lnTo>
                          <a:pt x="2626" y="48"/>
                        </a:lnTo>
                        <a:lnTo>
                          <a:pt x="2630" y="24"/>
                        </a:lnTo>
                        <a:lnTo>
                          <a:pt x="2638" y="26"/>
                        </a:lnTo>
                        <a:lnTo>
                          <a:pt x="2634" y="50"/>
                        </a:lnTo>
                        <a:close/>
                        <a:moveTo>
                          <a:pt x="1960" y="48"/>
                        </a:moveTo>
                        <a:lnTo>
                          <a:pt x="1958" y="24"/>
                        </a:lnTo>
                        <a:lnTo>
                          <a:pt x="1966" y="22"/>
                        </a:lnTo>
                        <a:lnTo>
                          <a:pt x="1968" y="46"/>
                        </a:lnTo>
                        <a:lnTo>
                          <a:pt x="1960" y="48"/>
                        </a:lnTo>
                        <a:close/>
                        <a:moveTo>
                          <a:pt x="2524" y="36"/>
                        </a:moveTo>
                        <a:lnTo>
                          <a:pt x="2516" y="34"/>
                        </a:lnTo>
                        <a:lnTo>
                          <a:pt x="2518" y="10"/>
                        </a:lnTo>
                        <a:lnTo>
                          <a:pt x="2526" y="12"/>
                        </a:lnTo>
                        <a:lnTo>
                          <a:pt x="2524" y="36"/>
                        </a:lnTo>
                        <a:close/>
                        <a:moveTo>
                          <a:pt x="2072" y="34"/>
                        </a:moveTo>
                        <a:lnTo>
                          <a:pt x="2070" y="10"/>
                        </a:lnTo>
                        <a:lnTo>
                          <a:pt x="2078" y="10"/>
                        </a:lnTo>
                        <a:lnTo>
                          <a:pt x="2080" y="34"/>
                        </a:lnTo>
                        <a:lnTo>
                          <a:pt x="2072" y="34"/>
                        </a:lnTo>
                        <a:close/>
                        <a:moveTo>
                          <a:pt x="2414" y="26"/>
                        </a:moveTo>
                        <a:lnTo>
                          <a:pt x="2406" y="26"/>
                        </a:lnTo>
                        <a:lnTo>
                          <a:pt x="2406" y="2"/>
                        </a:lnTo>
                        <a:lnTo>
                          <a:pt x="2414" y="2"/>
                        </a:lnTo>
                        <a:lnTo>
                          <a:pt x="2414" y="26"/>
                        </a:lnTo>
                        <a:close/>
                        <a:moveTo>
                          <a:pt x="2182" y="26"/>
                        </a:moveTo>
                        <a:lnTo>
                          <a:pt x="2182" y="2"/>
                        </a:lnTo>
                        <a:lnTo>
                          <a:pt x="2190" y="2"/>
                        </a:lnTo>
                        <a:lnTo>
                          <a:pt x="2190" y="26"/>
                        </a:lnTo>
                        <a:lnTo>
                          <a:pt x="2182" y="26"/>
                        </a:lnTo>
                        <a:close/>
                        <a:moveTo>
                          <a:pt x="2302" y="24"/>
                        </a:moveTo>
                        <a:lnTo>
                          <a:pt x="2294" y="24"/>
                        </a:lnTo>
                        <a:lnTo>
                          <a:pt x="2294" y="0"/>
                        </a:lnTo>
                        <a:lnTo>
                          <a:pt x="2302" y="0"/>
                        </a:lnTo>
                        <a:lnTo>
                          <a:pt x="2302" y="24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9" name="Freeform 42">
                    <a:extLst>
                      <a:ext uri="{FF2B5EF4-FFF2-40B4-BE49-F238E27FC236}">
                        <a16:creationId xmlns="" xmlns:a16="http://schemas.microsoft.com/office/drawing/2014/main" id="{03834D7B-B66E-4FC9-AA2F-2D39A9E2B8B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4947900" y="-10048081"/>
                    <a:ext cx="6731000" cy="6731000"/>
                  </a:xfrm>
                  <a:custGeom>
                    <a:avLst/>
                    <a:gdLst/>
                    <a:ahLst/>
                    <a:cxnLst>
                      <a:cxn ang="0">
                        <a:pos x="2248" y="4236"/>
                      </a:cxn>
                      <a:cxn ang="0">
                        <a:pos x="1856" y="4224"/>
                      </a:cxn>
                      <a:cxn ang="0">
                        <a:pos x="2468" y="4196"/>
                      </a:cxn>
                      <a:cxn ang="0">
                        <a:pos x="1634" y="4184"/>
                      </a:cxn>
                      <a:cxn ang="0">
                        <a:pos x="2686" y="4148"/>
                      </a:cxn>
                      <a:cxn ang="0">
                        <a:pos x="1366" y="4102"/>
                      </a:cxn>
                      <a:cxn ang="0">
                        <a:pos x="2950" y="4056"/>
                      </a:cxn>
                      <a:cxn ang="0">
                        <a:pos x="1168" y="3998"/>
                      </a:cxn>
                      <a:cxn ang="0">
                        <a:pos x="3156" y="3970"/>
                      </a:cxn>
                      <a:cxn ang="0">
                        <a:pos x="974" y="3886"/>
                      </a:cxn>
                      <a:cxn ang="0">
                        <a:pos x="3346" y="3850"/>
                      </a:cxn>
                      <a:cxn ang="0">
                        <a:pos x="838" y="3788"/>
                      </a:cxn>
                      <a:cxn ang="0">
                        <a:pos x="3480" y="3748"/>
                      </a:cxn>
                      <a:cxn ang="0">
                        <a:pos x="658" y="3656"/>
                      </a:cxn>
                      <a:cxn ang="0">
                        <a:pos x="3644" y="3594"/>
                      </a:cxn>
                      <a:cxn ang="0">
                        <a:pos x="3792" y="3424"/>
                      </a:cxn>
                      <a:cxn ang="0">
                        <a:pos x="366" y="3314"/>
                      </a:cxn>
                      <a:cxn ang="0">
                        <a:pos x="3908" y="3232"/>
                      </a:cxn>
                      <a:cxn ang="0">
                        <a:pos x="250" y="3122"/>
                      </a:cxn>
                      <a:cxn ang="0">
                        <a:pos x="4014" y="3036"/>
                      </a:cxn>
                      <a:cxn ang="0">
                        <a:pos x="134" y="2866"/>
                      </a:cxn>
                      <a:cxn ang="0">
                        <a:pos x="4120" y="2778"/>
                      </a:cxn>
                      <a:cxn ang="0">
                        <a:pos x="82" y="2648"/>
                      </a:cxn>
                      <a:cxn ang="0">
                        <a:pos x="4194" y="2566"/>
                      </a:cxn>
                      <a:cxn ang="0">
                        <a:pos x="38" y="2430"/>
                      </a:cxn>
                      <a:cxn ang="0">
                        <a:pos x="4228" y="2344"/>
                      </a:cxn>
                      <a:cxn ang="0">
                        <a:pos x="20" y="2262"/>
                      </a:cxn>
                      <a:cxn ang="0">
                        <a:pos x="4240" y="2176"/>
                      </a:cxn>
                      <a:cxn ang="0">
                        <a:pos x="4224" y="2114"/>
                      </a:cxn>
                      <a:cxn ang="0">
                        <a:pos x="16" y="2040"/>
                      </a:cxn>
                      <a:cxn ang="0">
                        <a:pos x="36" y="1818"/>
                      </a:cxn>
                      <a:cxn ang="0">
                        <a:pos x="4176" y="1670"/>
                      </a:cxn>
                      <a:cxn ang="0">
                        <a:pos x="64" y="1596"/>
                      </a:cxn>
                      <a:cxn ang="0">
                        <a:pos x="4118" y="1456"/>
                      </a:cxn>
                      <a:cxn ang="0">
                        <a:pos x="132" y="1380"/>
                      </a:cxn>
                      <a:cxn ang="0">
                        <a:pos x="4012" y="1198"/>
                      </a:cxn>
                      <a:cxn ang="0">
                        <a:pos x="248" y="1124"/>
                      </a:cxn>
                      <a:cxn ang="0">
                        <a:pos x="3918" y="994"/>
                      </a:cxn>
                      <a:cxn ang="0">
                        <a:pos x="376" y="940"/>
                      </a:cxn>
                      <a:cxn ang="0">
                        <a:pos x="3788" y="810"/>
                      </a:cxn>
                      <a:cxn ang="0">
                        <a:pos x="512" y="762"/>
                      </a:cxn>
                      <a:cxn ang="0">
                        <a:pos x="3680" y="682"/>
                      </a:cxn>
                      <a:cxn ang="0">
                        <a:pos x="624" y="640"/>
                      </a:cxn>
                      <a:cxn ang="0">
                        <a:pos x="3508" y="538"/>
                      </a:cxn>
                      <a:cxn ang="0">
                        <a:pos x="790" y="490"/>
                      </a:cxn>
                      <a:cxn ang="0">
                        <a:pos x="970" y="358"/>
                      </a:cxn>
                      <a:cxn ang="0">
                        <a:pos x="3144" y="280"/>
                      </a:cxn>
                      <a:cxn ang="0">
                        <a:pos x="1154" y="232"/>
                      </a:cxn>
                      <a:cxn ang="0">
                        <a:pos x="2944" y="182"/>
                      </a:cxn>
                      <a:cxn ang="0">
                        <a:pos x="1360" y="140"/>
                      </a:cxn>
                      <a:cxn ang="0">
                        <a:pos x="2680" y="90"/>
                      </a:cxn>
                      <a:cxn ang="0">
                        <a:pos x="1628" y="56"/>
                      </a:cxn>
                      <a:cxn ang="0">
                        <a:pos x="2464" y="28"/>
                      </a:cxn>
                      <a:cxn ang="0">
                        <a:pos x="1850" y="32"/>
                      </a:cxn>
                      <a:cxn ang="0">
                        <a:pos x="2242" y="2"/>
                      </a:cxn>
                      <a:cxn ang="0">
                        <a:pos x="2074" y="16"/>
                      </a:cxn>
                    </a:cxnLst>
                    <a:rect l="0" t="0" r="r" b="b"/>
                    <a:pathLst>
                      <a:path w="4240" h="4240">
                        <a:moveTo>
                          <a:pt x="2080" y="4240"/>
                        </a:moveTo>
                        <a:lnTo>
                          <a:pt x="2080" y="4240"/>
                        </a:lnTo>
                        <a:lnTo>
                          <a:pt x="2024" y="4238"/>
                        </a:lnTo>
                        <a:lnTo>
                          <a:pt x="2024" y="4222"/>
                        </a:lnTo>
                        <a:lnTo>
                          <a:pt x="2024" y="4222"/>
                        </a:lnTo>
                        <a:lnTo>
                          <a:pt x="2080" y="4224"/>
                        </a:lnTo>
                        <a:lnTo>
                          <a:pt x="2080" y="4240"/>
                        </a:lnTo>
                        <a:close/>
                        <a:moveTo>
                          <a:pt x="2248" y="4236"/>
                        </a:moveTo>
                        <a:lnTo>
                          <a:pt x="2248" y="4220"/>
                        </a:lnTo>
                        <a:lnTo>
                          <a:pt x="2248" y="4220"/>
                        </a:lnTo>
                        <a:lnTo>
                          <a:pt x="2302" y="4216"/>
                        </a:lnTo>
                        <a:lnTo>
                          <a:pt x="2304" y="4232"/>
                        </a:lnTo>
                        <a:lnTo>
                          <a:pt x="2304" y="4232"/>
                        </a:lnTo>
                        <a:lnTo>
                          <a:pt x="2248" y="4236"/>
                        </a:lnTo>
                        <a:lnTo>
                          <a:pt x="2248" y="4236"/>
                        </a:lnTo>
                        <a:close/>
                        <a:moveTo>
                          <a:pt x="1856" y="4224"/>
                        </a:moveTo>
                        <a:lnTo>
                          <a:pt x="1856" y="4224"/>
                        </a:lnTo>
                        <a:lnTo>
                          <a:pt x="1800" y="4216"/>
                        </a:lnTo>
                        <a:lnTo>
                          <a:pt x="1802" y="4200"/>
                        </a:lnTo>
                        <a:lnTo>
                          <a:pt x="1802" y="4200"/>
                        </a:lnTo>
                        <a:lnTo>
                          <a:pt x="1858" y="4208"/>
                        </a:lnTo>
                        <a:lnTo>
                          <a:pt x="1856" y="4224"/>
                        </a:lnTo>
                        <a:close/>
                        <a:moveTo>
                          <a:pt x="2472" y="4212"/>
                        </a:moveTo>
                        <a:lnTo>
                          <a:pt x="2468" y="4196"/>
                        </a:lnTo>
                        <a:lnTo>
                          <a:pt x="2468" y="4196"/>
                        </a:lnTo>
                        <a:lnTo>
                          <a:pt x="2524" y="4186"/>
                        </a:lnTo>
                        <a:lnTo>
                          <a:pt x="2526" y="4202"/>
                        </a:lnTo>
                        <a:lnTo>
                          <a:pt x="2526" y="4202"/>
                        </a:lnTo>
                        <a:lnTo>
                          <a:pt x="2472" y="4212"/>
                        </a:lnTo>
                        <a:lnTo>
                          <a:pt x="2472" y="4212"/>
                        </a:lnTo>
                        <a:close/>
                        <a:moveTo>
                          <a:pt x="1634" y="4184"/>
                        </a:moveTo>
                        <a:lnTo>
                          <a:pt x="1634" y="4184"/>
                        </a:lnTo>
                        <a:lnTo>
                          <a:pt x="1580" y="4172"/>
                        </a:lnTo>
                        <a:lnTo>
                          <a:pt x="1584" y="4156"/>
                        </a:lnTo>
                        <a:lnTo>
                          <a:pt x="1584" y="4156"/>
                        </a:lnTo>
                        <a:lnTo>
                          <a:pt x="1638" y="4170"/>
                        </a:lnTo>
                        <a:lnTo>
                          <a:pt x="1634" y="4184"/>
                        </a:lnTo>
                        <a:close/>
                        <a:moveTo>
                          <a:pt x="2690" y="4162"/>
                        </a:moveTo>
                        <a:lnTo>
                          <a:pt x="2686" y="4148"/>
                        </a:lnTo>
                        <a:lnTo>
                          <a:pt x="2686" y="4148"/>
                        </a:lnTo>
                        <a:lnTo>
                          <a:pt x="2740" y="4132"/>
                        </a:lnTo>
                        <a:lnTo>
                          <a:pt x="2744" y="4148"/>
                        </a:lnTo>
                        <a:lnTo>
                          <a:pt x="2744" y="4148"/>
                        </a:lnTo>
                        <a:lnTo>
                          <a:pt x="2690" y="4162"/>
                        </a:lnTo>
                        <a:lnTo>
                          <a:pt x="2690" y="4162"/>
                        </a:lnTo>
                        <a:close/>
                        <a:moveTo>
                          <a:pt x="1418" y="4122"/>
                        </a:moveTo>
                        <a:lnTo>
                          <a:pt x="1418" y="4122"/>
                        </a:lnTo>
                        <a:lnTo>
                          <a:pt x="1366" y="4102"/>
                        </a:lnTo>
                        <a:lnTo>
                          <a:pt x="1372" y="4088"/>
                        </a:lnTo>
                        <a:lnTo>
                          <a:pt x="1372" y="4088"/>
                        </a:lnTo>
                        <a:lnTo>
                          <a:pt x="1424" y="4106"/>
                        </a:lnTo>
                        <a:lnTo>
                          <a:pt x="1418" y="4122"/>
                        </a:lnTo>
                        <a:close/>
                        <a:moveTo>
                          <a:pt x="2904" y="4092"/>
                        </a:moveTo>
                        <a:lnTo>
                          <a:pt x="2898" y="4076"/>
                        </a:lnTo>
                        <a:lnTo>
                          <a:pt x="2898" y="4076"/>
                        </a:lnTo>
                        <a:lnTo>
                          <a:pt x="2950" y="4056"/>
                        </a:lnTo>
                        <a:lnTo>
                          <a:pt x="2956" y="4070"/>
                        </a:lnTo>
                        <a:lnTo>
                          <a:pt x="2956" y="4070"/>
                        </a:lnTo>
                        <a:lnTo>
                          <a:pt x="2904" y="4092"/>
                        </a:lnTo>
                        <a:lnTo>
                          <a:pt x="2904" y="4092"/>
                        </a:lnTo>
                        <a:close/>
                        <a:moveTo>
                          <a:pt x="1210" y="4036"/>
                        </a:moveTo>
                        <a:lnTo>
                          <a:pt x="1210" y="4036"/>
                        </a:lnTo>
                        <a:lnTo>
                          <a:pt x="1160" y="4012"/>
                        </a:lnTo>
                        <a:lnTo>
                          <a:pt x="1168" y="3998"/>
                        </a:lnTo>
                        <a:lnTo>
                          <a:pt x="1168" y="3998"/>
                        </a:lnTo>
                        <a:lnTo>
                          <a:pt x="1218" y="4022"/>
                        </a:lnTo>
                        <a:lnTo>
                          <a:pt x="1210" y="4036"/>
                        </a:lnTo>
                        <a:close/>
                        <a:moveTo>
                          <a:pt x="3108" y="3998"/>
                        </a:moveTo>
                        <a:lnTo>
                          <a:pt x="3100" y="3984"/>
                        </a:lnTo>
                        <a:lnTo>
                          <a:pt x="3100" y="3984"/>
                        </a:lnTo>
                        <a:lnTo>
                          <a:pt x="3148" y="3956"/>
                        </a:lnTo>
                        <a:lnTo>
                          <a:pt x="3156" y="3970"/>
                        </a:lnTo>
                        <a:lnTo>
                          <a:pt x="3156" y="3970"/>
                        </a:lnTo>
                        <a:lnTo>
                          <a:pt x="3108" y="3998"/>
                        </a:lnTo>
                        <a:lnTo>
                          <a:pt x="3108" y="3998"/>
                        </a:lnTo>
                        <a:close/>
                        <a:moveTo>
                          <a:pt x="1012" y="3930"/>
                        </a:moveTo>
                        <a:lnTo>
                          <a:pt x="1012" y="3930"/>
                        </a:lnTo>
                        <a:lnTo>
                          <a:pt x="966" y="3898"/>
                        </a:lnTo>
                        <a:lnTo>
                          <a:pt x="974" y="3886"/>
                        </a:lnTo>
                        <a:lnTo>
                          <a:pt x="974" y="3886"/>
                        </a:lnTo>
                        <a:lnTo>
                          <a:pt x="1022" y="3916"/>
                        </a:lnTo>
                        <a:lnTo>
                          <a:pt x="1012" y="3930"/>
                        </a:lnTo>
                        <a:close/>
                        <a:moveTo>
                          <a:pt x="3300" y="3882"/>
                        </a:moveTo>
                        <a:lnTo>
                          <a:pt x="3292" y="3868"/>
                        </a:lnTo>
                        <a:lnTo>
                          <a:pt x="3292" y="3868"/>
                        </a:lnTo>
                        <a:lnTo>
                          <a:pt x="3338" y="3838"/>
                        </a:lnTo>
                        <a:lnTo>
                          <a:pt x="3346" y="3850"/>
                        </a:lnTo>
                        <a:lnTo>
                          <a:pt x="3346" y="3850"/>
                        </a:lnTo>
                        <a:lnTo>
                          <a:pt x="3300" y="3882"/>
                        </a:lnTo>
                        <a:lnTo>
                          <a:pt x="3300" y="3882"/>
                        </a:lnTo>
                        <a:close/>
                        <a:moveTo>
                          <a:pt x="828" y="3802"/>
                        </a:moveTo>
                        <a:lnTo>
                          <a:pt x="828" y="3802"/>
                        </a:lnTo>
                        <a:lnTo>
                          <a:pt x="784" y="3766"/>
                        </a:lnTo>
                        <a:lnTo>
                          <a:pt x="794" y="3754"/>
                        </a:lnTo>
                        <a:lnTo>
                          <a:pt x="794" y="3754"/>
                        </a:lnTo>
                        <a:lnTo>
                          <a:pt x="838" y="3788"/>
                        </a:lnTo>
                        <a:lnTo>
                          <a:pt x="828" y="3802"/>
                        </a:lnTo>
                        <a:close/>
                        <a:moveTo>
                          <a:pt x="3480" y="3748"/>
                        </a:moveTo>
                        <a:lnTo>
                          <a:pt x="3470" y="3736"/>
                        </a:lnTo>
                        <a:lnTo>
                          <a:pt x="3470" y="3736"/>
                        </a:lnTo>
                        <a:lnTo>
                          <a:pt x="3512" y="3698"/>
                        </a:lnTo>
                        <a:lnTo>
                          <a:pt x="3522" y="3710"/>
                        </a:lnTo>
                        <a:lnTo>
                          <a:pt x="3522" y="3710"/>
                        </a:lnTo>
                        <a:lnTo>
                          <a:pt x="3480" y="3748"/>
                        </a:lnTo>
                        <a:lnTo>
                          <a:pt x="3480" y="3748"/>
                        </a:lnTo>
                        <a:close/>
                        <a:moveTo>
                          <a:pt x="658" y="3656"/>
                        </a:moveTo>
                        <a:lnTo>
                          <a:pt x="658" y="3656"/>
                        </a:lnTo>
                        <a:lnTo>
                          <a:pt x="616" y="3616"/>
                        </a:lnTo>
                        <a:lnTo>
                          <a:pt x="628" y="3604"/>
                        </a:lnTo>
                        <a:lnTo>
                          <a:pt x="628" y="3604"/>
                        </a:lnTo>
                        <a:lnTo>
                          <a:pt x="668" y="3644"/>
                        </a:lnTo>
                        <a:lnTo>
                          <a:pt x="658" y="3656"/>
                        </a:lnTo>
                        <a:close/>
                        <a:moveTo>
                          <a:pt x="3644" y="3594"/>
                        </a:moveTo>
                        <a:lnTo>
                          <a:pt x="3632" y="3584"/>
                        </a:lnTo>
                        <a:lnTo>
                          <a:pt x="3632" y="3584"/>
                        </a:lnTo>
                        <a:lnTo>
                          <a:pt x="3672" y="3542"/>
                        </a:lnTo>
                        <a:lnTo>
                          <a:pt x="3682" y="3554"/>
                        </a:lnTo>
                        <a:lnTo>
                          <a:pt x="3682" y="3554"/>
                        </a:lnTo>
                        <a:lnTo>
                          <a:pt x="3644" y="3594"/>
                        </a:lnTo>
                        <a:lnTo>
                          <a:pt x="3644" y="3594"/>
                        </a:lnTo>
                        <a:close/>
                        <a:moveTo>
                          <a:pt x="502" y="3492"/>
                        </a:moveTo>
                        <a:lnTo>
                          <a:pt x="502" y="3492"/>
                        </a:lnTo>
                        <a:lnTo>
                          <a:pt x="468" y="3448"/>
                        </a:lnTo>
                        <a:lnTo>
                          <a:pt x="480" y="3438"/>
                        </a:lnTo>
                        <a:lnTo>
                          <a:pt x="480" y="3438"/>
                        </a:lnTo>
                        <a:lnTo>
                          <a:pt x="516" y="3482"/>
                        </a:lnTo>
                        <a:lnTo>
                          <a:pt x="502" y="3492"/>
                        </a:lnTo>
                        <a:close/>
                        <a:moveTo>
                          <a:pt x="3792" y="3424"/>
                        </a:moveTo>
                        <a:lnTo>
                          <a:pt x="3780" y="3414"/>
                        </a:lnTo>
                        <a:lnTo>
                          <a:pt x="3780" y="3414"/>
                        </a:lnTo>
                        <a:lnTo>
                          <a:pt x="3812" y="3370"/>
                        </a:lnTo>
                        <a:lnTo>
                          <a:pt x="3826" y="3380"/>
                        </a:lnTo>
                        <a:lnTo>
                          <a:pt x="3826" y="3380"/>
                        </a:lnTo>
                        <a:lnTo>
                          <a:pt x="3792" y="3424"/>
                        </a:lnTo>
                        <a:lnTo>
                          <a:pt x="3792" y="3424"/>
                        </a:lnTo>
                        <a:close/>
                        <a:moveTo>
                          <a:pt x="366" y="3314"/>
                        </a:moveTo>
                        <a:lnTo>
                          <a:pt x="366" y="3314"/>
                        </a:lnTo>
                        <a:lnTo>
                          <a:pt x="336" y="3266"/>
                        </a:lnTo>
                        <a:lnTo>
                          <a:pt x="350" y="3258"/>
                        </a:lnTo>
                        <a:lnTo>
                          <a:pt x="350" y="3258"/>
                        </a:lnTo>
                        <a:lnTo>
                          <a:pt x="380" y="3304"/>
                        </a:lnTo>
                        <a:lnTo>
                          <a:pt x="366" y="3314"/>
                        </a:lnTo>
                        <a:close/>
                        <a:moveTo>
                          <a:pt x="3920" y="3240"/>
                        </a:moveTo>
                        <a:lnTo>
                          <a:pt x="3908" y="3232"/>
                        </a:lnTo>
                        <a:lnTo>
                          <a:pt x="3908" y="3232"/>
                        </a:lnTo>
                        <a:lnTo>
                          <a:pt x="3936" y="3184"/>
                        </a:lnTo>
                        <a:lnTo>
                          <a:pt x="3950" y="3192"/>
                        </a:lnTo>
                        <a:lnTo>
                          <a:pt x="3950" y="3192"/>
                        </a:lnTo>
                        <a:lnTo>
                          <a:pt x="3920" y="3240"/>
                        </a:lnTo>
                        <a:lnTo>
                          <a:pt x="3920" y="3240"/>
                        </a:lnTo>
                        <a:close/>
                        <a:moveTo>
                          <a:pt x="250" y="3122"/>
                        </a:moveTo>
                        <a:lnTo>
                          <a:pt x="250" y="3122"/>
                        </a:lnTo>
                        <a:lnTo>
                          <a:pt x="224" y="3072"/>
                        </a:lnTo>
                        <a:lnTo>
                          <a:pt x="238" y="3064"/>
                        </a:lnTo>
                        <a:lnTo>
                          <a:pt x="238" y="3064"/>
                        </a:lnTo>
                        <a:lnTo>
                          <a:pt x="264" y="3114"/>
                        </a:lnTo>
                        <a:lnTo>
                          <a:pt x="250" y="3122"/>
                        </a:lnTo>
                        <a:close/>
                        <a:moveTo>
                          <a:pt x="4030" y="3044"/>
                        </a:moveTo>
                        <a:lnTo>
                          <a:pt x="4014" y="3036"/>
                        </a:lnTo>
                        <a:lnTo>
                          <a:pt x="4014" y="3036"/>
                        </a:lnTo>
                        <a:lnTo>
                          <a:pt x="4038" y="2986"/>
                        </a:lnTo>
                        <a:lnTo>
                          <a:pt x="4054" y="2992"/>
                        </a:lnTo>
                        <a:lnTo>
                          <a:pt x="4054" y="2992"/>
                        </a:lnTo>
                        <a:lnTo>
                          <a:pt x="4030" y="3044"/>
                        </a:lnTo>
                        <a:lnTo>
                          <a:pt x="4030" y="3044"/>
                        </a:lnTo>
                        <a:close/>
                        <a:moveTo>
                          <a:pt x="154" y="2918"/>
                        </a:moveTo>
                        <a:lnTo>
                          <a:pt x="154" y="2918"/>
                        </a:lnTo>
                        <a:lnTo>
                          <a:pt x="134" y="2866"/>
                        </a:lnTo>
                        <a:lnTo>
                          <a:pt x="150" y="2860"/>
                        </a:lnTo>
                        <a:lnTo>
                          <a:pt x="150" y="2860"/>
                        </a:lnTo>
                        <a:lnTo>
                          <a:pt x="170" y="2912"/>
                        </a:lnTo>
                        <a:lnTo>
                          <a:pt x="154" y="2918"/>
                        </a:lnTo>
                        <a:close/>
                        <a:moveTo>
                          <a:pt x="4116" y="2836"/>
                        </a:moveTo>
                        <a:lnTo>
                          <a:pt x="4102" y="2832"/>
                        </a:lnTo>
                        <a:lnTo>
                          <a:pt x="4102" y="2832"/>
                        </a:lnTo>
                        <a:lnTo>
                          <a:pt x="4120" y="2778"/>
                        </a:lnTo>
                        <a:lnTo>
                          <a:pt x="4134" y="2784"/>
                        </a:lnTo>
                        <a:lnTo>
                          <a:pt x="4134" y="2784"/>
                        </a:lnTo>
                        <a:lnTo>
                          <a:pt x="4116" y="2836"/>
                        </a:lnTo>
                        <a:lnTo>
                          <a:pt x="4116" y="2836"/>
                        </a:lnTo>
                        <a:close/>
                        <a:moveTo>
                          <a:pt x="82" y="2706"/>
                        </a:moveTo>
                        <a:lnTo>
                          <a:pt x="82" y="2706"/>
                        </a:lnTo>
                        <a:lnTo>
                          <a:pt x="66" y="2652"/>
                        </a:lnTo>
                        <a:lnTo>
                          <a:pt x="82" y="2648"/>
                        </a:lnTo>
                        <a:lnTo>
                          <a:pt x="82" y="2648"/>
                        </a:lnTo>
                        <a:lnTo>
                          <a:pt x="96" y="2702"/>
                        </a:lnTo>
                        <a:lnTo>
                          <a:pt x="82" y="2706"/>
                        </a:lnTo>
                        <a:close/>
                        <a:moveTo>
                          <a:pt x="4182" y="2622"/>
                        </a:moveTo>
                        <a:lnTo>
                          <a:pt x="4166" y="2618"/>
                        </a:lnTo>
                        <a:lnTo>
                          <a:pt x="4166" y="2618"/>
                        </a:lnTo>
                        <a:lnTo>
                          <a:pt x="4178" y="2562"/>
                        </a:lnTo>
                        <a:lnTo>
                          <a:pt x="4194" y="2566"/>
                        </a:lnTo>
                        <a:lnTo>
                          <a:pt x="4194" y="2566"/>
                        </a:lnTo>
                        <a:lnTo>
                          <a:pt x="4182" y="2622"/>
                        </a:lnTo>
                        <a:lnTo>
                          <a:pt x="4182" y="2622"/>
                        </a:lnTo>
                        <a:close/>
                        <a:moveTo>
                          <a:pt x="30" y="2486"/>
                        </a:moveTo>
                        <a:lnTo>
                          <a:pt x="30" y="2486"/>
                        </a:lnTo>
                        <a:lnTo>
                          <a:pt x="22" y="2432"/>
                        </a:lnTo>
                        <a:lnTo>
                          <a:pt x="38" y="2430"/>
                        </a:lnTo>
                        <a:lnTo>
                          <a:pt x="38" y="2430"/>
                        </a:lnTo>
                        <a:lnTo>
                          <a:pt x="46" y="2484"/>
                        </a:lnTo>
                        <a:lnTo>
                          <a:pt x="30" y="2486"/>
                        </a:lnTo>
                        <a:close/>
                        <a:moveTo>
                          <a:pt x="4222" y="2400"/>
                        </a:moveTo>
                        <a:lnTo>
                          <a:pt x="4206" y="2398"/>
                        </a:lnTo>
                        <a:lnTo>
                          <a:pt x="4206" y="2398"/>
                        </a:lnTo>
                        <a:lnTo>
                          <a:pt x="4212" y="2342"/>
                        </a:lnTo>
                        <a:lnTo>
                          <a:pt x="4228" y="2344"/>
                        </a:lnTo>
                        <a:lnTo>
                          <a:pt x="4228" y="2344"/>
                        </a:lnTo>
                        <a:lnTo>
                          <a:pt x="4222" y="2400"/>
                        </a:lnTo>
                        <a:lnTo>
                          <a:pt x="4222" y="2400"/>
                        </a:lnTo>
                        <a:close/>
                        <a:moveTo>
                          <a:pt x="4" y="2264"/>
                        </a:moveTo>
                        <a:lnTo>
                          <a:pt x="4" y="2264"/>
                        </a:lnTo>
                        <a:lnTo>
                          <a:pt x="2" y="2208"/>
                        </a:lnTo>
                        <a:lnTo>
                          <a:pt x="18" y="2208"/>
                        </a:lnTo>
                        <a:lnTo>
                          <a:pt x="18" y="2208"/>
                        </a:lnTo>
                        <a:lnTo>
                          <a:pt x="20" y="2262"/>
                        </a:lnTo>
                        <a:lnTo>
                          <a:pt x="4" y="2264"/>
                        </a:lnTo>
                        <a:close/>
                        <a:moveTo>
                          <a:pt x="4240" y="2176"/>
                        </a:moveTo>
                        <a:lnTo>
                          <a:pt x="4224" y="2176"/>
                        </a:lnTo>
                        <a:lnTo>
                          <a:pt x="4224" y="2176"/>
                        </a:lnTo>
                        <a:lnTo>
                          <a:pt x="4224" y="2120"/>
                        </a:lnTo>
                        <a:lnTo>
                          <a:pt x="4240" y="2120"/>
                        </a:lnTo>
                        <a:lnTo>
                          <a:pt x="4240" y="2120"/>
                        </a:lnTo>
                        <a:lnTo>
                          <a:pt x="4240" y="2176"/>
                        </a:lnTo>
                        <a:lnTo>
                          <a:pt x="4240" y="2176"/>
                        </a:lnTo>
                        <a:close/>
                        <a:moveTo>
                          <a:pt x="4224" y="2114"/>
                        </a:moveTo>
                        <a:lnTo>
                          <a:pt x="4224" y="2114"/>
                        </a:lnTo>
                        <a:lnTo>
                          <a:pt x="4224" y="2058"/>
                        </a:lnTo>
                        <a:lnTo>
                          <a:pt x="4240" y="2056"/>
                        </a:lnTo>
                        <a:lnTo>
                          <a:pt x="4240" y="2056"/>
                        </a:lnTo>
                        <a:lnTo>
                          <a:pt x="4240" y="2114"/>
                        </a:lnTo>
                        <a:lnTo>
                          <a:pt x="4224" y="2114"/>
                        </a:lnTo>
                        <a:close/>
                        <a:moveTo>
                          <a:pt x="16" y="2040"/>
                        </a:moveTo>
                        <a:lnTo>
                          <a:pt x="0" y="2040"/>
                        </a:lnTo>
                        <a:lnTo>
                          <a:pt x="0" y="2040"/>
                        </a:lnTo>
                        <a:lnTo>
                          <a:pt x="4" y="1984"/>
                        </a:lnTo>
                        <a:lnTo>
                          <a:pt x="20" y="1984"/>
                        </a:lnTo>
                        <a:lnTo>
                          <a:pt x="20" y="1984"/>
                        </a:lnTo>
                        <a:lnTo>
                          <a:pt x="16" y="2040"/>
                        </a:lnTo>
                        <a:lnTo>
                          <a:pt x="16" y="2040"/>
                        </a:lnTo>
                        <a:close/>
                        <a:moveTo>
                          <a:pt x="4212" y="1890"/>
                        </a:moveTo>
                        <a:lnTo>
                          <a:pt x="4212" y="1890"/>
                        </a:lnTo>
                        <a:lnTo>
                          <a:pt x="4206" y="1836"/>
                        </a:lnTo>
                        <a:lnTo>
                          <a:pt x="4222" y="1832"/>
                        </a:lnTo>
                        <a:lnTo>
                          <a:pt x="4222" y="1832"/>
                        </a:lnTo>
                        <a:lnTo>
                          <a:pt x="4228" y="1888"/>
                        </a:lnTo>
                        <a:lnTo>
                          <a:pt x="4212" y="1890"/>
                        </a:lnTo>
                        <a:close/>
                        <a:moveTo>
                          <a:pt x="36" y="1818"/>
                        </a:moveTo>
                        <a:lnTo>
                          <a:pt x="22" y="1816"/>
                        </a:lnTo>
                        <a:lnTo>
                          <a:pt x="22" y="1816"/>
                        </a:lnTo>
                        <a:lnTo>
                          <a:pt x="30" y="1760"/>
                        </a:lnTo>
                        <a:lnTo>
                          <a:pt x="46" y="1762"/>
                        </a:lnTo>
                        <a:lnTo>
                          <a:pt x="46" y="1762"/>
                        </a:lnTo>
                        <a:lnTo>
                          <a:pt x="36" y="1818"/>
                        </a:lnTo>
                        <a:lnTo>
                          <a:pt x="36" y="1818"/>
                        </a:lnTo>
                        <a:close/>
                        <a:moveTo>
                          <a:pt x="4176" y="1670"/>
                        </a:moveTo>
                        <a:lnTo>
                          <a:pt x="4176" y="1670"/>
                        </a:lnTo>
                        <a:lnTo>
                          <a:pt x="4164" y="1616"/>
                        </a:lnTo>
                        <a:lnTo>
                          <a:pt x="4180" y="1612"/>
                        </a:lnTo>
                        <a:lnTo>
                          <a:pt x="4180" y="1612"/>
                        </a:lnTo>
                        <a:lnTo>
                          <a:pt x="4192" y="1666"/>
                        </a:lnTo>
                        <a:lnTo>
                          <a:pt x="4176" y="1670"/>
                        </a:lnTo>
                        <a:close/>
                        <a:moveTo>
                          <a:pt x="80" y="1598"/>
                        </a:moveTo>
                        <a:lnTo>
                          <a:pt x="64" y="1596"/>
                        </a:lnTo>
                        <a:lnTo>
                          <a:pt x="64" y="1596"/>
                        </a:lnTo>
                        <a:lnTo>
                          <a:pt x="80" y="1540"/>
                        </a:lnTo>
                        <a:lnTo>
                          <a:pt x="94" y="1546"/>
                        </a:lnTo>
                        <a:lnTo>
                          <a:pt x="94" y="1546"/>
                        </a:lnTo>
                        <a:lnTo>
                          <a:pt x="80" y="1598"/>
                        </a:lnTo>
                        <a:lnTo>
                          <a:pt x="80" y="1598"/>
                        </a:lnTo>
                        <a:close/>
                        <a:moveTo>
                          <a:pt x="4118" y="1456"/>
                        </a:moveTo>
                        <a:lnTo>
                          <a:pt x="4118" y="1456"/>
                        </a:lnTo>
                        <a:lnTo>
                          <a:pt x="4100" y="1402"/>
                        </a:lnTo>
                        <a:lnTo>
                          <a:pt x="4114" y="1398"/>
                        </a:lnTo>
                        <a:lnTo>
                          <a:pt x="4114" y="1398"/>
                        </a:lnTo>
                        <a:lnTo>
                          <a:pt x="4132" y="1450"/>
                        </a:lnTo>
                        <a:lnTo>
                          <a:pt x="4118" y="1456"/>
                        </a:lnTo>
                        <a:close/>
                        <a:moveTo>
                          <a:pt x="146" y="1386"/>
                        </a:moveTo>
                        <a:lnTo>
                          <a:pt x="132" y="1380"/>
                        </a:lnTo>
                        <a:lnTo>
                          <a:pt x="132" y="1380"/>
                        </a:lnTo>
                        <a:lnTo>
                          <a:pt x="152" y="1328"/>
                        </a:lnTo>
                        <a:lnTo>
                          <a:pt x="168" y="1334"/>
                        </a:lnTo>
                        <a:lnTo>
                          <a:pt x="168" y="1334"/>
                        </a:lnTo>
                        <a:lnTo>
                          <a:pt x="146" y="1386"/>
                        </a:lnTo>
                        <a:lnTo>
                          <a:pt x="146" y="1386"/>
                        </a:lnTo>
                        <a:close/>
                        <a:moveTo>
                          <a:pt x="4036" y="1248"/>
                        </a:moveTo>
                        <a:lnTo>
                          <a:pt x="4036" y="1248"/>
                        </a:lnTo>
                        <a:lnTo>
                          <a:pt x="4012" y="1198"/>
                        </a:lnTo>
                        <a:lnTo>
                          <a:pt x="4026" y="1190"/>
                        </a:lnTo>
                        <a:lnTo>
                          <a:pt x="4026" y="1190"/>
                        </a:lnTo>
                        <a:lnTo>
                          <a:pt x="4050" y="1242"/>
                        </a:lnTo>
                        <a:lnTo>
                          <a:pt x="4036" y="1248"/>
                        </a:lnTo>
                        <a:close/>
                        <a:moveTo>
                          <a:pt x="236" y="1182"/>
                        </a:moveTo>
                        <a:lnTo>
                          <a:pt x="222" y="1174"/>
                        </a:lnTo>
                        <a:lnTo>
                          <a:pt x="222" y="1174"/>
                        </a:lnTo>
                        <a:lnTo>
                          <a:pt x="248" y="1124"/>
                        </a:lnTo>
                        <a:lnTo>
                          <a:pt x="262" y="1132"/>
                        </a:lnTo>
                        <a:lnTo>
                          <a:pt x="262" y="1132"/>
                        </a:lnTo>
                        <a:lnTo>
                          <a:pt x="236" y="1182"/>
                        </a:lnTo>
                        <a:lnTo>
                          <a:pt x="236" y="1182"/>
                        </a:lnTo>
                        <a:close/>
                        <a:moveTo>
                          <a:pt x="3932" y="1050"/>
                        </a:moveTo>
                        <a:lnTo>
                          <a:pt x="3932" y="1050"/>
                        </a:lnTo>
                        <a:lnTo>
                          <a:pt x="3904" y="1002"/>
                        </a:lnTo>
                        <a:lnTo>
                          <a:pt x="3918" y="994"/>
                        </a:lnTo>
                        <a:lnTo>
                          <a:pt x="3918" y="994"/>
                        </a:lnTo>
                        <a:lnTo>
                          <a:pt x="3946" y="1042"/>
                        </a:lnTo>
                        <a:lnTo>
                          <a:pt x="3932" y="1050"/>
                        </a:lnTo>
                        <a:close/>
                        <a:moveTo>
                          <a:pt x="346" y="988"/>
                        </a:moveTo>
                        <a:lnTo>
                          <a:pt x="332" y="978"/>
                        </a:lnTo>
                        <a:lnTo>
                          <a:pt x="332" y="978"/>
                        </a:lnTo>
                        <a:lnTo>
                          <a:pt x="364" y="932"/>
                        </a:lnTo>
                        <a:lnTo>
                          <a:pt x="376" y="940"/>
                        </a:lnTo>
                        <a:lnTo>
                          <a:pt x="376" y="940"/>
                        </a:lnTo>
                        <a:lnTo>
                          <a:pt x="346" y="988"/>
                        </a:lnTo>
                        <a:lnTo>
                          <a:pt x="346" y="988"/>
                        </a:lnTo>
                        <a:close/>
                        <a:moveTo>
                          <a:pt x="3810" y="864"/>
                        </a:moveTo>
                        <a:lnTo>
                          <a:pt x="3810" y="864"/>
                        </a:lnTo>
                        <a:lnTo>
                          <a:pt x="3776" y="820"/>
                        </a:lnTo>
                        <a:lnTo>
                          <a:pt x="3788" y="810"/>
                        </a:lnTo>
                        <a:lnTo>
                          <a:pt x="3788" y="810"/>
                        </a:lnTo>
                        <a:lnTo>
                          <a:pt x="3822" y="856"/>
                        </a:lnTo>
                        <a:lnTo>
                          <a:pt x="3810" y="864"/>
                        </a:lnTo>
                        <a:close/>
                        <a:moveTo>
                          <a:pt x="476" y="806"/>
                        </a:moveTo>
                        <a:lnTo>
                          <a:pt x="464" y="796"/>
                        </a:lnTo>
                        <a:lnTo>
                          <a:pt x="464" y="796"/>
                        </a:lnTo>
                        <a:lnTo>
                          <a:pt x="500" y="752"/>
                        </a:lnTo>
                        <a:lnTo>
                          <a:pt x="512" y="762"/>
                        </a:lnTo>
                        <a:lnTo>
                          <a:pt x="512" y="762"/>
                        </a:lnTo>
                        <a:lnTo>
                          <a:pt x="476" y="806"/>
                        </a:lnTo>
                        <a:lnTo>
                          <a:pt x="476" y="806"/>
                        </a:lnTo>
                        <a:close/>
                        <a:moveTo>
                          <a:pt x="3668" y="694"/>
                        </a:moveTo>
                        <a:lnTo>
                          <a:pt x="3668" y="694"/>
                        </a:lnTo>
                        <a:lnTo>
                          <a:pt x="3628" y="652"/>
                        </a:lnTo>
                        <a:lnTo>
                          <a:pt x="3640" y="642"/>
                        </a:lnTo>
                        <a:lnTo>
                          <a:pt x="3640" y="642"/>
                        </a:lnTo>
                        <a:lnTo>
                          <a:pt x="3680" y="682"/>
                        </a:lnTo>
                        <a:lnTo>
                          <a:pt x="3668" y="694"/>
                        </a:lnTo>
                        <a:close/>
                        <a:moveTo>
                          <a:pt x="624" y="640"/>
                        </a:moveTo>
                        <a:lnTo>
                          <a:pt x="612" y="628"/>
                        </a:lnTo>
                        <a:lnTo>
                          <a:pt x="612" y="628"/>
                        </a:lnTo>
                        <a:lnTo>
                          <a:pt x="652" y="588"/>
                        </a:lnTo>
                        <a:lnTo>
                          <a:pt x="664" y="600"/>
                        </a:lnTo>
                        <a:lnTo>
                          <a:pt x="664" y="600"/>
                        </a:lnTo>
                        <a:lnTo>
                          <a:pt x="624" y="640"/>
                        </a:lnTo>
                        <a:lnTo>
                          <a:pt x="624" y="640"/>
                        </a:lnTo>
                        <a:close/>
                        <a:moveTo>
                          <a:pt x="3508" y="538"/>
                        </a:moveTo>
                        <a:lnTo>
                          <a:pt x="3508" y="538"/>
                        </a:lnTo>
                        <a:lnTo>
                          <a:pt x="3466" y="502"/>
                        </a:lnTo>
                        <a:lnTo>
                          <a:pt x="3476" y="490"/>
                        </a:lnTo>
                        <a:lnTo>
                          <a:pt x="3476" y="490"/>
                        </a:lnTo>
                        <a:lnTo>
                          <a:pt x="3518" y="526"/>
                        </a:lnTo>
                        <a:lnTo>
                          <a:pt x="3508" y="538"/>
                        </a:lnTo>
                        <a:close/>
                        <a:moveTo>
                          <a:pt x="790" y="490"/>
                        </a:moveTo>
                        <a:lnTo>
                          <a:pt x="780" y="476"/>
                        </a:lnTo>
                        <a:lnTo>
                          <a:pt x="780" y="476"/>
                        </a:lnTo>
                        <a:lnTo>
                          <a:pt x="824" y="442"/>
                        </a:lnTo>
                        <a:lnTo>
                          <a:pt x="832" y="454"/>
                        </a:lnTo>
                        <a:lnTo>
                          <a:pt x="832" y="454"/>
                        </a:lnTo>
                        <a:lnTo>
                          <a:pt x="790" y="490"/>
                        </a:lnTo>
                        <a:lnTo>
                          <a:pt x="790" y="490"/>
                        </a:lnTo>
                        <a:close/>
                        <a:moveTo>
                          <a:pt x="3332" y="400"/>
                        </a:moveTo>
                        <a:lnTo>
                          <a:pt x="3332" y="400"/>
                        </a:lnTo>
                        <a:lnTo>
                          <a:pt x="3286" y="368"/>
                        </a:lnTo>
                        <a:lnTo>
                          <a:pt x="3296" y="354"/>
                        </a:lnTo>
                        <a:lnTo>
                          <a:pt x="3296" y="354"/>
                        </a:lnTo>
                        <a:lnTo>
                          <a:pt x="3342" y="386"/>
                        </a:lnTo>
                        <a:lnTo>
                          <a:pt x="3332" y="400"/>
                        </a:lnTo>
                        <a:close/>
                        <a:moveTo>
                          <a:pt x="970" y="358"/>
                        </a:moveTo>
                        <a:lnTo>
                          <a:pt x="960" y="344"/>
                        </a:lnTo>
                        <a:lnTo>
                          <a:pt x="960" y="344"/>
                        </a:lnTo>
                        <a:lnTo>
                          <a:pt x="1008" y="314"/>
                        </a:lnTo>
                        <a:lnTo>
                          <a:pt x="1016" y="328"/>
                        </a:lnTo>
                        <a:lnTo>
                          <a:pt x="1016" y="328"/>
                        </a:lnTo>
                        <a:lnTo>
                          <a:pt x="970" y="358"/>
                        </a:lnTo>
                        <a:lnTo>
                          <a:pt x="970" y="358"/>
                        </a:lnTo>
                        <a:close/>
                        <a:moveTo>
                          <a:pt x="3144" y="280"/>
                        </a:moveTo>
                        <a:lnTo>
                          <a:pt x="3144" y="280"/>
                        </a:lnTo>
                        <a:lnTo>
                          <a:pt x="3094" y="254"/>
                        </a:lnTo>
                        <a:lnTo>
                          <a:pt x="3102" y="240"/>
                        </a:lnTo>
                        <a:lnTo>
                          <a:pt x="3102" y="240"/>
                        </a:lnTo>
                        <a:lnTo>
                          <a:pt x="3152" y="266"/>
                        </a:lnTo>
                        <a:lnTo>
                          <a:pt x="3144" y="280"/>
                        </a:lnTo>
                        <a:close/>
                        <a:moveTo>
                          <a:pt x="1162" y="246"/>
                        </a:moveTo>
                        <a:lnTo>
                          <a:pt x="1154" y="232"/>
                        </a:lnTo>
                        <a:lnTo>
                          <a:pt x="1154" y="232"/>
                        </a:lnTo>
                        <a:lnTo>
                          <a:pt x="1204" y="206"/>
                        </a:lnTo>
                        <a:lnTo>
                          <a:pt x="1212" y="220"/>
                        </a:lnTo>
                        <a:lnTo>
                          <a:pt x="1212" y="220"/>
                        </a:lnTo>
                        <a:lnTo>
                          <a:pt x="1162" y="246"/>
                        </a:lnTo>
                        <a:lnTo>
                          <a:pt x="1162" y="246"/>
                        </a:lnTo>
                        <a:close/>
                        <a:moveTo>
                          <a:pt x="2944" y="182"/>
                        </a:moveTo>
                        <a:lnTo>
                          <a:pt x="2944" y="182"/>
                        </a:lnTo>
                        <a:lnTo>
                          <a:pt x="2892" y="162"/>
                        </a:lnTo>
                        <a:lnTo>
                          <a:pt x="2898" y="146"/>
                        </a:lnTo>
                        <a:lnTo>
                          <a:pt x="2898" y="146"/>
                        </a:lnTo>
                        <a:lnTo>
                          <a:pt x="2950" y="168"/>
                        </a:lnTo>
                        <a:lnTo>
                          <a:pt x="2944" y="182"/>
                        </a:lnTo>
                        <a:close/>
                        <a:moveTo>
                          <a:pt x="1366" y="154"/>
                        </a:moveTo>
                        <a:lnTo>
                          <a:pt x="1360" y="140"/>
                        </a:lnTo>
                        <a:lnTo>
                          <a:pt x="1360" y="140"/>
                        </a:lnTo>
                        <a:lnTo>
                          <a:pt x="1412" y="120"/>
                        </a:lnTo>
                        <a:lnTo>
                          <a:pt x="1418" y="136"/>
                        </a:lnTo>
                        <a:lnTo>
                          <a:pt x="1418" y="136"/>
                        </a:lnTo>
                        <a:lnTo>
                          <a:pt x="1366" y="154"/>
                        </a:lnTo>
                        <a:lnTo>
                          <a:pt x="1366" y="154"/>
                        </a:lnTo>
                        <a:close/>
                        <a:moveTo>
                          <a:pt x="2734" y="106"/>
                        </a:moveTo>
                        <a:lnTo>
                          <a:pt x="2734" y="106"/>
                        </a:lnTo>
                        <a:lnTo>
                          <a:pt x="2680" y="90"/>
                        </a:lnTo>
                        <a:lnTo>
                          <a:pt x="2684" y="76"/>
                        </a:lnTo>
                        <a:lnTo>
                          <a:pt x="2684" y="76"/>
                        </a:lnTo>
                        <a:lnTo>
                          <a:pt x="2738" y="90"/>
                        </a:lnTo>
                        <a:lnTo>
                          <a:pt x="2734" y="106"/>
                        </a:lnTo>
                        <a:close/>
                        <a:moveTo>
                          <a:pt x="1578" y="86"/>
                        </a:moveTo>
                        <a:lnTo>
                          <a:pt x="1574" y="70"/>
                        </a:lnTo>
                        <a:lnTo>
                          <a:pt x="1574" y="70"/>
                        </a:lnTo>
                        <a:lnTo>
                          <a:pt x="1628" y="56"/>
                        </a:lnTo>
                        <a:lnTo>
                          <a:pt x="1632" y="72"/>
                        </a:lnTo>
                        <a:lnTo>
                          <a:pt x="1632" y="72"/>
                        </a:lnTo>
                        <a:lnTo>
                          <a:pt x="1578" y="86"/>
                        </a:lnTo>
                        <a:lnTo>
                          <a:pt x="1578" y="86"/>
                        </a:lnTo>
                        <a:close/>
                        <a:moveTo>
                          <a:pt x="2516" y="52"/>
                        </a:moveTo>
                        <a:lnTo>
                          <a:pt x="2516" y="52"/>
                        </a:lnTo>
                        <a:lnTo>
                          <a:pt x="2462" y="44"/>
                        </a:lnTo>
                        <a:lnTo>
                          <a:pt x="2464" y="28"/>
                        </a:lnTo>
                        <a:lnTo>
                          <a:pt x="2464" y="28"/>
                        </a:lnTo>
                        <a:lnTo>
                          <a:pt x="2520" y="38"/>
                        </a:lnTo>
                        <a:lnTo>
                          <a:pt x="2516" y="52"/>
                        </a:lnTo>
                        <a:close/>
                        <a:moveTo>
                          <a:pt x="1796" y="40"/>
                        </a:moveTo>
                        <a:lnTo>
                          <a:pt x="1792" y="24"/>
                        </a:lnTo>
                        <a:lnTo>
                          <a:pt x="1792" y="24"/>
                        </a:lnTo>
                        <a:lnTo>
                          <a:pt x="1848" y="16"/>
                        </a:lnTo>
                        <a:lnTo>
                          <a:pt x="1850" y="32"/>
                        </a:lnTo>
                        <a:lnTo>
                          <a:pt x="1850" y="32"/>
                        </a:lnTo>
                        <a:lnTo>
                          <a:pt x="1796" y="40"/>
                        </a:lnTo>
                        <a:lnTo>
                          <a:pt x="1796" y="40"/>
                        </a:lnTo>
                        <a:close/>
                        <a:moveTo>
                          <a:pt x="2296" y="22"/>
                        </a:moveTo>
                        <a:lnTo>
                          <a:pt x="2296" y="22"/>
                        </a:lnTo>
                        <a:lnTo>
                          <a:pt x="2240" y="18"/>
                        </a:lnTo>
                        <a:lnTo>
                          <a:pt x="2242" y="2"/>
                        </a:lnTo>
                        <a:lnTo>
                          <a:pt x="2242" y="2"/>
                        </a:lnTo>
                        <a:lnTo>
                          <a:pt x="2298" y="6"/>
                        </a:lnTo>
                        <a:lnTo>
                          <a:pt x="2296" y="22"/>
                        </a:lnTo>
                        <a:close/>
                        <a:moveTo>
                          <a:pt x="2018" y="18"/>
                        </a:moveTo>
                        <a:lnTo>
                          <a:pt x="2016" y="2"/>
                        </a:lnTo>
                        <a:lnTo>
                          <a:pt x="2016" y="2"/>
                        </a:lnTo>
                        <a:lnTo>
                          <a:pt x="2072" y="0"/>
                        </a:lnTo>
                        <a:lnTo>
                          <a:pt x="2074" y="16"/>
                        </a:lnTo>
                        <a:lnTo>
                          <a:pt x="2074" y="16"/>
                        </a:lnTo>
                        <a:lnTo>
                          <a:pt x="2018" y="18"/>
                        </a:lnTo>
                        <a:lnTo>
                          <a:pt x="2018" y="18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80" name="组合 182">
                  <a:extLst>
                    <a:ext uri="{FF2B5EF4-FFF2-40B4-BE49-F238E27FC236}">
                      <a16:creationId xmlns="" xmlns:a16="http://schemas.microsoft.com/office/drawing/2014/main" id="{F037F626-DE22-44C2-8E28-10A9EC3A6023}"/>
                    </a:ext>
                  </a:extLst>
                </p:cNvPr>
                <p:cNvGrpSpPr/>
                <p:nvPr/>
              </p:nvGrpSpPr>
              <p:grpSpPr>
                <a:xfrm>
                  <a:off x="3361573" y="3447209"/>
                  <a:ext cx="938165" cy="937087"/>
                  <a:chOff x="-1657350" y="2511425"/>
                  <a:chExt cx="5524500" cy="5518150"/>
                </a:xfrm>
              </p:grpSpPr>
              <p:sp>
                <p:nvSpPr>
                  <p:cNvPr id="81" name="Freeform 49">
                    <a:extLst>
                      <a:ext uri="{FF2B5EF4-FFF2-40B4-BE49-F238E27FC236}">
                        <a16:creationId xmlns="" xmlns:a16="http://schemas.microsoft.com/office/drawing/2014/main" id="{8B3D2037-A311-4A69-B056-24DAA0E885E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59" y="2511425"/>
                    <a:ext cx="2228845" cy="1428749"/>
                  </a:xfrm>
                  <a:custGeom>
                    <a:avLst/>
                    <a:gdLst/>
                    <a:ahLst/>
                    <a:cxnLst>
                      <a:cxn ang="0">
                        <a:pos x="1252" y="900"/>
                      </a:cxn>
                      <a:cxn ang="0">
                        <a:pos x="1290" y="898"/>
                      </a:cxn>
                      <a:cxn ang="0">
                        <a:pos x="1322" y="888"/>
                      </a:cxn>
                      <a:cxn ang="0">
                        <a:pos x="1340" y="874"/>
                      </a:cxn>
                      <a:cxn ang="0">
                        <a:pos x="1362" y="846"/>
                      </a:cxn>
                      <a:cxn ang="0">
                        <a:pos x="1368" y="820"/>
                      </a:cxn>
                      <a:cxn ang="0">
                        <a:pos x="1368" y="802"/>
                      </a:cxn>
                      <a:cxn ang="0">
                        <a:pos x="1404" y="782"/>
                      </a:cxn>
                      <a:cxn ang="0">
                        <a:pos x="1300" y="640"/>
                      </a:cxn>
                      <a:cxn ang="0">
                        <a:pos x="1180" y="508"/>
                      </a:cxn>
                      <a:cxn ang="0">
                        <a:pos x="1122" y="452"/>
                      </a:cxn>
                      <a:cxn ang="0">
                        <a:pos x="1000" y="350"/>
                      </a:cxn>
                      <a:cxn ang="0">
                        <a:pos x="870" y="260"/>
                      </a:cxn>
                      <a:cxn ang="0">
                        <a:pos x="732" y="182"/>
                      </a:cxn>
                      <a:cxn ang="0">
                        <a:pos x="590" y="118"/>
                      </a:cxn>
                      <a:cxn ang="0">
                        <a:pos x="440" y="68"/>
                      </a:cxn>
                      <a:cxn ang="0">
                        <a:pos x="288" y="30"/>
                      </a:cxn>
                      <a:cxn ang="0">
                        <a:pos x="130" y="6"/>
                      </a:cxn>
                      <a:cxn ang="0">
                        <a:pos x="50" y="42"/>
                      </a:cxn>
                      <a:cxn ang="0">
                        <a:pos x="42" y="46"/>
                      </a:cxn>
                      <a:cxn ang="0">
                        <a:pos x="26" y="58"/>
                      </a:cxn>
                      <a:cxn ang="0">
                        <a:pos x="8" y="84"/>
                      </a:cxn>
                      <a:cxn ang="0">
                        <a:pos x="0" y="124"/>
                      </a:cxn>
                      <a:cxn ang="0">
                        <a:pos x="2" y="140"/>
                      </a:cxn>
                      <a:cxn ang="0">
                        <a:pos x="16" y="174"/>
                      </a:cxn>
                      <a:cxn ang="0">
                        <a:pos x="26" y="192"/>
                      </a:cxn>
                      <a:cxn ang="0">
                        <a:pos x="120" y="198"/>
                      </a:cxn>
                      <a:cxn ang="0">
                        <a:pos x="214" y="212"/>
                      </a:cxn>
                      <a:cxn ang="0">
                        <a:pos x="306" y="230"/>
                      </a:cxn>
                      <a:cxn ang="0">
                        <a:pos x="396" y="256"/>
                      </a:cxn>
                      <a:cxn ang="0">
                        <a:pos x="484" y="284"/>
                      </a:cxn>
                      <a:cxn ang="0">
                        <a:pos x="570" y="318"/>
                      </a:cxn>
                      <a:cxn ang="0">
                        <a:pos x="652" y="358"/>
                      </a:cxn>
                      <a:cxn ang="0">
                        <a:pos x="732" y="402"/>
                      </a:cxn>
                      <a:cxn ang="0">
                        <a:pos x="810" y="450"/>
                      </a:cxn>
                      <a:cxn ang="0">
                        <a:pos x="884" y="502"/>
                      </a:cxn>
                      <a:cxn ang="0">
                        <a:pos x="954" y="560"/>
                      </a:cxn>
                      <a:cxn ang="0">
                        <a:pos x="1020" y="620"/>
                      </a:cxn>
                      <a:cxn ang="0">
                        <a:pos x="1084" y="684"/>
                      </a:cxn>
                      <a:cxn ang="0">
                        <a:pos x="1144" y="754"/>
                      </a:cxn>
                      <a:cxn ang="0">
                        <a:pos x="1200" y="824"/>
                      </a:cxn>
                      <a:cxn ang="0">
                        <a:pos x="1252" y="900"/>
                      </a:cxn>
                    </a:cxnLst>
                    <a:rect l="0" t="0" r="r" b="b"/>
                    <a:pathLst>
                      <a:path w="1404" h="900">
                        <a:moveTo>
                          <a:pt x="1252" y="900"/>
                        </a:moveTo>
                        <a:lnTo>
                          <a:pt x="1252" y="900"/>
                        </a:lnTo>
                        <a:lnTo>
                          <a:pt x="1270" y="900"/>
                        </a:lnTo>
                        <a:lnTo>
                          <a:pt x="1290" y="898"/>
                        </a:lnTo>
                        <a:lnTo>
                          <a:pt x="1306" y="894"/>
                        </a:lnTo>
                        <a:lnTo>
                          <a:pt x="1322" y="888"/>
                        </a:lnTo>
                        <a:lnTo>
                          <a:pt x="1322" y="888"/>
                        </a:lnTo>
                        <a:lnTo>
                          <a:pt x="1340" y="874"/>
                        </a:lnTo>
                        <a:lnTo>
                          <a:pt x="1354" y="860"/>
                        </a:lnTo>
                        <a:lnTo>
                          <a:pt x="1362" y="846"/>
                        </a:lnTo>
                        <a:lnTo>
                          <a:pt x="1366" y="832"/>
                        </a:lnTo>
                        <a:lnTo>
                          <a:pt x="1368" y="820"/>
                        </a:lnTo>
                        <a:lnTo>
                          <a:pt x="1370" y="812"/>
                        </a:lnTo>
                        <a:lnTo>
                          <a:pt x="1368" y="802"/>
                        </a:lnTo>
                        <a:lnTo>
                          <a:pt x="1404" y="782"/>
                        </a:lnTo>
                        <a:lnTo>
                          <a:pt x="1404" y="782"/>
                        </a:lnTo>
                        <a:lnTo>
                          <a:pt x="1354" y="710"/>
                        </a:lnTo>
                        <a:lnTo>
                          <a:pt x="1300" y="640"/>
                        </a:lnTo>
                        <a:lnTo>
                          <a:pt x="1242" y="572"/>
                        </a:lnTo>
                        <a:lnTo>
                          <a:pt x="1180" y="508"/>
                        </a:lnTo>
                        <a:lnTo>
                          <a:pt x="1180" y="508"/>
                        </a:lnTo>
                        <a:lnTo>
                          <a:pt x="1122" y="452"/>
                        </a:lnTo>
                        <a:lnTo>
                          <a:pt x="1062" y="398"/>
                        </a:lnTo>
                        <a:lnTo>
                          <a:pt x="1000" y="350"/>
                        </a:lnTo>
                        <a:lnTo>
                          <a:pt x="936" y="302"/>
                        </a:lnTo>
                        <a:lnTo>
                          <a:pt x="870" y="260"/>
                        </a:lnTo>
                        <a:lnTo>
                          <a:pt x="802" y="220"/>
                        </a:lnTo>
                        <a:lnTo>
                          <a:pt x="732" y="182"/>
                        </a:lnTo>
                        <a:lnTo>
                          <a:pt x="662" y="148"/>
                        </a:lnTo>
                        <a:lnTo>
                          <a:pt x="590" y="118"/>
                        </a:lnTo>
                        <a:lnTo>
                          <a:pt x="516" y="90"/>
                        </a:lnTo>
                        <a:lnTo>
                          <a:pt x="440" y="68"/>
                        </a:lnTo>
                        <a:lnTo>
                          <a:pt x="364" y="46"/>
                        </a:lnTo>
                        <a:lnTo>
                          <a:pt x="288" y="30"/>
                        </a:lnTo>
                        <a:lnTo>
                          <a:pt x="210" y="16"/>
                        </a:lnTo>
                        <a:lnTo>
                          <a:pt x="130" y="6"/>
                        </a:lnTo>
                        <a:lnTo>
                          <a:pt x="50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2" y="46"/>
                        </a:lnTo>
                        <a:lnTo>
                          <a:pt x="34" y="50"/>
                        </a:lnTo>
                        <a:lnTo>
                          <a:pt x="26" y="58"/>
                        </a:lnTo>
                        <a:lnTo>
                          <a:pt x="16" y="70"/>
                        </a:lnTo>
                        <a:lnTo>
                          <a:pt x="8" y="84"/>
                        </a:lnTo>
                        <a:lnTo>
                          <a:pt x="2" y="10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2" y="140"/>
                        </a:lnTo>
                        <a:lnTo>
                          <a:pt x="8" y="158"/>
                        </a:lnTo>
                        <a:lnTo>
                          <a:pt x="16" y="174"/>
                        </a:lnTo>
                        <a:lnTo>
                          <a:pt x="26" y="192"/>
                        </a:lnTo>
                        <a:lnTo>
                          <a:pt x="26" y="192"/>
                        </a:lnTo>
                        <a:lnTo>
                          <a:pt x="74" y="194"/>
                        </a:lnTo>
                        <a:lnTo>
                          <a:pt x="120" y="198"/>
                        </a:lnTo>
                        <a:lnTo>
                          <a:pt x="168" y="204"/>
                        </a:lnTo>
                        <a:lnTo>
                          <a:pt x="214" y="212"/>
                        </a:lnTo>
                        <a:lnTo>
                          <a:pt x="260" y="220"/>
                        </a:lnTo>
                        <a:lnTo>
                          <a:pt x="306" y="230"/>
                        </a:lnTo>
                        <a:lnTo>
                          <a:pt x="352" y="242"/>
                        </a:lnTo>
                        <a:lnTo>
                          <a:pt x="396" y="256"/>
                        </a:lnTo>
                        <a:lnTo>
                          <a:pt x="440" y="270"/>
                        </a:lnTo>
                        <a:lnTo>
                          <a:pt x="484" y="284"/>
                        </a:lnTo>
                        <a:lnTo>
                          <a:pt x="528" y="300"/>
                        </a:lnTo>
                        <a:lnTo>
                          <a:pt x="570" y="318"/>
                        </a:lnTo>
                        <a:lnTo>
                          <a:pt x="612" y="338"/>
                        </a:lnTo>
                        <a:lnTo>
                          <a:pt x="652" y="358"/>
                        </a:lnTo>
                        <a:lnTo>
                          <a:pt x="692" y="380"/>
                        </a:lnTo>
                        <a:lnTo>
                          <a:pt x="732" y="402"/>
                        </a:lnTo>
                        <a:lnTo>
                          <a:pt x="772" y="426"/>
                        </a:lnTo>
                        <a:lnTo>
                          <a:pt x="810" y="450"/>
                        </a:lnTo>
                        <a:lnTo>
                          <a:pt x="846" y="476"/>
                        </a:lnTo>
                        <a:lnTo>
                          <a:pt x="884" y="502"/>
                        </a:lnTo>
                        <a:lnTo>
                          <a:pt x="918" y="530"/>
                        </a:lnTo>
                        <a:lnTo>
                          <a:pt x="954" y="560"/>
                        </a:lnTo>
                        <a:lnTo>
                          <a:pt x="988" y="590"/>
                        </a:lnTo>
                        <a:lnTo>
                          <a:pt x="1020" y="620"/>
                        </a:lnTo>
                        <a:lnTo>
                          <a:pt x="1054" y="652"/>
                        </a:lnTo>
                        <a:lnTo>
                          <a:pt x="1084" y="684"/>
                        </a:lnTo>
                        <a:lnTo>
                          <a:pt x="1114" y="718"/>
                        </a:lnTo>
                        <a:lnTo>
                          <a:pt x="1144" y="754"/>
                        </a:lnTo>
                        <a:lnTo>
                          <a:pt x="1172" y="788"/>
                        </a:lnTo>
                        <a:lnTo>
                          <a:pt x="1200" y="824"/>
                        </a:lnTo>
                        <a:lnTo>
                          <a:pt x="1226" y="862"/>
                        </a:lnTo>
                        <a:lnTo>
                          <a:pt x="1252" y="900"/>
                        </a:lnTo>
                        <a:lnTo>
                          <a:pt x="1252" y="90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" name="Freeform 50">
                    <a:extLst>
                      <a:ext uri="{FF2B5EF4-FFF2-40B4-BE49-F238E27FC236}">
                        <a16:creationId xmlns="" xmlns:a16="http://schemas.microsoft.com/office/drawing/2014/main" id="{55C8C9B3-FACE-42F9-915A-1AA1D326BE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25114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54" y="0"/>
                      </a:cxn>
                      <a:cxn ang="0">
                        <a:pos x="1274" y="6"/>
                      </a:cxn>
                      <a:cxn ang="0">
                        <a:pos x="1116" y="30"/>
                      </a:cxn>
                      <a:cxn ang="0">
                        <a:pos x="964" y="68"/>
                      </a:cxn>
                      <a:cxn ang="0">
                        <a:pos x="814" y="118"/>
                      </a:cxn>
                      <a:cxn ang="0">
                        <a:pos x="672" y="182"/>
                      </a:cxn>
                      <a:cxn ang="0">
                        <a:pos x="534" y="260"/>
                      </a:cxn>
                      <a:cxn ang="0">
                        <a:pos x="404" y="350"/>
                      </a:cxn>
                      <a:cxn ang="0">
                        <a:pos x="282" y="452"/>
                      </a:cxn>
                      <a:cxn ang="0">
                        <a:pos x="224" y="508"/>
                      </a:cxn>
                      <a:cxn ang="0">
                        <a:pos x="104" y="640"/>
                      </a:cxn>
                      <a:cxn ang="0">
                        <a:pos x="0" y="782"/>
                      </a:cxn>
                      <a:cxn ang="0">
                        <a:pos x="36" y="802"/>
                      </a:cxn>
                      <a:cxn ang="0">
                        <a:pos x="36" y="820"/>
                      </a:cxn>
                      <a:cxn ang="0">
                        <a:pos x="42" y="846"/>
                      </a:cxn>
                      <a:cxn ang="0">
                        <a:pos x="64" y="874"/>
                      </a:cxn>
                      <a:cxn ang="0">
                        <a:pos x="82" y="888"/>
                      </a:cxn>
                      <a:cxn ang="0">
                        <a:pos x="114" y="898"/>
                      </a:cxn>
                      <a:cxn ang="0">
                        <a:pos x="152" y="900"/>
                      </a:cxn>
                      <a:cxn ang="0">
                        <a:pos x="178" y="862"/>
                      </a:cxn>
                      <a:cxn ang="0">
                        <a:pos x="232" y="788"/>
                      </a:cxn>
                      <a:cxn ang="0">
                        <a:pos x="290" y="718"/>
                      </a:cxn>
                      <a:cxn ang="0">
                        <a:pos x="350" y="652"/>
                      </a:cxn>
                      <a:cxn ang="0">
                        <a:pos x="416" y="590"/>
                      </a:cxn>
                      <a:cxn ang="0">
                        <a:pos x="486" y="530"/>
                      </a:cxn>
                      <a:cxn ang="0">
                        <a:pos x="558" y="476"/>
                      </a:cxn>
                      <a:cxn ang="0">
                        <a:pos x="632" y="426"/>
                      </a:cxn>
                      <a:cxn ang="0">
                        <a:pos x="712" y="380"/>
                      </a:cxn>
                      <a:cxn ang="0">
                        <a:pos x="792" y="338"/>
                      </a:cxn>
                      <a:cxn ang="0">
                        <a:pos x="876" y="300"/>
                      </a:cxn>
                      <a:cxn ang="0">
                        <a:pos x="964" y="270"/>
                      </a:cxn>
                      <a:cxn ang="0">
                        <a:pos x="1052" y="242"/>
                      </a:cxn>
                      <a:cxn ang="0">
                        <a:pos x="1144" y="220"/>
                      </a:cxn>
                      <a:cxn ang="0">
                        <a:pos x="1236" y="204"/>
                      </a:cxn>
                      <a:cxn ang="0">
                        <a:pos x="1330" y="194"/>
                      </a:cxn>
                      <a:cxn ang="0">
                        <a:pos x="1378" y="192"/>
                      </a:cxn>
                      <a:cxn ang="0">
                        <a:pos x="1396" y="158"/>
                      </a:cxn>
                      <a:cxn ang="0">
                        <a:pos x="1404" y="124"/>
                      </a:cxn>
                      <a:cxn ang="0">
                        <a:pos x="1402" y="102"/>
                      </a:cxn>
                      <a:cxn ang="0">
                        <a:pos x="1388" y="70"/>
                      </a:cxn>
                      <a:cxn ang="0">
                        <a:pos x="1370" y="50"/>
                      </a:cxn>
                      <a:cxn ang="0">
                        <a:pos x="1354" y="42"/>
                      </a:cxn>
                    </a:cxnLst>
                    <a:rect l="0" t="0" r="r" b="b"/>
                    <a:pathLst>
                      <a:path w="1404" h="900">
                        <a:moveTo>
                          <a:pt x="1354" y="42"/>
                        </a:moveTo>
                        <a:lnTo>
                          <a:pt x="1354" y="0"/>
                        </a:lnTo>
                        <a:lnTo>
                          <a:pt x="1354" y="0"/>
                        </a:lnTo>
                        <a:lnTo>
                          <a:pt x="1274" y="6"/>
                        </a:lnTo>
                        <a:lnTo>
                          <a:pt x="1194" y="16"/>
                        </a:lnTo>
                        <a:lnTo>
                          <a:pt x="1116" y="30"/>
                        </a:lnTo>
                        <a:lnTo>
                          <a:pt x="1040" y="46"/>
                        </a:lnTo>
                        <a:lnTo>
                          <a:pt x="964" y="68"/>
                        </a:lnTo>
                        <a:lnTo>
                          <a:pt x="888" y="90"/>
                        </a:lnTo>
                        <a:lnTo>
                          <a:pt x="814" y="118"/>
                        </a:lnTo>
                        <a:lnTo>
                          <a:pt x="742" y="148"/>
                        </a:lnTo>
                        <a:lnTo>
                          <a:pt x="672" y="182"/>
                        </a:lnTo>
                        <a:lnTo>
                          <a:pt x="602" y="220"/>
                        </a:lnTo>
                        <a:lnTo>
                          <a:pt x="534" y="260"/>
                        </a:lnTo>
                        <a:lnTo>
                          <a:pt x="468" y="302"/>
                        </a:lnTo>
                        <a:lnTo>
                          <a:pt x="404" y="350"/>
                        </a:lnTo>
                        <a:lnTo>
                          <a:pt x="342" y="398"/>
                        </a:lnTo>
                        <a:lnTo>
                          <a:pt x="282" y="452"/>
                        </a:lnTo>
                        <a:lnTo>
                          <a:pt x="224" y="508"/>
                        </a:lnTo>
                        <a:lnTo>
                          <a:pt x="224" y="508"/>
                        </a:lnTo>
                        <a:lnTo>
                          <a:pt x="162" y="572"/>
                        </a:lnTo>
                        <a:lnTo>
                          <a:pt x="104" y="640"/>
                        </a:lnTo>
                        <a:lnTo>
                          <a:pt x="50" y="710"/>
                        </a:lnTo>
                        <a:lnTo>
                          <a:pt x="0" y="782"/>
                        </a:lnTo>
                        <a:lnTo>
                          <a:pt x="36" y="802"/>
                        </a:lnTo>
                        <a:lnTo>
                          <a:pt x="36" y="802"/>
                        </a:lnTo>
                        <a:lnTo>
                          <a:pt x="34" y="812"/>
                        </a:lnTo>
                        <a:lnTo>
                          <a:pt x="36" y="820"/>
                        </a:lnTo>
                        <a:lnTo>
                          <a:pt x="38" y="832"/>
                        </a:lnTo>
                        <a:lnTo>
                          <a:pt x="42" y="846"/>
                        </a:lnTo>
                        <a:lnTo>
                          <a:pt x="50" y="860"/>
                        </a:lnTo>
                        <a:lnTo>
                          <a:pt x="64" y="874"/>
                        </a:lnTo>
                        <a:lnTo>
                          <a:pt x="82" y="888"/>
                        </a:lnTo>
                        <a:lnTo>
                          <a:pt x="82" y="888"/>
                        </a:lnTo>
                        <a:lnTo>
                          <a:pt x="98" y="894"/>
                        </a:lnTo>
                        <a:lnTo>
                          <a:pt x="114" y="898"/>
                        </a:lnTo>
                        <a:lnTo>
                          <a:pt x="134" y="900"/>
                        </a:lnTo>
                        <a:lnTo>
                          <a:pt x="152" y="900"/>
                        </a:lnTo>
                        <a:lnTo>
                          <a:pt x="152" y="900"/>
                        </a:lnTo>
                        <a:lnTo>
                          <a:pt x="178" y="862"/>
                        </a:lnTo>
                        <a:lnTo>
                          <a:pt x="204" y="824"/>
                        </a:lnTo>
                        <a:lnTo>
                          <a:pt x="232" y="788"/>
                        </a:lnTo>
                        <a:lnTo>
                          <a:pt x="260" y="754"/>
                        </a:lnTo>
                        <a:lnTo>
                          <a:pt x="290" y="718"/>
                        </a:lnTo>
                        <a:lnTo>
                          <a:pt x="320" y="684"/>
                        </a:lnTo>
                        <a:lnTo>
                          <a:pt x="350" y="652"/>
                        </a:lnTo>
                        <a:lnTo>
                          <a:pt x="384" y="620"/>
                        </a:lnTo>
                        <a:lnTo>
                          <a:pt x="416" y="590"/>
                        </a:lnTo>
                        <a:lnTo>
                          <a:pt x="450" y="560"/>
                        </a:lnTo>
                        <a:lnTo>
                          <a:pt x="486" y="530"/>
                        </a:lnTo>
                        <a:lnTo>
                          <a:pt x="520" y="502"/>
                        </a:lnTo>
                        <a:lnTo>
                          <a:pt x="558" y="476"/>
                        </a:lnTo>
                        <a:lnTo>
                          <a:pt x="594" y="450"/>
                        </a:lnTo>
                        <a:lnTo>
                          <a:pt x="632" y="426"/>
                        </a:lnTo>
                        <a:lnTo>
                          <a:pt x="672" y="402"/>
                        </a:lnTo>
                        <a:lnTo>
                          <a:pt x="712" y="380"/>
                        </a:lnTo>
                        <a:lnTo>
                          <a:pt x="752" y="358"/>
                        </a:lnTo>
                        <a:lnTo>
                          <a:pt x="792" y="338"/>
                        </a:lnTo>
                        <a:lnTo>
                          <a:pt x="834" y="318"/>
                        </a:lnTo>
                        <a:lnTo>
                          <a:pt x="876" y="300"/>
                        </a:lnTo>
                        <a:lnTo>
                          <a:pt x="920" y="284"/>
                        </a:lnTo>
                        <a:lnTo>
                          <a:pt x="964" y="270"/>
                        </a:lnTo>
                        <a:lnTo>
                          <a:pt x="1008" y="256"/>
                        </a:lnTo>
                        <a:lnTo>
                          <a:pt x="1052" y="242"/>
                        </a:lnTo>
                        <a:lnTo>
                          <a:pt x="1098" y="230"/>
                        </a:lnTo>
                        <a:lnTo>
                          <a:pt x="1144" y="220"/>
                        </a:lnTo>
                        <a:lnTo>
                          <a:pt x="1190" y="212"/>
                        </a:lnTo>
                        <a:lnTo>
                          <a:pt x="1236" y="204"/>
                        </a:lnTo>
                        <a:lnTo>
                          <a:pt x="1284" y="198"/>
                        </a:lnTo>
                        <a:lnTo>
                          <a:pt x="1330" y="194"/>
                        </a:lnTo>
                        <a:lnTo>
                          <a:pt x="1378" y="192"/>
                        </a:lnTo>
                        <a:lnTo>
                          <a:pt x="1378" y="192"/>
                        </a:lnTo>
                        <a:lnTo>
                          <a:pt x="1388" y="174"/>
                        </a:lnTo>
                        <a:lnTo>
                          <a:pt x="1396" y="158"/>
                        </a:lnTo>
                        <a:lnTo>
                          <a:pt x="1402" y="140"/>
                        </a:lnTo>
                        <a:lnTo>
                          <a:pt x="1404" y="124"/>
                        </a:lnTo>
                        <a:lnTo>
                          <a:pt x="1404" y="124"/>
                        </a:lnTo>
                        <a:lnTo>
                          <a:pt x="1402" y="102"/>
                        </a:lnTo>
                        <a:lnTo>
                          <a:pt x="1396" y="84"/>
                        </a:lnTo>
                        <a:lnTo>
                          <a:pt x="1388" y="70"/>
                        </a:lnTo>
                        <a:lnTo>
                          <a:pt x="1378" y="58"/>
                        </a:lnTo>
                        <a:lnTo>
                          <a:pt x="1370" y="50"/>
                        </a:lnTo>
                        <a:lnTo>
                          <a:pt x="1362" y="46"/>
                        </a:lnTo>
                        <a:lnTo>
                          <a:pt x="1354" y="42"/>
                        </a:lnTo>
                        <a:lnTo>
                          <a:pt x="1354" y="4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3" name="Freeform 51">
                    <a:extLst>
                      <a:ext uri="{FF2B5EF4-FFF2-40B4-BE49-F238E27FC236}">
                        <a16:creationId xmlns="" xmlns:a16="http://schemas.microsoft.com/office/drawing/2014/main" id="{9650E4AB-3969-440B-9CFE-1E6EB09690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92475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142" y="22"/>
                      </a:cxn>
                      <a:cxn ang="0">
                        <a:pos x="134" y="16"/>
                      </a:cxn>
                      <a:cxn ang="0">
                        <a:pos x="114" y="8"/>
                      </a:cxn>
                      <a:cxn ang="0">
                        <a:pos x="84" y="6"/>
                      </a:cxn>
                      <a:cxn ang="0">
                        <a:pos x="44" y="18"/>
                      </a:cxn>
                      <a:cxn ang="0">
                        <a:pos x="32" y="28"/>
                      </a:cxn>
                      <a:cxn ang="0">
                        <a:pos x="8" y="58"/>
                      </a:cxn>
                      <a:cxn ang="0">
                        <a:pos x="0" y="74"/>
                      </a:cxn>
                      <a:cxn ang="0">
                        <a:pos x="38" y="154"/>
                      </a:cxn>
                      <a:cxn ang="0">
                        <a:pos x="72" y="238"/>
                      </a:cxn>
                      <a:cxn ang="0">
                        <a:pos x="102" y="324"/>
                      </a:cxn>
                      <a:cxn ang="0">
                        <a:pos x="126" y="412"/>
                      </a:cxn>
                      <a:cxn ang="0">
                        <a:pos x="146" y="502"/>
                      </a:cxn>
                      <a:cxn ang="0">
                        <a:pos x="160" y="594"/>
                      </a:cxn>
                      <a:cxn ang="0">
                        <a:pos x="168" y="688"/>
                      </a:cxn>
                      <a:cxn ang="0">
                        <a:pos x="170" y="782"/>
                      </a:cxn>
                      <a:cxn ang="0">
                        <a:pos x="170" y="830"/>
                      </a:cxn>
                      <a:cxn ang="0">
                        <a:pos x="164" y="924"/>
                      </a:cxn>
                      <a:cxn ang="0">
                        <a:pos x="152" y="1016"/>
                      </a:cxn>
                      <a:cxn ang="0">
                        <a:pos x="136" y="1108"/>
                      </a:cxn>
                      <a:cxn ang="0">
                        <a:pos x="114" y="1196"/>
                      </a:cxn>
                      <a:cxn ang="0">
                        <a:pos x="88" y="1284"/>
                      </a:cxn>
                      <a:cxn ang="0">
                        <a:pos x="56" y="1368"/>
                      </a:cxn>
                      <a:cxn ang="0">
                        <a:pos x="20" y="1450"/>
                      </a:cxn>
                      <a:cxn ang="0">
                        <a:pos x="0" y="1490"/>
                      </a:cxn>
                      <a:cxn ang="0">
                        <a:pos x="20" y="1522"/>
                      </a:cxn>
                      <a:cxn ang="0">
                        <a:pos x="44" y="1546"/>
                      </a:cxn>
                      <a:cxn ang="0">
                        <a:pos x="66" y="1554"/>
                      </a:cxn>
                      <a:cxn ang="0">
                        <a:pos x="100" y="1558"/>
                      </a:cxn>
                      <a:cxn ang="0">
                        <a:pos x="126" y="1552"/>
                      </a:cxn>
                      <a:cxn ang="0">
                        <a:pos x="142" y="1542"/>
                      </a:cxn>
                      <a:cxn ang="0">
                        <a:pos x="178" y="1564"/>
                      </a:cxn>
                      <a:cxn ang="0">
                        <a:pos x="220" y="1472"/>
                      </a:cxn>
                      <a:cxn ang="0">
                        <a:pos x="258" y="1380"/>
                      </a:cxn>
                      <a:cxn ang="0">
                        <a:pos x="290" y="1284"/>
                      </a:cxn>
                      <a:cxn ang="0">
                        <a:pos x="316" y="1186"/>
                      </a:cxn>
                      <a:cxn ang="0">
                        <a:pos x="336" y="1088"/>
                      </a:cxn>
                      <a:cxn ang="0">
                        <a:pos x="350" y="986"/>
                      </a:cxn>
                      <a:cxn ang="0">
                        <a:pos x="360" y="886"/>
                      </a:cxn>
                      <a:cxn ang="0">
                        <a:pos x="362" y="782"/>
                      </a:cxn>
                      <a:cxn ang="0">
                        <a:pos x="362" y="730"/>
                      </a:cxn>
                      <a:cxn ang="0">
                        <a:pos x="356" y="628"/>
                      </a:cxn>
                      <a:cxn ang="0">
                        <a:pos x="344" y="526"/>
                      </a:cxn>
                      <a:cxn ang="0">
                        <a:pos x="326" y="426"/>
                      </a:cxn>
                      <a:cxn ang="0">
                        <a:pos x="304" y="328"/>
                      </a:cxn>
                      <a:cxn ang="0">
                        <a:pos x="274" y="232"/>
                      </a:cxn>
                      <a:cxn ang="0">
                        <a:pos x="240" y="138"/>
                      </a:cxn>
                      <a:cxn ang="0">
                        <a:pos x="200" y="46"/>
                      </a:cxn>
                      <a:cxn ang="0">
                        <a:pos x="178" y="0"/>
                      </a:cxn>
                    </a:cxnLst>
                    <a:rect l="0" t="0" r="r" b="b"/>
                    <a:pathLst>
                      <a:path w="362" h="1564">
                        <a:moveTo>
                          <a:pt x="178" y="0"/>
                        </a:moveTo>
                        <a:lnTo>
                          <a:pt x="142" y="22"/>
                        </a:lnTo>
                        <a:lnTo>
                          <a:pt x="142" y="22"/>
                        </a:lnTo>
                        <a:lnTo>
                          <a:pt x="134" y="16"/>
                        </a:lnTo>
                        <a:lnTo>
                          <a:pt x="126" y="12"/>
                        </a:lnTo>
                        <a:lnTo>
                          <a:pt x="114" y="8"/>
                        </a:lnTo>
                        <a:lnTo>
                          <a:pt x="100" y="6"/>
                        </a:lnTo>
                        <a:lnTo>
                          <a:pt x="84" y="6"/>
                        </a:lnTo>
                        <a:lnTo>
                          <a:pt x="66" y="10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32" y="28"/>
                        </a:lnTo>
                        <a:lnTo>
                          <a:pt x="20" y="42"/>
                        </a:lnTo>
                        <a:lnTo>
                          <a:pt x="8" y="58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20" y="114"/>
                        </a:lnTo>
                        <a:lnTo>
                          <a:pt x="38" y="154"/>
                        </a:lnTo>
                        <a:lnTo>
                          <a:pt x="56" y="196"/>
                        </a:lnTo>
                        <a:lnTo>
                          <a:pt x="72" y="238"/>
                        </a:lnTo>
                        <a:lnTo>
                          <a:pt x="88" y="280"/>
                        </a:lnTo>
                        <a:lnTo>
                          <a:pt x="102" y="324"/>
                        </a:lnTo>
                        <a:lnTo>
                          <a:pt x="114" y="368"/>
                        </a:lnTo>
                        <a:lnTo>
                          <a:pt x="126" y="412"/>
                        </a:lnTo>
                        <a:lnTo>
                          <a:pt x="136" y="456"/>
                        </a:lnTo>
                        <a:lnTo>
                          <a:pt x="146" y="502"/>
                        </a:lnTo>
                        <a:lnTo>
                          <a:pt x="152" y="548"/>
                        </a:lnTo>
                        <a:lnTo>
                          <a:pt x="160" y="594"/>
                        </a:lnTo>
                        <a:lnTo>
                          <a:pt x="164" y="640"/>
                        </a:lnTo>
                        <a:lnTo>
                          <a:pt x="168" y="688"/>
                        </a:lnTo>
                        <a:lnTo>
                          <a:pt x="170" y="734"/>
                        </a:lnTo>
                        <a:lnTo>
                          <a:pt x="170" y="782"/>
                        </a:lnTo>
                        <a:lnTo>
                          <a:pt x="170" y="782"/>
                        </a:lnTo>
                        <a:lnTo>
                          <a:pt x="170" y="830"/>
                        </a:lnTo>
                        <a:lnTo>
                          <a:pt x="168" y="876"/>
                        </a:lnTo>
                        <a:lnTo>
                          <a:pt x="164" y="924"/>
                        </a:lnTo>
                        <a:lnTo>
                          <a:pt x="160" y="970"/>
                        </a:lnTo>
                        <a:lnTo>
                          <a:pt x="152" y="1016"/>
                        </a:lnTo>
                        <a:lnTo>
                          <a:pt x="146" y="1062"/>
                        </a:lnTo>
                        <a:lnTo>
                          <a:pt x="136" y="1108"/>
                        </a:lnTo>
                        <a:lnTo>
                          <a:pt x="126" y="1152"/>
                        </a:lnTo>
                        <a:lnTo>
                          <a:pt x="114" y="1196"/>
                        </a:lnTo>
                        <a:lnTo>
                          <a:pt x="102" y="1240"/>
                        </a:lnTo>
                        <a:lnTo>
                          <a:pt x="88" y="1284"/>
                        </a:lnTo>
                        <a:lnTo>
                          <a:pt x="72" y="1326"/>
                        </a:lnTo>
                        <a:lnTo>
                          <a:pt x="56" y="1368"/>
                        </a:lnTo>
                        <a:lnTo>
                          <a:pt x="38" y="1410"/>
                        </a:lnTo>
                        <a:lnTo>
                          <a:pt x="20" y="1450"/>
                        </a:lnTo>
                        <a:lnTo>
                          <a:pt x="0" y="1490"/>
                        </a:lnTo>
                        <a:lnTo>
                          <a:pt x="0" y="1490"/>
                        </a:lnTo>
                        <a:lnTo>
                          <a:pt x="8" y="1506"/>
                        </a:lnTo>
                        <a:lnTo>
                          <a:pt x="20" y="1522"/>
                        </a:lnTo>
                        <a:lnTo>
                          <a:pt x="32" y="1536"/>
                        </a:lnTo>
                        <a:lnTo>
                          <a:pt x="44" y="1546"/>
                        </a:lnTo>
                        <a:lnTo>
                          <a:pt x="44" y="1546"/>
                        </a:lnTo>
                        <a:lnTo>
                          <a:pt x="66" y="1554"/>
                        </a:lnTo>
                        <a:lnTo>
                          <a:pt x="84" y="1558"/>
                        </a:lnTo>
                        <a:lnTo>
                          <a:pt x="100" y="1558"/>
                        </a:lnTo>
                        <a:lnTo>
                          <a:pt x="114" y="1556"/>
                        </a:lnTo>
                        <a:lnTo>
                          <a:pt x="126" y="1552"/>
                        </a:lnTo>
                        <a:lnTo>
                          <a:pt x="134" y="1548"/>
                        </a:lnTo>
                        <a:lnTo>
                          <a:pt x="142" y="1542"/>
                        </a:lnTo>
                        <a:lnTo>
                          <a:pt x="178" y="1564"/>
                        </a:lnTo>
                        <a:lnTo>
                          <a:pt x="178" y="1564"/>
                        </a:lnTo>
                        <a:lnTo>
                          <a:pt x="200" y="1518"/>
                        </a:lnTo>
                        <a:lnTo>
                          <a:pt x="220" y="1472"/>
                        </a:lnTo>
                        <a:lnTo>
                          <a:pt x="240" y="1426"/>
                        </a:lnTo>
                        <a:lnTo>
                          <a:pt x="258" y="1380"/>
                        </a:lnTo>
                        <a:lnTo>
                          <a:pt x="274" y="1332"/>
                        </a:lnTo>
                        <a:lnTo>
                          <a:pt x="290" y="1284"/>
                        </a:lnTo>
                        <a:lnTo>
                          <a:pt x="304" y="1236"/>
                        </a:lnTo>
                        <a:lnTo>
                          <a:pt x="316" y="1186"/>
                        </a:lnTo>
                        <a:lnTo>
                          <a:pt x="326" y="1138"/>
                        </a:lnTo>
                        <a:lnTo>
                          <a:pt x="336" y="1088"/>
                        </a:lnTo>
                        <a:lnTo>
                          <a:pt x="344" y="1038"/>
                        </a:lnTo>
                        <a:lnTo>
                          <a:pt x="350" y="986"/>
                        </a:lnTo>
                        <a:lnTo>
                          <a:pt x="356" y="936"/>
                        </a:lnTo>
                        <a:lnTo>
                          <a:pt x="360" y="886"/>
                        </a:lnTo>
                        <a:lnTo>
                          <a:pt x="362" y="834"/>
                        </a:lnTo>
                        <a:lnTo>
                          <a:pt x="362" y="782"/>
                        </a:lnTo>
                        <a:lnTo>
                          <a:pt x="362" y="782"/>
                        </a:lnTo>
                        <a:lnTo>
                          <a:pt x="362" y="730"/>
                        </a:lnTo>
                        <a:lnTo>
                          <a:pt x="360" y="678"/>
                        </a:lnTo>
                        <a:lnTo>
                          <a:pt x="356" y="628"/>
                        </a:lnTo>
                        <a:lnTo>
                          <a:pt x="350" y="578"/>
                        </a:lnTo>
                        <a:lnTo>
                          <a:pt x="344" y="526"/>
                        </a:lnTo>
                        <a:lnTo>
                          <a:pt x="336" y="476"/>
                        </a:lnTo>
                        <a:lnTo>
                          <a:pt x="326" y="426"/>
                        </a:lnTo>
                        <a:lnTo>
                          <a:pt x="316" y="378"/>
                        </a:lnTo>
                        <a:lnTo>
                          <a:pt x="304" y="328"/>
                        </a:lnTo>
                        <a:lnTo>
                          <a:pt x="290" y="280"/>
                        </a:lnTo>
                        <a:lnTo>
                          <a:pt x="274" y="232"/>
                        </a:lnTo>
                        <a:lnTo>
                          <a:pt x="258" y="184"/>
                        </a:lnTo>
                        <a:lnTo>
                          <a:pt x="240" y="138"/>
                        </a:lnTo>
                        <a:lnTo>
                          <a:pt x="220" y="92"/>
                        </a:lnTo>
                        <a:lnTo>
                          <a:pt x="200" y="46"/>
                        </a:lnTo>
                        <a:lnTo>
                          <a:pt x="178" y="0"/>
                        </a:lnTo>
                        <a:lnTo>
                          <a:pt x="178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4" name="Freeform 52">
                    <a:extLst>
                      <a:ext uri="{FF2B5EF4-FFF2-40B4-BE49-F238E27FC236}">
                        <a16:creationId xmlns="" xmlns:a16="http://schemas.microsoft.com/office/drawing/2014/main" id="{EAD365A9-53F0-4998-AE59-ADCD0D909E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427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322" y="12"/>
                      </a:cxn>
                      <a:cxn ang="0">
                        <a:pos x="1290" y="2"/>
                      </a:cxn>
                      <a:cxn ang="0">
                        <a:pos x="1252" y="0"/>
                      </a:cxn>
                      <a:cxn ang="0">
                        <a:pos x="1226" y="38"/>
                      </a:cxn>
                      <a:cxn ang="0">
                        <a:pos x="1172" y="112"/>
                      </a:cxn>
                      <a:cxn ang="0">
                        <a:pos x="1114" y="182"/>
                      </a:cxn>
                      <a:cxn ang="0">
                        <a:pos x="1054" y="248"/>
                      </a:cxn>
                      <a:cxn ang="0">
                        <a:pos x="988" y="310"/>
                      </a:cxn>
                      <a:cxn ang="0">
                        <a:pos x="918" y="370"/>
                      </a:cxn>
                      <a:cxn ang="0">
                        <a:pos x="846" y="424"/>
                      </a:cxn>
                      <a:cxn ang="0">
                        <a:pos x="772" y="474"/>
                      </a:cxn>
                      <a:cxn ang="0">
                        <a:pos x="692" y="520"/>
                      </a:cxn>
                      <a:cxn ang="0">
                        <a:pos x="612" y="562"/>
                      </a:cxn>
                      <a:cxn ang="0">
                        <a:pos x="528" y="600"/>
                      </a:cxn>
                      <a:cxn ang="0">
                        <a:pos x="440" y="630"/>
                      </a:cxn>
                      <a:cxn ang="0">
                        <a:pos x="352" y="658"/>
                      </a:cxn>
                      <a:cxn ang="0">
                        <a:pos x="260" y="680"/>
                      </a:cxn>
                      <a:cxn ang="0">
                        <a:pos x="168" y="696"/>
                      </a:cxn>
                      <a:cxn ang="0">
                        <a:pos x="74" y="706"/>
                      </a:cxn>
                      <a:cxn ang="0">
                        <a:pos x="26" y="708"/>
                      </a:cxn>
                      <a:cxn ang="0">
                        <a:pos x="8" y="742"/>
                      </a:cxn>
                      <a:cxn ang="0">
                        <a:pos x="0" y="776"/>
                      </a:cxn>
                      <a:cxn ang="0">
                        <a:pos x="2" y="798"/>
                      </a:cxn>
                      <a:cxn ang="0">
                        <a:pos x="16" y="830"/>
                      </a:cxn>
                      <a:cxn ang="0">
                        <a:pos x="34" y="850"/>
                      </a:cxn>
                      <a:cxn ang="0">
                        <a:pos x="50" y="858"/>
                      </a:cxn>
                      <a:cxn ang="0">
                        <a:pos x="50" y="900"/>
                      </a:cxn>
                      <a:cxn ang="0">
                        <a:pos x="210" y="884"/>
                      </a:cxn>
                      <a:cxn ang="0">
                        <a:pos x="364" y="854"/>
                      </a:cxn>
                      <a:cxn ang="0">
                        <a:pos x="516" y="810"/>
                      </a:cxn>
                      <a:cxn ang="0">
                        <a:pos x="662" y="752"/>
                      </a:cxn>
                      <a:cxn ang="0">
                        <a:pos x="802" y="680"/>
                      </a:cxn>
                      <a:cxn ang="0">
                        <a:pos x="936" y="598"/>
                      </a:cxn>
                      <a:cxn ang="0">
                        <a:pos x="1062" y="502"/>
                      </a:cxn>
                      <a:cxn ang="0">
                        <a:pos x="1180" y="392"/>
                      </a:cxn>
                      <a:cxn ang="0">
                        <a:pos x="1242" y="328"/>
                      </a:cxn>
                      <a:cxn ang="0">
                        <a:pos x="1354" y="190"/>
                      </a:cxn>
                      <a:cxn ang="0">
                        <a:pos x="1368" y="98"/>
                      </a:cxn>
                      <a:cxn ang="0">
                        <a:pos x="1370" y="88"/>
                      </a:cxn>
                      <a:cxn ang="0">
                        <a:pos x="1366" y="68"/>
                      </a:cxn>
                      <a:cxn ang="0">
                        <a:pos x="1354" y="40"/>
                      </a:cxn>
                      <a:cxn ang="0">
                        <a:pos x="1322" y="12"/>
                      </a:cxn>
                    </a:cxnLst>
                    <a:rect l="0" t="0" r="r" b="b"/>
                    <a:pathLst>
                      <a:path w="1404" h="900">
                        <a:moveTo>
                          <a:pt x="1322" y="12"/>
                        </a:moveTo>
                        <a:lnTo>
                          <a:pt x="1322" y="12"/>
                        </a:lnTo>
                        <a:lnTo>
                          <a:pt x="1306" y="6"/>
                        </a:lnTo>
                        <a:lnTo>
                          <a:pt x="1290" y="2"/>
                        </a:lnTo>
                        <a:lnTo>
                          <a:pt x="1270" y="0"/>
                        </a:lnTo>
                        <a:lnTo>
                          <a:pt x="1252" y="0"/>
                        </a:lnTo>
                        <a:lnTo>
                          <a:pt x="1252" y="0"/>
                        </a:lnTo>
                        <a:lnTo>
                          <a:pt x="1226" y="38"/>
                        </a:lnTo>
                        <a:lnTo>
                          <a:pt x="1200" y="76"/>
                        </a:lnTo>
                        <a:lnTo>
                          <a:pt x="1172" y="112"/>
                        </a:lnTo>
                        <a:lnTo>
                          <a:pt x="1144" y="146"/>
                        </a:lnTo>
                        <a:lnTo>
                          <a:pt x="1114" y="182"/>
                        </a:lnTo>
                        <a:lnTo>
                          <a:pt x="1084" y="216"/>
                        </a:lnTo>
                        <a:lnTo>
                          <a:pt x="1054" y="248"/>
                        </a:lnTo>
                        <a:lnTo>
                          <a:pt x="1020" y="280"/>
                        </a:lnTo>
                        <a:lnTo>
                          <a:pt x="988" y="310"/>
                        </a:lnTo>
                        <a:lnTo>
                          <a:pt x="954" y="340"/>
                        </a:lnTo>
                        <a:lnTo>
                          <a:pt x="918" y="370"/>
                        </a:lnTo>
                        <a:lnTo>
                          <a:pt x="884" y="398"/>
                        </a:lnTo>
                        <a:lnTo>
                          <a:pt x="846" y="424"/>
                        </a:lnTo>
                        <a:lnTo>
                          <a:pt x="810" y="450"/>
                        </a:lnTo>
                        <a:lnTo>
                          <a:pt x="772" y="474"/>
                        </a:lnTo>
                        <a:lnTo>
                          <a:pt x="732" y="498"/>
                        </a:lnTo>
                        <a:lnTo>
                          <a:pt x="692" y="520"/>
                        </a:lnTo>
                        <a:lnTo>
                          <a:pt x="652" y="542"/>
                        </a:lnTo>
                        <a:lnTo>
                          <a:pt x="612" y="562"/>
                        </a:lnTo>
                        <a:lnTo>
                          <a:pt x="570" y="582"/>
                        </a:lnTo>
                        <a:lnTo>
                          <a:pt x="528" y="600"/>
                        </a:lnTo>
                        <a:lnTo>
                          <a:pt x="484" y="616"/>
                        </a:lnTo>
                        <a:lnTo>
                          <a:pt x="440" y="630"/>
                        </a:lnTo>
                        <a:lnTo>
                          <a:pt x="396" y="644"/>
                        </a:lnTo>
                        <a:lnTo>
                          <a:pt x="352" y="658"/>
                        </a:lnTo>
                        <a:lnTo>
                          <a:pt x="306" y="670"/>
                        </a:lnTo>
                        <a:lnTo>
                          <a:pt x="260" y="680"/>
                        </a:lnTo>
                        <a:lnTo>
                          <a:pt x="214" y="688"/>
                        </a:lnTo>
                        <a:lnTo>
                          <a:pt x="168" y="696"/>
                        </a:lnTo>
                        <a:lnTo>
                          <a:pt x="120" y="702"/>
                        </a:lnTo>
                        <a:lnTo>
                          <a:pt x="74" y="706"/>
                        </a:lnTo>
                        <a:lnTo>
                          <a:pt x="26" y="708"/>
                        </a:lnTo>
                        <a:lnTo>
                          <a:pt x="26" y="708"/>
                        </a:lnTo>
                        <a:lnTo>
                          <a:pt x="16" y="726"/>
                        </a:lnTo>
                        <a:lnTo>
                          <a:pt x="8" y="742"/>
                        </a:lnTo>
                        <a:lnTo>
                          <a:pt x="2" y="760"/>
                        </a:lnTo>
                        <a:lnTo>
                          <a:pt x="0" y="776"/>
                        </a:lnTo>
                        <a:lnTo>
                          <a:pt x="0" y="776"/>
                        </a:lnTo>
                        <a:lnTo>
                          <a:pt x="2" y="798"/>
                        </a:lnTo>
                        <a:lnTo>
                          <a:pt x="8" y="816"/>
                        </a:lnTo>
                        <a:lnTo>
                          <a:pt x="16" y="830"/>
                        </a:lnTo>
                        <a:lnTo>
                          <a:pt x="26" y="842"/>
                        </a:lnTo>
                        <a:lnTo>
                          <a:pt x="34" y="850"/>
                        </a:lnTo>
                        <a:lnTo>
                          <a:pt x="42" y="854"/>
                        </a:lnTo>
                        <a:lnTo>
                          <a:pt x="50" y="858"/>
                        </a:lnTo>
                        <a:lnTo>
                          <a:pt x="50" y="900"/>
                        </a:lnTo>
                        <a:lnTo>
                          <a:pt x="50" y="900"/>
                        </a:lnTo>
                        <a:lnTo>
                          <a:pt x="130" y="894"/>
                        </a:lnTo>
                        <a:lnTo>
                          <a:pt x="210" y="884"/>
                        </a:lnTo>
                        <a:lnTo>
                          <a:pt x="288" y="870"/>
                        </a:lnTo>
                        <a:lnTo>
                          <a:pt x="364" y="854"/>
                        </a:lnTo>
                        <a:lnTo>
                          <a:pt x="440" y="832"/>
                        </a:lnTo>
                        <a:lnTo>
                          <a:pt x="516" y="810"/>
                        </a:lnTo>
                        <a:lnTo>
                          <a:pt x="590" y="782"/>
                        </a:lnTo>
                        <a:lnTo>
                          <a:pt x="662" y="752"/>
                        </a:lnTo>
                        <a:lnTo>
                          <a:pt x="732" y="718"/>
                        </a:lnTo>
                        <a:lnTo>
                          <a:pt x="802" y="680"/>
                        </a:lnTo>
                        <a:lnTo>
                          <a:pt x="870" y="640"/>
                        </a:lnTo>
                        <a:lnTo>
                          <a:pt x="936" y="598"/>
                        </a:lnTo>
                        <a:lnTo>
                          <a:pt x="1000" y="550"/>
                        </a:lnTo>
                        <a:lnTo>
                          <a:pt x="1062" y="502"/>
                        </a:lnTo>
                        <a:lnTo>
                          <a:pt x="1122" y="448"/>
                        </a:lnTo>
                        <a:lnTo>
                          <a:pt x="1180" y="392"/>
                        </a:lnTo>
                        <a:lnTo>
                          <a:pt x="1180" y="392"/>
                        </a:lnTo>
                        <a:lnTo>
                          <a:pt x="1242" y="328"/>
                        </a:lnTo>
                        <a:lnTo>
                          <a:pt x="1300" y="260"/>
                        </a:lnTo>
                        <a:lnTo>
                          <a:pt x="1354" y="190"/>
                        </a:lnTo>
                        <a:lnTo>
                          <a:pt x="1404" y="118"/>
                        </a:lnTo>
                        <a:lnTo>
                          <a:pt x="1368" y="98"/>
                        </a:lnTo>
                        <a:lnTo>
                          <a:pt x="1368" y="98"/>
                        </a:lnTo>
                        <a:lnTo>
                          <a:pt x="1370" y="88"/>
                        </a:lnTo>
                        <a:lnTo>
                          <a:pt x="1368" y="80"/>
                        </a:lnTo>
                        <a:lnTo>
                          <a:pt x="1366" y="68"/>
                        </a:lnTo>
                        <a:lnTo>
                          <a:pt x="1362" y="54"/>
                        </a:lnTo>
                        <a:lnTo>
                          <a:pt x="1354" y="40"/>
                        </a:lnTo>
                        <a:lnTo>
                          <a:pt x="1340" y="26"/>
                        </a:lnTo>
                        <a:lnTo>
                          <a:pt x="1322" y="12"/>
                        </a:lnTo>
                        <a:lnTo>
                          <a:pt x="1322" y="12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" name="Freeform 53">
                    <a:extLst>
                      <a:ext uri="{FF2B5EF4-FFF2-40B4-BE49-F238E27FC236}">
                        <a16:creationId xmlns="" xmlns:a16="http://schemas.microsoft.com/office/drawing/2014/main" id="{502AE7FC-D841-4CF8-ACE0-55E44D9B53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203325" y="6600825"/>
                    <a:ext cx="2228850" cy="1428750"/>
                  </a:xfrm>
                  <a:custGeom>
                    <a:avLst/>
                    <a:gdLst/>
                    <a:ahLst/>
                    <a:cxnLst>
                      <a:cxn ang="0">
                        <a:pos x="152" y="0"/>
                      </a:cxn>
                      <a:cxn ang="0">
                        <a:pos x="114" y="2"/>
                      </a:cxn>
                      <a:cxn ang="0">
                        <a:pos x="82" y="12"/>
                      </a:cxn>
                      <a:cxn ang="0">
                        <a:pos x="64" y="26"/>
                      </a:cxn>
                      <a:cxn ang="0">
                        <a:pos x="42" y="54"/>
                      </a:cxn>
                      <a:cxn ang="0">
                        <a:pos x="36" y="80"/>
                      </a:cxn>
                      <a:cxn ang="0">
                        <a:pos x="36" y="98"/>
                      </a:cxn>
                      <a:cxn ang="0">
                        <a:pos x="0" y="118"/>
                      </a:cxn>
                      <a:cxn ang="0">
                        <a:pos x="104" y="260"/>
                      </a:cxn>
                      <a:cxn ang="0">
                        <a:pos x="224" y="392"/>
                      </a:cxn>
                      <a:cxn ang="0">
                        <a:pos x="282" y="448"/>
                      </a:cxn>
                      <a:cxn ang="0">
                        <a:pos x="404" y="550"/>
                      </a:cxn>
                      <a:cxn ang="0">
                        <a:pos x="534" y="640"/>
                      </a:cxn>
                      <a:cxn ang="0">
                        <a:pos x="672" y="718"/>
                      </a:cxn>
                      <a:cxn ang="0">
                        <a:pos x="814" y="782"/>
                      </a:cxn>
                      <a:cxn ang="0">
                        <a:pos x="964" y="832"/>
                      </a:cxn>
                      <a:cxn ang="0">
                        <a:pos x="1116" y="870"/>
                      </a:cxn>
                      <a:cxn ang="0">
                        <a:pos x="1274" y="894"/>
                      </a:cxn>
                      <a:cxn ang="0">
                        <a:pos x="1354" y="858"/>
                      </a:cxn>
                      <a:cxn ang="0">
                        <a:pos x="1362" y="854"/>
                      </a:cxn>
                      <a:cxn ang="0">
                        <a:pos x="1378" y="842"/>
                      </a:cxn>
                      <a:cxn ang="0">
                        <a:pos x="1396" y="816"/>
                      </a:cxn>
                      <a:cxn ang="0">
                        <a:pos x="1404" y="776"/>
                      </a:cxn>
                      <a:cxn ang="0">
                        <a:pos x="1402" y="760"/>
                      </a:cxn>
                      <a:cxn ang="0">
                        <a:pos x="1388" y="726"/>
                      </a:cxn>
                      <a:cxn ang="0">
                        <a:pos x="1378" y="708"/>
                      </a:cxn>
                      <a:cxn ang="0">
                        <a:pos x="1284" y="702"/>
                      </a:cxn>
                      <a:cxn ang="0">
                        <a:pos x="1190" y="688"/>
                      </a:cxn>
                      <a:cxn ang="0">
                        <a:pos x="1098" y="670"/>
                      </a:cxn>
                      <a:cxn ang="0">
                        <a:pos x="1008" y="644"/>
                      </a:cxn>
                      <a:cxn ang="0">
                        <a:pos x="920" y="616"/>
                      </a:cxn>
                      <a:cxn ang="0">
                        <a:pos x="834" y="582"/>
                      </a:cxn>
                      <a:cxn ang="0">
                        <a:pos x="752" y="542"/>
                      </a:cxn>
                      <a:cxn ang="0">
                        <a:pos x="672" y="498"/>
                      </a:cxn>
                      <a:cxn ang="0">
                        <a:pos x="594" y="450"/>
                      </a:cxn>
                      <a:cxn ang="0">
                        <a:pos x="520" y="398"/>
                      </a:cxn>
                      <a:cxn ang="0">
                        <a:pos x="450" y="340"/>
                      </a:cxn>
                      <a:cxn ang="0">
                        <a:pos x="384" y="280"/>
                      </a:cxn>
                      <a:cxn ang="0">
                        <a:pos x="320" y="216"/>
                      </a:cxn>
                      <a:cxn ang="0">
                        <a:pos x="260" y="146"/>
                      </a:cxn>
                      <a:cxn ang="0">
                        <a:pos x="204" y="76"/>
                      </a:cxn>
                      <a:cxn ang="0">
                        <a:pos x="152" y="0"/>
                      </a:cxn>
                    </a:cxnLst>
                    <a:rect l="0" t="0" r="r" b="b"/>
                    <a:pathLst>
                      <a:path w="1404" h="900">
                        <a:moveTo>
                          <a:pt x="152" y="0"/>
                        </a:moveTo>
                        <a:lnTo>
                          <a:pt x="152" y="0"/>
                        </a:lnTo>
                        <a:lnTo>
                          <a:pt x="134" y="0"/>
                        </a:lnTo>
                        <a:lnTo>
                          <a:pt x="114" y="2"/>
                        </a:lnTo>
                        <a:lnTo>
                          <a:pt x="98" y="6"/>
                        </a:lnTo>
                        <a:lnTo>
                          <a:pt x="82" y="12"/>
                        </a:lnTo>
                        <a:lnTo>
                          <a:pt x="82" y="12"/>
                        </a:lnTo>
                        <a:lnTo>
                          <a:pt x="64" y="26"/>
                        </a:lnTo>
                        <a:lnTo>
                          <a:pt x="50" y="40"/>
                        </a:lnTo>
                        <a:lnTo>
                          <a:pt x="42" y="54"/>
                        </a:lnTo>
                        <a:lnTo>
                          <a:pt x="38" y="68"/>
                        </a:lnTo>
                        <a:lnTo>
                          <a:pt x="36" y="80"/>
                        </a:lnTo>
                        <a:lnTo>
                          <a:pt x="34" y="88"/>
                        </a:lnTo>
                        <a:lnTo>
                          <a:pt x="36" y="98"/>
                        </a:lnTo>
                        <a:lnTo>
                          <a:pt x="0" y="118"/>
                        </a:lnTo>
                        <a:lnTo>
                          <a:pt x="0" y="118"/>
                        </a:lnTo>
                        <a:lnTo>
                          <a:pt x="50" y="190"/>
                        </a:lnTo>
                        <a:lnTo>
                          <a:pt x="104" y="260"/>
                        </a:lnTo>
                        <a:lnTo>
                          <a:pt x="162" y="328"/>
                        </a:lnTo>
                        <a:lnTo>
                          <a:pt x="224" y="392"/>
                        </a:lnTo>
                        <a:lnTo>
                          <a:pt x="224" y="392"/>
                        </a:lnTo>
                        <a:lnTo>
                          <a:pt x="282" y="448"/>
                        </a:lnTo>
                        <a:lnTo>
                          <a:pt x="342" y="502"/>
                        </a:lnTo>
                        <a:lnTo>
                          <a:pt x="404" y="550"/>
                        </a:lnTo>
                        <a:lnTo>
                          <a:pt x="468" y="598"/>
                        </a:lnTo>
                        <a:lnTo>
                          <a:pt x="534" y="640"/>
                        </a:lnTo>
                        <a:lnTo>
                          <a:pt x="602" y="680"/>
                        </a:lnTo>
                        <a:lnTo>
                          <a:pt x="672" y="718"/>
                        </a:lnTo>
                        <a:lnTo>
                          <a:pt x="742" y="752"/>
                        </a:lnTo>
                        <a:lnTo>
                          <a:pt x="814" y="782"/>
                        </a:lnTo>
                        <a:lnTo>
                          <a:pt x="888" y="810"/>
                        </a:lnTo>
                        <a:lnTo>
                          <a:pt x="964" y="832"/>
                        </a:lnTo>
                        <a:lnTo>
                          <a:pt x="1040" y="854"/>
                        </a:lnTo>
                        <a:lnTo>
                          <a:pt x="1116" y="870"/>
                        </a:lnTo>
                        <a:lnTo>
                          <a:pt x="1194" y="884"/>
                        </a:lnTo>
                        <a:lnTo>
                          <a:pt x="1274" y="894"/>
                        </a:lnTo>
                        <a:lnTo>
                          <a:pt x="1354" y="900"/>
                        </a:lnTo>
                        <a:lnTo>
                          <a:pt x="1354" y="858"/>
                        </a:lnTo>
                        <a:lnTo>
                          <a:pt x="1354" y="858"/>
                        </a:lnTo>
                        <a:lnTo>
                          <a:pt x="1362" y="854"/>
                        </a:lnTo>
                        <a:lnTo>
                          <a:pt x="1370" y="850"/>
                        </a:lnTo>
                        <a:lnTo>
                          <a:pt x="1378" y="842"/>
                        </a:lnTo>
                        <a:lnTo>
                          <a:pt x="1388" y="830"/>
                        </a:lnTo>
                        <a:lnTo>
                          <a:pt x="1396" y="816"/>
                        </a:lnTo>
                        <a:lnTo>
                          <a:pt x="1402" y="798"/>
                        </a:lnTo>
                        <a:lnTo>
                          <a:pt x="1404" y="776"/>
                        </a:lnTo>
                        <a:lnTo>
                          <a:pt x="1404" y="776"/>
                        </a:lnTo>
                        <a:lnTo>
                          <a:pt x="1402" y="760"/>
                        </a:lnTo>
                        <a:lnTo>
                          <a:pt x="1396" y="742"/>
                        </a:lnTo>
                        <a:lnTo>
                          <a:pt x="1388" y="726"/>
                        </a:lnTo>
                        <a:lnTo>
                          <a:pt x="1378" y="708"/>
                        </a:lnTo>
                        <a:lnTo>
                          <a:pt x="1378" y="708"/>
                        </a:lnTo>
                        <a:lnTo>
                          <a:pt x="1330" y="706"/>
                        </a:lnTo>
                        <a:lnTo>
                          <a:pt x="1284" y="702"/>
                        </a:lnTo>
                        <a:lnTo>
                          <a:pt x="1236" y="696"/>
                        </a:lnTo>
                        <a:lnTo>
                          <a:pt x="1190" y="688"/>
                        </a:lnTo>
                        <a:lnTo>
                          <a:pt x="1144" y="680"/>
                        </a:lnTo>
                        <a:lnTo>
                          <a:pt x="1098" y="670"/>
                        </a:lnTo>
                        <a:lnTo>
                          <a:pt x="1052" y="658"/>
                        </a:lnTo>
                        <a:lnTo>
                          <a:pt x="1008" y="644"/>
                        </a:lnTo>
                        <a:lnTo>
                          <a:pt x="964" y="630"/>
                        </a:lnTo>
                        <a:lnTo>
                          <a:pt x="920" y="616"/>
                        </a:lnTo>
                        <a:lnTo>
                          <a:pt x="876" y="600"/>
                        </a:lnTo>
                        <a:lnTo>
                          <a:pt x="834" y="582"/>
                        </a:lnTo>
                        <a:lnTo>
                          <a:pt x="792" y="562"/>
                        </a:lnTo>
                        <a:lnTo>
                          <a:pt x="752" y="542"/>
                        </a:lnTo>
                        <a:lnTo>
                          <a:pt x="712" y="520"/>
                        </a:lnTo>
                        <a:lnTo>
                          <a:pt x="672" y="498"/>
                        </a:lnTo>
                        <a:lnTo>
                          <a:pt x="632" y="474"/>
                        </a:lnTo>
                        <a:lnTo>
                          <a:pt x="594" y="450"/>
                        </a:lnTo>
                        <a:lnTo>
                          <a:pt x="558" y="424"/>
                        </a:lnTo>
                        <a:lnTo>
                          <a:pt x="520" y="398"/>
                        </a:lnTo>
                        <a:lnTo>
                          <a:pt x="486" y="370"/>
                        </a:lnTo>
                        <a:lnTo>
                          <a:pt x="450" y="340"/>
                        </a:lnTo>
                        <a:lnTo>
                          <a:pt x="416" y="310"/>
                        </a:lnTo>
                        <a:lnTo>
                          <a:pt x="384" y="280"/>
                        </a:lnTo>
                        <a:lnTo>
                          <a:pt x="350" y="248"/>
                        </a:lnTo>
                        <a:lnTo>
                          <a:pt x="320" y="216"/>
                        </a:lnTo>
                        <a:lnTo>
                          <a:pt x="290" y="182"/>
                        </a:lnTo>
                        <a:lnTo>
                          <a:pt x="260" y="146"/>
                        </a:lnTo>
                        <a:lnTo>
                          <a:pt x="232" y="112"/>
                        </a:lnTo>
                        <a:lnTo>
                          <a:pt x="204" y="76"/>
                        </a:lnTo>
                        <a:lnTo>
                          <a:pt x="178" y="38"/>
                        </a:lnTo>
                        <a:lnTo>
                          <a:pt x="152" y="0"/>
                        </a:lnTo>
                        <a:lnTo>
                          <a:pt x="152" y="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" name="Freeform 54">
                    <a:extLst>
                      <a:ext uri="{FF2B5EF4-FFF2-40B4-BE49-F238E27FC236}">
                        <a16:creationId xmlns="" xmlns:a16="http://schemas.microsoft.com/office/drawing/2014/main" id="{2D8CB0BD-C70B-4614-9182-21BE9D0B5F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657350" y="4029075"/>
                    <a:ext cx="574675" cy="2482850"/>
                  </a:xfrm>
                  <a:custGeom>
                    <a:avLst/>
                    <a:gdLst/>
                    <a:ahLst/>
                    <a:cxnLst>
                      <a:cxn ang="0">
                        <a:pos x="362" y="1490"/>
                      </a:cxn>
                      <a:cxn ang="0">
                        <a:pos x="324" y="1410"/>
                      </a:cxn>
                      <a:cxn ang="0">
                        <a:pos x="290" y="1326"/>
                      </a:cxn>
                      <a:cxn ang="0">
                        <a:pos x="260" y="1240"/>
                      </a:cxn>
                      <a:cxn ang="0">
                        <a:pos x="236" y="1152"/>
                      </a:cxn>
                      <a:cxn ang="0">
                        <a:pos x="216" y="1062"/>
                      </a:cxn>
                      <a:cxn ang="0">
                        <a:pos x="202" y="970"/>
                      </a:cxn>
                      <a:cxn ang="0">
                        <a:pos x="194" y="876"/>
                      </a:cxn>
                      <a:cxn ang="0">
                        <a:pos x="192" y="782"/>
                      </a:cxn>
                      <a:cxn ang="0">
                        <a:pos x="192" y="734"/>
                      </a:cxn>
                      <a:cxn ang="0">
                        <a:pos x="198" y="640"/>
                      </a:cxn>
                      <a:cxn ang="0">
                        <a:pos x="210" y="548"/>
                      </a:cxn>
                      <a:cxn ang="0">
                        <a:pos x="226" y="456"/>
                      </a:cxn>
                      <a:cxn ang="0">
                        <a:pos x="248" y="368"/>
                      </a:cxn>
                      <a:cxn ang="0">
                        <a:pos x="274" y="280"/>
                      </a:cxn>
                      <a:cxn ang="0">
                        <a:pos x="306" y="196"/>
                      </a:cxn>
                      <a:cxn ang="0">
                        <a:pos x="342" y="114"/>
                      </a:cxn>
                      <a:cxn ang="0">
                        <a:pos x="362" y="74"/>
                      </a:cxn>
                      <a:cxn ang="0">
                        <a:pos x="342" y="42"/>
                      </a:cxn>
                      <a:cxn ang="0">
                        <a:pos x="318" y="18"/>
                      </a:cxn>
                      <a:cxn ang="0">
                        <a:pos x="296" y="10"/>
                      </a:cxn>
                      <a:cxn ang="0">
                        <a:pos x="262" y="6"/>
                      </a:cxn>
                      <a:cxn ang="0">
                        <a:pos x="236" y="12"/>
                      </a:cxn>
                      <a:cxn ang="0">
                        <a:pos x="220" y="22"/>
                      </a:cxn>
                      <a:cxn ang="0">
                        <a:pos x="184" y="0"/>
                      </a:cxn>
                      <a:cxn ang="0">
                        <a:pos x="142" y="92"/>
                      </a:cxn>
                      <a:cxn ang="0">
                        <a:pos x="104" y="184"/>
                      </a:cxn>
                      <a:cxn ang="0">
                        <a:pos x="72" y="280"/>
                      </a:cxn>
                      <a:cxn ang="0">
                        <a:pos x="46" y="378"/>
                      </a:cxn>
                      <a:cxn ang="0">
                        <a:pos x="26" y="476"/>
                      </a:cxn>
                      <a:cxn ang="0">
                        <a:pos x="12" y="578"/>
                      </a:cxn>
                      <a:cxn ang="0">
                        <a:pos x="2" y="678"/>
                      </a:cxn>
                      <a:cxn ang="0">
                        <a:pos x="0" y="782"/>
                      </a:cxn>
                      <a:cxn ang="0">
                        <a:pos x="0" y="834"/>
                      </a:cxn>
                      <a:cxn ang="0">
                        <a:pos x="6" y="936"/>
                      </a:cxn>
                      <a:cxn ang="0">
                        <a:pos x="18" y="1038"/>
                      </a:cxn>
                      <a:cxn ang="0">
                        <a:pos x="36" y="1138"/>
                      </a:cxn>
                      <a:cxn ang="0">
                        <a:pos x="58" y="1236"/>
                      </a:cxn>
                      <a:cxn ang="0">
                        <a:pos x="88" y="1332"/>
                      </a:cxn>
                      <a:cxn ang="0">
                        <a:pos x="122" y="1426"/>
                      </a:cxn>
                      <a:cxn ang="0">
                        <a:pos x="162" y="1518"/>
                      </a:cxn>
                      <a:cxn ang="0">
                        <a:pos x="220" y="1542"/>
                      </a:cxn>
                      <a:cxn ang="0">
                        <a:pos x="228" y="1548"/>
                      </a:cxn>
                      <a:cxn ang="0">
                        <a:pos x="248" y="1556"/>
                      </a:cxn>
                      <a:cxn ang="0">
                        <a:pos x="278" y="1558"/>
                      </a:cxn>
                      <a:cxn ang="0">
                        <a:pos x="318" y="1546"/>
                      </a:cxn>
                      <a:cxn ang="0">
                        <a:pos x="330" y="1536"/>
                      </a:cxn>
                      <a:cxn ang="0">
                        <a:pos x="354" y="1506"/>
                      </a:cxn>
                      <a:cxn ang="0">
                        <a:pos x="362" y="1490"/>
                      </a:cxn>
                    </a:cxnLst>
                    <a:rect l="0" t="0" r="r" b="b"/>
                    <a:pathLst>
                      <a:path w="362" h="1564">
                        <a:moveTo>
                          <a:pt x="362" y="1490"/>
                        </a:moveTo>
                        <a:lnTo>
                          <a:pt x="362" y="1490"/>
                        </a:lnTo>
                        <a:lnTo>
                          <a:pt x="342" y="1450"/>
                        </a:lnTo>
                        <a:lnTo>
                          <a:pt x="324" y="1410"/>
                        </a:lnTo>
                        <a:lnTo>
                          <a:pt x="306" y="1368"/>
                        </a:lnTo>
                        <a:lnTo>
                          <a:pt x="290" y="1326"/>
                        </a:lnTo>
                        <a:lnTo>
                          <a:pt x="274" y="1284"/>
                        </a:lnTo>
                        <a:lnTo>
                          <a:pt x="260" y="1240"/>
                        </a:lnTo>
                        <a:lnTo>
                          <a:pt x="248" y="1196"/>
                        </a:lnTo>
                        <a:lnTo>
                          <a:pt x="236" y="1152"/>
                        </a:lnTo>
                        <a:lnTo>
                          <a:pt x="226" y="1108"/>
                        </a:lnTo>
                        <a:lnTo>
                          <a:pt x="216" y="1062"/>
                        </a:lnTo>
                        <a:lnTo>
                          <a:pt x="210" y="1016"/>
                        </a:lnTo>
                        <a:lnTo>
                          <a:pt x="202" y="970"/>
                        </a:lnTo>
                        <a:lnTo>
                          <a:pt x="198" y="924"/>
                        </a:lnTo>
                        <a:lnTo>
                          <a:pt x="194" y="876"/>
                        </a:lnTo>
                        <a:lnTo>
                          <a:pt x="192" y="830"/>
                        </a:lnTo>
                        <a:lnTo>
                          <a:pt x="192" y="782"/>
                        </a:lnTo>
                        <a:lnTo>
                          <a:pt x="192" y="782"/>
                        </a:lnTo>
                        <a:lnTo>
                          <a:pt x="192" y="734"/>
                        </a:lnTo>
                        <a:lnTo>
                          <a:pt x="194" y="688"/>
                        </a:lnTo>
                        <a:lnTo>
                          <a:pt x="198" y="640"/>
                        </a:lnTo>
                        <a:lnTo>
                          <a:pt x="202" y="594"/>
                        </a:lnTo>
                        <a:lnTo>
                          <a:pt x="210" y="548"/>
                        </a:lnTo>
                        <a:lnTo>
                          <a:pt x="216" y="502"/>
                        </a:lnTo>
                        <a:lnTo>
                          <a:pt x="226" y="456"/>
                        </a:lnTo>
                        <a:lnTo>
                          <a:pt x="236" y="412"/>
                        </a:lnTo>
                        <a:lnTo>
                          <a:pt x="248" y="368"/>
                        </a:lnTo>
                        <a:lnTo>
                          <a:pt x="260" y="324"/>
                        </a:lnTo>
                        <a:lnTo>
                          <a:pt x="274" y="280"/>
                        </a:lnTo>
                        <a:lnTo>
                          <a:pt x="290" y="238"/>
                        </a:lnTo>
                        <a:lnTo>
                          <a:pt x="306" y="196"/>
                        </a:lnTo>
                        <a:lnTo>
                          <a:pt x="324" y="154"/>
                        </a:lnTo>
                        <a:lnTo>
                          <a:pt x="342" y="114"/>
                        </a:lnTo>
                        <a:lnTo>
                          <a:pt x="362" y="74"/>
                        </a:lnTo>
                        <a:lnTo>
                          <a:pt x="362" y="74"/>
                        </a:lnTo>
                        <a:lnTo>
                          <a:pt x="354" y="58"/>
                        </a:lnTo>
                        <a:lnTo>
                          <a:pt x="342" y="42"/>
                        </a:lnTo>
                        <a:lnTo>
                          <a:pt x="330" y="28"/>
                        </a:lnTo>
                        <a:lnTo>
                          <a:pt x="318" y="18"/>
                        </a:lnTo>
                        <a:lnTo>
                          <a:pt x="318" y="18"/>
                        </a:lnTo>
                        <a:lnTo>
                          <a:pt x="296" y="10"/>
                        </a:lnTo>
                        <a:lnTo>
                          <a:pt x="278" y="6"/>
                        </a:lnTo>
                        <a:lnTo>
                          <a:pt x="262" y="6"/>
                        </a:lnTo>
                        <a:lnTo>
                          <a:pt x="248" y="8"/>
                        </a:lnTo>
                        <a:lnTo>
                          <a:pt x="236" y="12"/>
                        </a:lnTo>
                        <a:lnTo>
                          <a:pt x="228" y="16"/>
                        </a:lnTo>
                        <a:lnTo>
                          <a:pt x="220" y="22"/>
                        </a:lnTo>
                        <a:lnTo>
                          <a:pt x="184" y="0"/>
                        </a:lnTo>
                        <a:lnTo>
                          <a:pt x="184" y="0"/>
                        </a:lnTo>
                        <a:lnTo>
                          <a:pt x="162" y="46"/>
                        </a:lnTo>
                        <a:lnTo>
                          <a:pt x="142" y="92"/>
                        </a:lnTo>
                        <a:lnTo>
                          <a:pt x="122" y="138"/>
                        </a:lnTo>
                        <a:lnTo>
                          <a:pt x="104" y="184"/>
                        </a:lnTo>
                        <a:lnTo>
                          <a:pt x="88" y="232"/>
                        </a:lnTo>
                        <a:lnTo>
                          <a:pt x="72" y="280"/>
                        </a:lnTo>
                        <a:lnTo>
                          <a:pt x="58" y="328"/>
                        </a:lnTo>
                        <a:lnTo>
                          <a:pt x="46" y="378"/>
                        </a:lnTo>
                        <a:lnTo>
                          <a:pt x="36" y="426"/>
                        </a:lnTo>
                        <a:lnTo>
                          <a:pt x="26" y="476"/>
                        </a:lnTo>
                        <a:lnTo>
                          <a:pt x="18" y="526"/>
                        </a:lnTo>
                        <a:lnTo>
                          <a:pt x="12" y="578"/>
                        </a:lnTo>
                        <a:lnTo>
                          <a:pt x="6" y="628"/>
                        </a:lnTo>
                        <a:lnTo>
                          <a:pt x="2" y="678"/>
                        </a:lnTo>
                        <a:lnTo>
                          <a:pt x="0" y="730"/>
                        </a:lnTo>
                        <a:lnTo>
                          <a:pt x="0" y="782"/>
                        </a:lnTo>
                        <a:lnTo>
                          <a:pt x="0" y="782"/>
                        </a:lnTo>
                        <a:lnTo>
                          <a:pt x="0" y="834"/>
                        </a:lnTo>
                        <a:lnTo>
                          <a:pt x="2" y="886"/>
                        </a:lnTo>
                        <a:lnTo>
                          <a:pt x="6" y="936"/>
                        </a:lnTo>
                        <a:lnTo>
                          <a:pt x="12" y="986"/>
                        </a:lnTo>
                        <a:lnTo>
                          <a:pt x="18" y="1038"/>
                        </a:lnTo>
                        <a:lnTo>
                          <a:pt x="26" y="1088"/>
                        </a:lnTo>
                        <a:lnTo>
                          <a:pt x="36" y="1138"/>
                        </a:lnTo>
                        <a:lnTo>
                          <a:pt x="46" y="1186"/>
                        </a:lnTo>
                        <a:lnTo>
                          <a:pt x="58" y="1236"/>
                        </a:lnTo>
                        <a:lnTo>
                          <a:pt x="72" y="1284"/>
                        </a:lnTo>
                        <a:lnTo>
                          <a:pt x="88" y="1332"/>
                        </a:lnTo>
                        <a:lnTo>
                          <a:pt x="104" y="1380"/>
                        </a:lnTo>
                        <a:lnTo>
                          <a:pt x="122" y="1426"/>
                        </a:lnTo>
                        <a:lnTo>
                          <a:pt x="142" y="1472"/>
                        </a:lnTo>
                        <a:lnTo>
                          <a:pt x="162" y="1518"/>
                        </a:lnTo>
                        <a:lnTo>
                          <a:pt x="184" y="1564"/>
                        </a:lnTo>
                        <a:lnTo>
                          <a:pt x="220" y="1542"/>
                        </a:lnTo>
                        <a:lnTo>
                          <a:pt x="220" y="1542"/>
                        </a:lnTo>
                        <a:lnTo>
                          <a:pt x="228" y="1548"/>
                        </a:lnTo>
                        <a:lnTo>
                          <a:pt x="236" y="1552"/>
                        </a:lnTo>
                        <a:lnTo>
                          <a:pt x="248" y="1556"/>
                        </a:lnTo>
                        <a:lnTo>
                          <a:pt x="262" y="1558"/>
                        </a:lnTo>
                        <a:lnTo>
                          <a:pt x="278" y="1558"/>
                        </a:lnTo>
                        <a:lnTo>
                          <a:pt x="296" y="1554"/>
                        </a:lnTo>
                        <a:lnTo>
                          <a:pt x="318" y="1546"/>
                        </a:lnTo>
                        <a:lnTo>
                          <a:pt x="318" y="1546"/>
                        </a:lnTo>
                        <a:lnTo>
                          <a:pt x="330" y="1536"/>
                        </a:lnTo>
                        <a:lnTo>
                          <a:pt x="342" y="1522"/>
                        </a:lnTo>
                        <a:lnTo>
                          <a:pt x="354" y="1506"/>
                        </a:lnTo>
                        <a:lnTo>
                          <a:pt x="362" y="1490"/>
                        </a:lnTo>
                        <a:lnTo>
                          <a:pt x="362" y="1490"/>
                        </a:lnTo>
                        <a:close/>
                      </a:path>
                    </a:pathLst>
                  </a:custGeom>
                  <a:solidFill>
                    <a:srgbClr val="00AEE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49761" tIns="24881" rIns="49761" bIns="2488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871" dirty="0">
                      <a:solidFill>
                        <a:prstClr val="black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78" name="椭圆 93">
                <a:extLst>
                  <a:ext uri="{FF2B5EF4-FFF2-40B4-BE49-F238E27FC236}">
                    <a16:creationId xmlns="" xmlns:a16="http://schemas.microsoft.com/office/drawing/2014/main" id="{23301825-CD07-4A2F-9065-A6D9351DCF02}"/>
                  </a:ext>
                </a:extLst>
              </p:cNvPr>
              <p:cNvSpPr/>
              <p:nvPr/>
            </p:nvSpPr>
            <p:spPr>
              <a:xfrm>
                <a:off x="7683048" y="908694"/>
                <a:ext cx="663846" cy="662924"/>
              </a:xfrm>
              <a:prstGeom prst="ellipse">
                <a:avLst/>
              </a:prstGeom>
              <a:gradFill flip="none" rotWithShape="1">
                <a:gsLst>
                  <a:gs pos="0">
                    <a:srgbClr val="4F81BD">
                      <a:lumMod val="40000"/>
                      <a:lumOff val="60000"/>
                      <a:alpha val="90000"/>
                    </a:srgbClr>
                  </a:gs>
                  <a:gs pos="10000">
                    <a:srgbClr val="226F9E"/>
                  </a:gs>
                  <a:gs pos="62000">
                    <a:srgbClr val="3E6CA4">
                      <a:alpha val="6000"/>
                    </a:srgbClr>
                  </a:gs>
                  <a:gs pos="35000">
                    <a:srgbClr val="4F81BD">
                      <a:lumMod val="75000"/>
                      <a:alpha val="37000"/>
                    </a:srgbClr>
                  </a:gs>
                  <a:gs pos="98000">
                    <a:srgbClr val="4F81BD">
                      <a:lumMod val="50000"/>
                      <a:alpha val="40000"/>
                    </a:srgbClr>
                  </a:gs>
                </a:gsLst>
                <a:lin ang="2700000" scaled="1"/>
                <a:tileRect/>
              </a:gradFill>
              <a:ln w="63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defTabSz="1219078" fontAlgn="ctr">
                  <a:buClr>
                    <a:srgbClr val="CC9900"/>
                  </a:buClr>
                  <a:buFont typeface="Wingdings" pitchFamily="2" charset="2"/>
                  <a:buChar char="n"/>
                  <a:defRPr/>
                </a:pPr>
                <a:endParaRPr lang="en-US" altLang="zh-CN" sz="871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93" name="矩形 92">
              <a:extLst>
                <a:ext uri="{FF2B5EF4-FFF2-40B4-BE49-F238E27FC236}">
                  <a16:creationId xmlns="" xmlns:a16="http://schemas.microsoft.com/office/drawing/2014/main" id="{F52EFC84-1E6D-49E7-9666-838080273644}"/>
                </a:ext>
              </a:extLst>
            </p:cNvPr>
            <p:cNvSpPr/>
            <p:nvPr/>
          </p:nvSpPr>
          <p:spPr>
            <a:xfrm>
              <a:off x="8518274" y="4690193"/>
              <a:ext cx="981615" cy="46165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 defTabSz="1219078" fontAlgn="ctr"/>
              <a:r>
                <a:rPr lang="en-US" sz="23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50%+</a:t>
              </a:r>
              <a:endParaRPr lang="en-US" altLang="zh-CN" sz="23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2" name="Freeform 5">
            <a:extLst>
              <a:ext uri="{FF2B5EF4-FFF2-40B4-BE49-F238E27FC236}">
                <a16:creationId xmlns="" xmlns:a16="http://schemas.microsoft.com/office/drawing/2014/main" id="{117D237B-6DFA-4962-A669-5D9948A864BC}"/>
              </a:ext>
            </a:extLst>
          </p:cNvPr>
          <p:cNvSpPr>
            <a:spLocks/>
          </p:cNvSpPr>
          <p:nvPr/>
        </p:nvSpPr>
        <p:spPr bwMode="auto">
          <a:xfrm>
            <a:off x="7297008" y="5016129"/>
            <a:ext cx="180370" cy="215317"/>
          </a:xfrm>
          <a:custGeom>
            <a:avLst/>
            <a:gdLst>
              <a:gd name="T0" fmla="*/ 0 w 91"/>
              <a:gd name="T1" fmla="*/ 63 h 110"/>
              <a:gd name="T2" fmla="*/ 41 w 91"/>
              <a:gd name="T3" fmla="*/ 110 h 110"/>
              <a:gd name="T4" fmla="*/ 91 w 91"/>
              <a:gd name="T5" fmla="*/ 63 h 110"/>
              <a:gd name="T6" fmla="*/ 65 w 91"/>
              <a:gd name="T7" fmla="*/ 63 h 110"/>
              <a:gd name="T8" fmla="*/ 20 w 91"/>
              <a:gd name="T9" fmla="*/ 0 h 110"/>
              <a:gd name="T10" fmla="*/ 24 w 91"/>
              <a:gd name="T11" fmla="*/ 63 h 110"/>
              <a:gd name="T12" fmla="*/ 0 w 91"/>
              <a:gd name="T13" fmla="*/ 63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10">
                <a:moveTo>
                  <a:pt x="0" y="63"/>
                </a:moveTo>
                <a:cubicBezTo>
                  <a:pt x="41" y="110"/>
                  <a:pt x="41" y="110"/>
                  <a:pt x="41" y="110"/>
                </a:cubicBezTo>
                <a:cubicBezTo>
                  <a:pt x="91" y="63"/>
                  <a:pt x="91" y="63"/>
                  <a:pt x="91" y="63"/>
                </a:cubicBezTo>
                <a:cubicBezTo>
                  <a:pt x="65" y="63"/>
                  <a:pt x="65" y="63"/>
                  <a:pt x="65" y="63"/>
                </a:cubicBezTo>
                <a:cubicBezTo>
                  <a:pt x="65" y="63"/>
                  <a:pt x="55" y="3"/>
                  <a:pt x="20" y="0"/>
                </a:cubicBezTo>
                <a:cubicBezTo>
                  <a:pt x="20" y="0"/>
                  <a:pt x="38" y="42"/>
                  <a:pt x="24" y="63"/>
                </a:cubicBezTo>
                <a:lnTo>
                  <a:pt x="0" y="63"/>
                </a:lnTo>
                <a:close/>
              </a:path>
            </a:pathLst>
          </a:custGeom>
          <a:solidFill>
            <a:srgbClr val="FFC000"/>
          </a:solidFill>
          <a:ln>
            <a:solidFill>
              <a:srgbClr val="FFC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1999" b="1" dirty="0">
              <a:ln>
                <a:solidFill>
                  <a:srgbClr val="FFC000"/>
                </a:solidFill>
              </a:ln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103" name="Freeform 5">
            <a:extLst>
              <a:ext uri="{FF2B5EF4-FFF2-40B4-BE49-F238E27FC236}">
                <a16:creationId xmlns="" xmlns:a16="http://schemas.microsoft.com/office/drawing/2014/main" id="{DB7FCD93-91FB-423A-A5D1-9C0734449815}"/>
              </a:ext>
            </a:extLst>
          </p:cNvPr>
          <p:cNvSpPr>
            <a:spLocks/>
          </p:cNvSpPr>
          <p:nvPr/>
        </p:nvSpPr>
        <p:spPr bwMode="auto">
          <a:xfrm>
            <a:off x="11189729" y="5016129"/>
            <a:ext cx="180370" cy="215317"/>
          </a:xfrm>
          <a:custGeom>
            <a:avLst/>
            <a:gdLst>
              <a:gd name="T0" fmla="*/ 0 w 91"/>
              <a:gd name="T1" fmla="*/ 63 h 110"/>
              <a:gd name="T2" fmla="*/ 41 w 91"/>
              <a:gd name="T3" fmla="*/ 110 h 110"/>
              <a:gd name="T4" fmla="*/ 91 w 91"/>
              <a:gd name="T5" fmla="*/ 63 h 110"/>
              <a:gd name="T6" fmla="*/ 65 w 91"/>
              <a:gd name="T7" fmla="*/ 63 h 110"/>
              <a:gd name="T8" fmla="*/ 20 w 91"/>
              <a:gd name="T9" fmla="*/ 0 h 110"/>
              <a:gd name="T10" fmla="*/ 24 w 91"/>
              <a:gd name="T11" fmla="*/ 63 h 110"/>
              <a:gd name="T12" fmla="*/ 0 w 91"/>
              <a:gd name="T13" fmla="*/ 63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10">
                <a:moveTo>
                  <a:pt x="0" y="63"/>
                </a:moveTo>
                <a:cubicBezTo>
                  <a:pt x="41" y="110"/>
                  <a:pt x="41" y="110"/>
                  <a:pt x="41" y="110"/>
                </a:cubicBezTo>
                <a:cubicBezTo>
                  <a:pt x="91" y="63"/>
                  <a:pt x="91" y="63"/>
                  <a:pt x="91" y="63"/>
                </a:cubicBezTo>
                <a:cubicBezTo>
                  <a:pt x="65" y="63"/>
                  <a:pt x="65" y="63"/>
                  <a:pt x="65" y="63"/>
                </a:cubicBezTo>
                <a:cubicBezTo>
                  <a:pt x="65" y="63"/>
                  <a:pt x="55" y="3"/>
                  <a:pt x="20" y="0"/>
                </a:cubicBezTo>
                <a:cubicBezTo>
                  <a:pt x="20" y="0"/>
                  <a:pt x="38" y="42"/>
                  <a:pt x="24" y="63"/>
                </a:cubicBezTo>
                <a:lnTo>
                  <a:pt x="0" y="63"/>
                </a:lnTo>
                <a:close/>
              </a:path>
            </a:pathLst>
          </a:custGeom>
          <a:solidFill>
            <a:srgbClr val="FFC000"/>
          </a:solidFill>
          <a:ln>
            <a:solidFill>
              <a:srgbClr val="FFC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9078" fontAlgn="ctr"/>
            <a:endParaRPr lang="en-US" altLang="zh-CN" sz="1999" b="1" dirty="0">
              <a:ln>
                <a:solidFill>
                  <a:srgbClr val="FFC000"/>
                </a:solidFill>
              </a:ln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83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358E0CB-5553-4F2A-8E75-95E265AF02F5}"/>
              </a:ext>
            </a:extLst>
          </p:cNvPr>
          <p:cNvSpPr txBox="1"/>
          <p:nvPr/>
        </p:nvSpPr>
        <p:spPr>
          <a:xfrm>
            <a:off x="541281" y="365692"/>
            <a:ext cx="11337755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reaking Data Silos to Facilitate Data Sharing and Improve Service Efficiency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542304"/>
            <a:ext cx="12192000" cy="3835053"/>
          </a:xfrm>
          <a:prstGeom prst="rect">
            <a:avLst/>
          </a:prstGeom>
        </p:spPr>
      </p:pic>
      <p:sp>
        <p:nvSpPr>
          <p:cNvPr id="56" name="矩形 55">
            <a:extLst>
              <a:ext uri="{FF2B5EF4-FFF2-40B4-BE49-F238E27FC236}">
                <a16:creationId xmlns="" xmlns:a16="http://schemas.microsoft.com/office/drawing/2014/main" id="{EE39654B-668B-4B5E-A9BE-5989975803FC}"/>
              </a:ext>
            </a:extLst>
          </p:cNvPr>
          <p:cNvSpPr/>
          <p:nvPr/>
        </p:nvSpPr>
        <p:spPr>
          <a:xfrm>
            <a:off x="0" y="4745255"/>
            <a:ext cx="6124886" cy="632103"/>
          </a:xfrm>
          <a:prstGeom prst="rect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="" xmlns:a16="http://schemas.microsoft.com/office/drawing/2014/main" id="{77C422DC-948A-459B-B154-1873D764334C}"/>
              </a:ext>
            </a:extLst>
          </p:cNvPr>
          <p:cNvSpPr/>
          <p:nvPr/>
        </p:nvSpPr>
        <p:spPr>
          <a:xfrm rot="10800000">
            <a:off x="6115228" y="4745254"/>
            <a:ext cx="6124886" cy="632103"/>
          </a:xfrm>
          <a:prstGeom prst="rect">
            <a:avLst/>
          </a:prstGeom>
          <a:gradFill>
            <a:gsLst>
              <a:gs pos="6700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58" name="Rectangle 5">
            <a:extLst>
              <a:ext uri="{FF2B5EF4-FFF2-40B4-BE49-F238E27FC236}">
                <a16:creationId xmlns="" xmlns:a16="http://schemas.microsoft.com/office/drawing/2014/main" id="{E995B18A-8F84-4D70-8A36-3F0CED7D4FFB}"/>
              </a:ext>
            </a:extLst>
          </p:cNvPr>
          <p:cNvSpPr>
            <a:spLocks/>
          </p:cNvSpPr>
          <p:nvPr/>
        </p:nvSpPr>
        <p:spPr bwMode="auto">
          <a:xfrm>
            <a:off x="3987" y="4984150"/>
            <a:ext cx="3754809" cy="214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>
            <a:lvl1pPr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fontAlgn="ctr">
              <a:lnSpc>
                <a:spcPct val="80000"/>
              </a:lnSpc>
              <a:spcBef>
                <a:spcPts val="476"/>
              </a:spcBef>
            </a:pP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Apply online and submit materials offline 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only once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.</a:t>
            </a:r>
            <a:endParaRPr lang="en-US" sz="1999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59" name="Rectangle 7">
            <a:extLst>
              <a:ext uri="{FF2B5EF4-FFF2-40B4-BE49-F238E27FC236}">
                <a16:creationId xmlns="" xmlns:a16="http://schemas.microsoft.com/office/drawing/2014/main" id="{EA51A91C-E1CB-4106-B65A-00944A8860E3}"/>
              </a:ext>
            </a:extLst>
          </p:cNvPr>
          <p:cNvSpPr>
            <a:spLocks/>
          </p:cNvSpPr>
          <p:nvPr/>
        </p:nvSpPr>
        <p:spPr bwMode="auto">
          <a:xfrm>
            <a:off x="6453844" y="4984150"/>
            <a:ext cx="5649256" cy="214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>
            <a:lvl1pPr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 defTabSz="4205288"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4205288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fontAlgn="ctr">
              <a:lnSpc>
                <a:spcPct val="80000"/>
              </a:lnSpc>
              <a:spcBef>
                <a:spcPts val="476"/>
              </a:spcBef>
            </a:pP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Visit multiple departments for several 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times, taking </a:t>
            </a:r>
            <a:r>
              <a:rPr lang="en-US" sz="19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lots of time and efforts.</a:t>
            </a:r>
            <a:endParaRPr lang="en-US" sz="1999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62" name="圆角矩形 606">
            <a:extLst>
              <a:ext uri="{FF2B5EF4-FFF2-40B4-BE49-F238E27FC236}">
                <a16:creationId xmlns="" xmlns:a16="http://schemas.microsoft.com/office/drawing/2014/main" id="{B1F9C214-A033-4CB4-9659-E1CA4E43DFEA}"/>
              </a:ext>
            </a:extLst>
          </p:cNvPr>
          <p:cNvSpPr/>
          <p:nvPr/>
        </p:nvSpPr>
        <p:spPr>
          <a:xfrm>
            <a:off x="1423584" y="5688315"/>
            <a:ext cx="2705654" cy="592329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423584" y="5767061"/>
            <a:ext cx="2946285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3717" fontAlgn="ctr">
              <a:defRPr/>
            </a:pPr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</a:rPr>
              <a:t>At </a:t>
            </a:r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</a:rPr>
              <a:t>present: 2 </a:t>
            </a:r>
            <a:r>
              <a:rPr lang="en-US" sz="2400" dirty="0" smtClean="0">
                <a:solidFill>
                  <a:srgbClr val="FFC000"/>
                </a:solidFill>
                <a:latin typeface="Arial" panose="020B0604020202020204" pitchFamily="34" charset="0"/>
              </a:rPr>
              <a:t>days</a:t>
            </a:r>
            <a:endParaRPr lang="en-US" sz="2400" dirty="0">
              <a:solidFill>
                <a:srgbClr val="FFC000"/>
              </a:solidFill>
              <a:latin typeface="Arial" panose="020B0604020202020204" pitchFamily="34" charset="0"/>
            </a:endParaRPr>
          </a:p>
        </p:txBody>
      </p:sp>
      <p:sp>
        <p:nvSpPr>
          <p:cNvPr id="63" name="圆角矩形 606">
            <a:extLst>
              <a:ext uri="{FF2B5EF4-FFF2-40B4-BE49-F238E27FC236}">
                <a16:creationId xmlns="" xmlns:a16="http://schemas.microsoft.com/office/drawing/2014/main" id="{B1F9C214-A033-4CB4-9659-E1CA4E43DFEA}"/>
              </a:ext>
            </a:extLst>
          </p:cNvPr>
          <p:cNvSpPr/>
          <p:nvPr/>
        </p:nvSpPr>
        <p:spPr>
          <a:xfrm>
            <a:off x="8604985" y="5678690"/>
            <a:ext cx="2469284" cy="592329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endParaRPr lang="en-US" altLang="zh-CN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8682868" y="5734134"/>
            <a:ext cx="2392001" cy="46153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3717" fontAlgn="ctr">
              <a:defRPr/>
            </a:pPr>
            <a:r>
              <a:rPr lang="en-US" sz="2399" dirty="0" smtClean="0">
                <a:solidFill>
                  <a:prstClr val="white"/>
                </a:solidFill>
                <a:latin typeface="Arial" panose="020B0604020202020204" pitchFamily="34" charset="0"/>
              </a:rPr>
              <a:t>Before: </a:t>
            </a:r>
            <a:r>
              <a:rPr lang="en-US" sz="23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20 </a:t>
            </a:r>
            <a:r>
              <a:rPr lang="en-US" sz="23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days</a:t>
            </a:r>
            <a:endParaRPr lang="en-US" altLang="zh-CN" sz="2399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58861" y="1155047"/>
            <a:ext cx="7994496" cy="369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078" fontAlgn="ctr"/>
            <a:r>
              <a:rPr lang="en-US" sz="1799" dirty="0" smtClean="0">
                <a:solidFill>
                  <a:prstClr val="white"/>
                </a:solidFill>
                <a:latin typeface="Arial" panose="020B0604020202020204" pitchFamily="34" charset="0"/>
              </a:rPr>
              <a:t>Case: free </a:t>
            </a:r>
            <a:r>
              <a:rPr lang="en-US" sz="1799" dirty="0" smtClean="0">
                <a:solidFill>
                  <a:prstClr val="white"/>
                </a:solidFill>
                <a:latin typeface="Arial" panose="020B0604020202020204" pitchFamily="34" charset="0"/>
              </a:rPr>
              <a:t>education application for children of migrant workers in Shenzhen</a:t>
            </a:r>
            <a:endParaRPr lang="en-US" sz="1799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139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7"/>
          <a:stretch/>
        </p:blipFill>
        <p:spPr>
          <a:xfrm>
            <a:off x="0" y="-21929"/>
            <a:ext cx="12192000" cy="6891219"/>
          </a:xfrm>
          <a:prstGeom prst="rect">
            <a:avLst/>
          </a:prstGeom>
        </p:spPr>
      </p:pic>
      <p:sp>
        <p:nvSpPr>
          <p:cNvPr id="36" name="矩形 35"/>
          <p:cNvSpPr/>
          <p:nvPr/>
        </p:nvSpPr>
        <p:spPr>
          <a:xfrm rot="16200000" flipV="1">
            <a:off x="4329808" y="-1004292"/>
            <a:ext cx="6879831" cy="8844550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50000"/>
                </a:srgbClr>
              </a:gs>
              <a:gs pos="100000">
                <a:srgbClr val="1F497D">
                  <a:lumMod val="5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799" kern="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="" xmlns:a16="http://schemas.microsoft.com/office/drawing/2014/main" id="{0E241F7E-5FE2-4927-90E3-A90DF543B02D}"/>
              </a:ext>
            </a:extLst>
          </p:cNvPr>
          <p:cNvSpPr txBox="1"/>
          <p:nvPr/>
        </p:nvSpPr>
        <p:spPr>
          <a:xfrm>
            <a:off x="541281" y="365692"/>
            <a:ext cx="10827144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Multi-Planning-in-One: Making </a:t>
            </a:r>
            <a:r>
              <a:rPr lang="en-US" sz="27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ity Planning More </a:t>
            </a:r>
            <a:r>
              <a:rPr lang="en-US" sz="27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Reasonable with </a:t>
            </a:r>
            <a:r>
              <a:rPr lang="en-US" sz="27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Cloud and Big </a:t>
            </a:r>
            <a:r>
              <a:rPr lang="en-US" sz="2799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Data</a:t>
            </a:r>
            <a:endParaRPr lang="en-US" sz="2799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3806775" y="3082169"/>
            <a:ext cx="3243748" cy="1343526"/>
            <a:chOff x="8592618" y="1615151"/>
            <a:chExt cx="2678271" cy="1109311"/>
          </a:xfrm>
        </p:grpSpPr>
        <p:sp>
          <p:nvSpPr>
            <p:cNvPr id="26" name="圆角矩形 606">
              <a:extLst>
                <a:ext uri="{FF2B5EF4-FFF2-40B4-BE49-F238E27FC236}">
                  <a16:creationId xmlns="" xmlns:a16="http://schemas.microsoft.com/office/drawing/2014/main" id="{B1F9C214-A033-4CB4-9659-E1CA4E43DFEA}"/>
                </a:ext>
              </a:extLst>
            </p:cNvPr>
            <p:cNvSpPr/>
            <p:nvPr/>
          </p:nvSpPr>
          <p:spPr>
            <a:xfrm>
              <a:off x="8803235" y="1615151"/>
              <a:ext cx="2257037" cy="110931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  <a:effectLst/>
          </p:spPr>
          <p:txBody>
            <a:bodyPr vert="horz" wrap="square" lIns="91408" tIns="45703" rIns="91408" bIns="45703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="" xmlns:a16="http://schemas.microsoft.com/office/drawing/2014/main" id="{380C0398-7294-4533-A3EC-138A2F5A521D}"/>
                </a:ext>
              </a:extLst>
            </p:cNvPr>
            <p:cNvSpPr txBox="1"/>
            <p:nvPr/>
          </p:nvSpPr>
          <p:spPr>
            <a:xfrm>
              <a:off x="8592618" y="1737295"/>
              <a:ext cx="2678271" cy="68591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pPr algn="ctr" defTabSz="1219078" fontAlgn="ctr"/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Unified base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map, supporting reasonable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decision-making</a:t>
              </a:r>
              <a:endParaRPr lang="en-US" sz="19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6917328" y="3064277"/>
            <a:ext cx="2475881" cy="1361420"/>
            <a:chOff x="9208313" y="1615151"/>
            <a:chExt cx="2044264" cy="1124083"/>
          </a:xfrm>
        </p:grpSpPr>
        <p:sp>
          <p:nvSpPr>
            <p:cNvPr id="29" name="圆角矩形 606">
              <a:extLst>
                <a:ext uri="{FF2B5EF4-FFF2-40B4-BE49-F238E27FC236}">
                  <a16:creationId xmlns="" xmlns:a16="http://schemas.microsoft.com/office/drawing/2014/main" id="{B1F9C214-A033-4CB4-9659-E1CA4E43DFEA}"/>
                </a:ext>
              </a:extLst>
            </p:cNvPr>
            <p:cNvSpPr/>
            <p:nvPr/>
          </p:nvSpPr>
          <p:spPr>
            <a:xfrm>
              <a:off x="9224494" y="1615151"/>
              <a:ext cx="1990075" cy="112408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  <a:effectLst/>
          </p:spPr>
          <p:txBody>
            <a:bodyPr vert="horz" wrap="square" lIns="91408" tIns="45703" rIns="91408" bIns="45703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="" xmlns:a16="http://schemas.microsoft.com/office/drawing/2014/main" id="{380C0398-7294-4533-A3EC-138A2F5A521D}"/>
                </a:ext>
              </a:extLst>
            </p:cNvPr>
            <p:cNvSpPr txBox="1"/>
            <p:nvPr/>
          </p:nvSpPr>
          <p:spPr>
            <a:xfrm>
              <a:off x="9208313" y="1802509"/>
              <a:ext cx="2044264" cy="68591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pPr algn="ctr" defTabSz="1219078" fontAlgn="ctr"/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Data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sharing, avoiding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repeated construction</a:t>
              </a:r>
              <a:endParaRPr lang="en-US" sz="19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9449598" y="3082167"/>
            <a:ext cx="2639978" cy="1343528"/>
            <a:chOff x="9139929" y="1615151"/>
            <a:chExt cx="2179754" cy="1109313"/>
          </a:xfrm>
        </p:grpSpPr>
        <p:sp>
          <p:nvSpPr>
            <p:cNvPr id="32" name="圆角矩形 606">
              <a:extLst>
                <a:ext uri="{FF2B5EF4-FFF2-40B4-BE49-F238E27FC236}">
                  <a16:creationId xmlns="" xmlns:a16="http://schemas.microsoft.com/office/drawing/2014/main" id="{B1F9C214-A033-4CB4-9659-E1CA4E43DFEA}"/>
                </a:ext>
              </a:extLst>
            </p:cNvPr>
            <p:cNvSpPr/>
            <p:nvPr/>
          </p:nvSpPr>
          <p:spPr>
            <a:xfrm>
              <a:off x="9224495" y="1615151"/>
              <a:ext cx="2026238" cy="110931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9600000" scaled="0"/>
            </a:gradFill>
            <a:ln w="9525">
              <a:gradFill>
                <a:gsLst>
                  <a:gs pos="0">
                    <a:srgbClr val="002060">
                      <a:alpha val="47000"/>
                    </a:srgbClr>
                  </a:gs>
                  <a:gs pos="50000">
                    <a:schemeClr val="accent1">
                      <a:tint val="44500"/>
                      <a:satMod val="160000"/>
                      <a:alpha val="37000"/>
                    </a:schemeClr>
                  </a:gs>
                  <a:gs pos="100000">
                    <a:srgbClr val="002060">
                      <a:alpha val="37000"/>
                    </a:srgbClr>
                  </a:gs>
                </a:gsLst>
                <a:lin ang="5400000" scaled="0"/>
              </a:gradFill>
              <a:miter lim="800000"/>
              <a:headEnd/>
              <a:tailEnd/>
            </a:ln>
            <a:effectLst/>
          </p:spPr>
          <p:txBody>
            <a:bodyPr vert="horz" wrap="square" lIns="91408" tIns="45703" rIns="91408" bIns="45703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9078" fontAlgn="ctr"/>
              <a:endParaRPr lang="en-US" altLang="zh-CN" sz="1799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文本框 32">
              <a:extLst>
                <a:ext uri="{FF2B5EF4-FFF2-40B4-BE49-F238E27FC236}">
                  <a16:creationId xmlns="" xmlns:a16="http://schemas.microsoft.com/office/drawing/2014/main" id="{380C0398-7294-4533-A3EC-138A2F5A521D}"/>
                </a:ext>
              </a:extLst>
            </p:cNvPr>
            <p:cNvSpPr txBox="1"/>
            <p:nvPr/>
          </p:nvSpPr>
          <p:spPr>
            <a:xfrm>
              <a:off x="9139929" y="1787738"/>
              <a:ext cx="2179754" cy="68591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pPr algn="ctr" defTabSz="1219078" fontAlgn="ctr"/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Joint review and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approval, improving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efficiency by 50%</a:t>
              </a:r>
              <a:endParaRPr lang="en-US" altLang="zh-CN" sz="19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691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圆角矩形 606">
            <a:extLst>
              <a:ext uri="{FF2B5EF4-FFF2-40B4-BE49-F238E27FC236}">
                <a16:creationId xmlns="" xmlns:a16="http://schemas.microsoft.com/office/drawing/2014/main" id="{B1F9C214-A033-4CB4-9659-E1CA4E43DFEA}"/>
              </a:ext>
            </a:extLst>
          </p:cNvPr>
          <p:cNvSpPr/>
          <p:nvPr/>
        </p:nvSpPr>
        <p:spPr>
          <a:xfrm>
            <a:off x="2808713" y="5425334"/>
            <a:ext cx="4342357" cy="81201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The crime rate is decreased by </a:t>
            </a:r>
            <a:r>
              <a:rPr lang="en-US" sz="2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.79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%.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60" name="圆角矩形 606">
            <a:extLst>
              <a:ext uri="{FF2B5EF4-FFF2-40B4-BE49-F238E27FC236}">
                <a16:creationId xmlns="" xmlns:a16="http://schemas.microsoft.com/office/drawing/2014/main" id="{B1F9C214-A033-4CB4-9659-E1CA4E43DFEA}"/>
              </a:ext>
            </a:extLst>
          </p:cNvPr>
          <p:cNvSpPr/>
          <p:nvPr/>
        </p:nvSpPr>
        <p:spPr>
          <a:xfrm>
            <a:off x="7297337" y="5402705"/>
            <a:ext cx="4342357" cy="812016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008BBC">
                  <a:alpha val="49000"/>
                </a:srgbClr>
              </a:gs>
              <a:gs pos="100000">
                <a:srgbClr val="0070C0">
                  <a:alpha val="11000"/>
                </a:srgbClr>
              </a:gs>
            </a:gsLst>
            <a:lin ang="96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1219078" font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The case handling efficiency </a:t>
            </a:r>
            <a:b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is improved by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%.</a:t>
            </a:r>
            <a:endParaRPr lang="en-US" altLang="zh-CN" sz="1999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555B4CA-9303-4426-982E-F14837966FDB}"/>
              </a:ext>
            </a:extLst>
          </p:cNvPr>
          <p:cNvSpPr txBox="1"/>
          <p:nvPr/>
        </p:nvSpPr>
        <p:spPr>
          <a:xfrm>
            <a:off x="541281" y="365692"/>
            <a:ext cx="9031531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mproving Public Safety with Video Cloud and Artificial Intelligence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67" name="TextBox 121">
            <a:extLst>
              <a:ext uri="{FF2B5EF4-FFF2-40B4-BE49-F238E27FC236}">
                <a16:creationId xmlns="" xmlns:a16="http://schemas.microsoft.com/office/drawing/2014/main" id="{12BF92B7-5A75-4C93-BA21-FDC9845B81B0}"/>
              </a:ext>
            </a:extLst>
          </p:cNvPr>
          <p:cNvSpPr txBox="1"/>
          <p:nvPr/>
        </p:nvSpPr>
        <p:spPr>
          <a:xfrm>
            <a:off x="578950" y="5570598"/>
            <a:ext cx="2066883" cy="4615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1219078" fontAlgn="ctr"/>
            <a:r>
              <a:rPr lang="en-US" sz="23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2016 to 2017</a:t>
            </a:r>
            <a:endParaRPr lang="en-US" sz="23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="" xmlns:a16="http://schemas.microsoft.com/office/drawing/2014/main" id="{7D570E2B-17F0-47AA-AB8E-4442CC30AD65}"/>
              </a:ext>
            </a:extLst>
          </p:cNvPr>
          <p:cNvGrpSpPr/>
          <p:nvPr/>
        </p:nvGrpSpPr>
        <p:grpSpPr>
          <a:xfrm>
            <a:off x="2665601" y="1085943"/>
            <a:ext cx="9526224" cy="3653285"/>
            <a:chOff x="176" y="581115"/>
            <a:chExt cx="12194823" cy="4676686"/>
          </a:xfrm>
        </p:grpSpPr>
        <p:pic>
          <p:nvPicPr>
            <p:cNvPr id="170" name="图片 16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57" b="6066"/>
            <a:stretch/>
          </p:blipFill>
          <p:spPr>
            <a:xfrm>
              <a:off x="176" y="581115"/>
              <a:ext cx="12194823" cy="4676686"/>
            </a:xfrm>
            <a:prstGeom prst="rect">
              <a:avLst/>
            </a:prstGeom>
          </p:spPr>
        </p:pic>
        <p:sp>
          <p:nvSpPr>
            <p:cNvPr id="171" name="矩形 170">
              <a:extLst>
                <a:ext uri="{FF2B5EF4-FFF2-40B4-BE49-F238E27FC236}">
                  <a16:creationId xmlns="" xmlns:a16="http://schemas.microsoft.com/office/drawing/2014/main" id="{DFD3E089-2277-4F5F-A663-54745CAD0953}"/>
                </a:ext>
              </a:extLst>
            </p:cNvPr>
            <p:cNvSpPr/>
            <p:nvPr/>
          </p:nvSpPr>
          <p:spPr>
            <a:xfrm>
              <a:off x="5195543" y="3470927"/>
              <a:ext cx="1967664" cy="708945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defTabSz="1219078" fontAlgn="ctr">
                <a:lnSpc>
                  <a:spcPct val="150000"/>
                </a:lnSpc>
              </a:pP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15 </a:t>
              </a:r>
              <a:r>
                <a:rPr lang="en-US" sz="1999" b="1" dirty="0" smtClean="0">
                  <a:solidFill>
                    <a:srgbClr val="FFC000"/>
                  </a:solidFill>
                  <a:latin typeface="Arial" panose="020B0604020202020204" pitchFamily="34" charset="0"/>
                </a:rPr>
                <a:t>hours</a:t>
              </a:r>
              <a:endParaRPr lang="en-US" sz="1999" b="1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179" name="组合 183">
              <a:extLst>
                <a:ext uri="{FF2B5EF4-FFF2-40B4-BE49-F238E27FC236}">
                  <a16:creationId xmlns="" xmlns:a16="http://schemas.microsoft.com/office/drawing/2014/main" id="{9759477E-0520-4B45-96AB-DC171455EE7F}"/>
                </a:ext>
              </a:extLst>
            </p:cNvPr>
            <p:cNvGrpSpPr/>
            <p:nvPr/>
          </p:nvGrpSpPr>
          <p:grpSpPr>
            <a:xfrm>
              <a:off x="2692904" y="3428269"/>
              <a:ext cx="710961" cy="684629"/>
              <a:chOff x="3033387" y="4792367"/>
              <a:chExt cx="711233" cy="684892"/>
            </a:xfrm>
          </p:grpSpPr>
          <p:pic>
            <p:nvPicPr>
              <p:cNvPr id="180" name="Picture 2" descr="C:\Users\Administrator\Documents\Tencent Files\415628334\FileRecv\11.png">
                <a:extLst>
                  <a:ext uri="{FF2B5EF4-FFF2-40B4-BE49-F238E27FC236}">
                    <a16:creationId xmlns="" xmlns:a16="http://schemas.microsoft.com/office/drawing/2014/main" id="{C63EEBFA-EC28-434E-A87C-B306941A47C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l="12645" t="13780" r="13005" b="5742"/>
              <a:stretch>
                <a:fillRect/>
              </a:stretch>
            </p:blipFill>
            <p:spPr bwMode="auto">
              <a:xfrm>
                <a:off x="3033387" y="4792367"/>
                <a:ext cx="711233" cy="6848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81" name="组合 147">
                <a:extLst>
                  <a:ext uri="{FF2B5EF4-FFF2-40B4-BE49-F238E27FC236}">
                    <a16:creationId xmlns="" xmlns:a16="http://schemas.microsoft.com/office/drawing/2014/main" id="{C610ACCE-8F12-4DE5-9F5C-F21834FB3D05}"/>
                  </a:ext>
                </a:extLst>
              </p:cNvPr>
              <p:cNvGrpSpPr/>
              <p:nvPr/>
            </p:nvGrpSpPr>
            <p:grpSpPr>
              <a:xfrm>
                <a:off x="3184562" y="4907293"/>
                <a:ext cx="381140" cy="387657"/>
                <a:chOff x="5875338" y="-4710113"/>
                <a:chExt cx="3249613" cy="3305176"/>
              </a:xfrm>
              <a:solidFill>
                <a:srgbClr val="00FFFF"/>
              </a:solidFill>
            </p:grpSpPr>
            <p:sp>
              <p:nvSpPr>
                <p:cNvPr id="182" name="Freeform 6">
                  <a:extLst>
                    <a:ext uri="{FF2B5EF4-FFF2-40B4-BE49-F238E27FC236}">
                      <a16:creationId xmlns="" xmlns:a16="http://schemas.microsoft.com/office/drawing/2014/main" id="{4D5E0D39-5020-41B0-89EA-57EC81E4E2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7501" y="-3751263"/>
                  <a:ext cx="1666875" cy="1844675"/>
                </a:xfrm>
                <a:custGeom>
                  <a:avLst/>
                  <a:gdLst/>
                  <a:ahLst/>
                  <a:cxnLst>
                    <a:cxn ang="0">
                      <a:pos x="1044" y="0"/>
                    </a:cxn>
                    <a:cxn ang="0">
                      <a:pos x="937" y="5"/>
                    </a:cxn>
                    <a:cxn ang="0">
                      <a:pos x="832" y="21"/>
                    </a:cxn>
                    <a:cxn ang="0">
                      <a:pos x="732" y="47"/>
                    </a:cxn>
                    <a:cxn ang="0">
                      <a:pos x="637" y="82"/>
                    </a:cxn>
                    <a:cxn ang="0">
                      <a:pos x="546" y="126"/>
                    </a:cxn>
                    <a:cxn ang="0">
                      <a:pos x="460" y="178"/>
                    </a:cxn>
                    <a:cxn ang="0">
                      <a:pos x="379" y="238"/>
                    </a:cxn>
                    <a:cxn ang="0">
                      <a:pos x="306" y="306"/>
                    </a:cxn>
                    <a:cxn ang="0">
                      <a:pos x="238" y="380"/>
                    </a:cxn>
                    <a:cxn ang="0">
                      <a:pos x="178" y="459"/>
                    </a:cxn>
                    <a:cxn ang="0">
                      <a:pos x="126" y="546"/>
                    </a:cxn>
                    <a:cxn ang="0">
                      <a:pos x="81" y="637"/>
                    </a:cxn>
                    <a:cxn ang="0">
                      <a:pos x="46" y="733"/>
                    </a:cxn>
                    <a:cxn ang="0">
                      <a:pos x="20" y="833"/>
                    </a:cxn>
                    <a:cxn ang="0">
                      <a:pos x="6" y="937"/>
                    </a:cxn>
                    <a:cxn ang="0">
                      <a:pos x="0" y="1042"/>
                    </a:cxn>
                    <a:cxn ang="0">
                      <a:pos x="2102" y="2325"/>
                    </a:cxn>
                    <a:cxn ang="0">
                      <a:pos x="2102" y="1042"/>
                    </a:cxn>
                    <a:cxn ang="0">
                      <a:pos x="2096" y="937"/>
                    </a:cxn>
                    <a:cxn ang="0">
                      <a:pos x="2080" y="833"/>
                    </a:cxn>
                    <a:cxn ang="0">
                      <a:pos x="2054" y="733"/>
                    </a:cxn>
                    <a:cxn ang="0">
                      <a:pos x="2019" y="637"/>
                    </a:cxn>
                    <a:cxn ang="0">
                      <a:pos x="1976" y="546"/>
                    </a:cxn>
                    <a:cxn ang="0">
                      <a:pos x="1924" y="459"/>
                    </a:cxn>
                    <a:cxn ang="0">
                      <a:pos x="1863" y="380"/>
                    </a:cxn>
                    <a:cxn ang="0">
                      <a:pos x="1796" y="306"/>
                    </a:cxn>
                    <a:cxn ang="0">
                      <a:pos x="1721" y="238"/>
                    </a:cxn>
                    <a:cxn ang="0">
                      <a:pos x="1641" y="178"/>
                    </a:cxn>
                    <a:cxn ang="0">
                      <a:pos x="1556" y="126"/>
                    </a:cxn>
                    <a:cxn ang="0">
                      <a:pos x="1465" y="82"/>
                    </a:cxn>
                    <a:cxn ang="0">
                      <a:pos x="1368" y="47"/>
                    </a:cxn>
                    <a:cxn ang="0">
                      <a:pos x="1268" y="21"/>
                    </a:cxn>
                    <a:cxn ang="0">
                      <a:pos x="1165" y="5"/>
                    </a:cxn>
                    <a:cxn ang="0">
                      <a:pos x="1058" y="0"/>
                    </a:cxn>
                  </a:cxnLst>
                  <a:rect l="0" t="0" r="r" b="b"/>
                  <a:pathLst>
                    <a:path w="2102" h="2325">
                      <a:moveTo>
                        <a:pt x="1044" y="0"/>
                      </a:moveTo>
                      <a:lnTo>
                        <a:pt x="1044" y="0"/>
                      </a:lnTo>
                      <a:lnTo>
                        <a:pt x="990" y="2"/>
                      </a:lnTo>
                      <a:lnTo>
                        <a:pt x="937" y="5"/>
                      </a:lnTo>
                      <a:lnTo>
                        <a:pt x="884" y="12"/>
                      </a:lnTo>
                      <a:lnTo>
                        <a:pt x="832" y="21"/>
                      </a:lnTo>
                      <a:lnTo>
                        <a:pt x="783" y="32"/>
                      </a:lnTo>
                      <a:lnTo>
                        <a:pt x="732" y="47"/>
                      </a:lnTo>
                      <a:lnTo>
                        <a:pt x="685" y="63"/>
                      </a:lnTo>
                      <a:lnTo>
                        <a:pt x="637" y="82"/>
                      </a:lnTo>
                      <a:lnTo>
                        <a:pt x="591" y="103"/>
                      </a:lnTo>
                      <a:lnTo>
                        <a:pt x="546" y="126"/>
                      </a:lnTo>
                      <a:lnTo>
                        <a:pt x="502" y="151"/>
                      </a:lnTo>
                      <a:lnTo>
                        <a:pt x="460" y="178"/>
                      </a:lnTo>
                      <a:lnTo>
                        <a:pt x="418" y="207"/>
                      </a:lnTo>
                      <a:lnTo>
                        <a:pt x="379" y="238"/>
                      </a:lnTo>
                      <a:lnTo>
                        <a:pt x="342" y="271"/>
                      </a:lnTo>
                      <a:lnTo>
                        <a:pt x="306" y="306"/>
                      </a:lnTo>
                      <a:lnTo>
                        <a:pt x="271" y="342"/>
                      </a:lnTo>
                      <a:lnTo>
                        <a:pt x="238" y="380"/>
                      </a:lnTo>
                      <a:lnTo>
                        <a:pt x="207" y="419"/>
                      </a:lnTo>
                      <a:lnTo>
                        <a:pt x="178" y="459"/>
                      </a:lnTo>
                      <a:lnTo>
                        <a:pt x="151" y="503"/>
                      </a:lnTo>
                      <a:lnTo>
                        <a:pt x="126" y="546"/>
                      </a:lnTo>
                      <a:lnTo>
                        <a:pt x="103" y="591"/>
                      </a:lnTo>
                      <a:lnTo>
                        <a:pt x="81" y="637"/>
                      </a:lnTo>
                      <a:lnTo>
                        <a:pt x="64" y="685"/>
                      </a:lnTo>
                      <a:lnTo>
                        <a:pt x="46" y="733"/>
                      </a:lnTo>
                      <a:lnTo>
                        <a:pt x="33" y="782"/>
                      </a:lnTo>
                      <a:lnTo>
                        <a:pt x="20" y="833"/>
                      </a:lnTo>
                      <a:lnTo>
                        <a:pt x="12" y="885"/>
                      </a:lnTo>
                      <a:lnTo>
                        <a:pt x="6" y="937"/>
                      </a:lnTo>
                      <a:lnTo>
                        <a:pt x="2" y="989"/>
                      </a:lnTo>
                      <a:lnTo>
                        <a:pt x="0" y="1042"/>
                      </a:lnTo>
                      <a:lnTo>
                        <a:pt x="0" y="2325"/>
                      </a:lnTo>
                      <a:lnTo>
                        <a:pt x="2102" y="2325"/>
                      </a:lnTo>
                      <a:lnTo>
                        <a:pt x="2102" y="1042"/>
                      </a:lnTo>
                      <a:lnTo>
                        <a:pt x="2102" y="1042"/>
                      </a:lnTo>
                      <a:lnTo>
                        <a:pt x="2100" y="989"/>
                      </a:lnTo>
                      <a:lnTo>
                        <a:pt x="2096" y="937"/>
                      </a:lnTo>
                      <a:lnTo>
                        <a:pt x="2089" y="885"/>
                      </a:lnTo>
                      <a:lnTo>
                        <a:pt x="2080" y="833"/>
                      </a:lnTo>
                      <a:lnTo>
                        <a:pt x="2068" y="782"/>
                      </a:lnTo>
                      <a:lnTo>
                        <a:pt x="2054" y="733"/>
                      </a:lnTo>
                      <a:lnTo>
                        <a:pt x="2038" y="685"/>
                      </a:lnTo>
                      <a:lnTo>
                        <a:pt x="2019" y="637"/>
                      </a:lnTo>
                      <a:lnTo>
                        <a:pt x="1999" y="591"/>
                      </a:lnTo>
                      <a:lnTo>
                        <a:pt x="1976" y="546"/>
                      </a:lnTo>
                      <a:lnTo>
                        <a:pt x="1950" y="503"/>
                      </a:lnTo>
                      <a:lnTo>
                        <a:pt x="1924" y="459"/>
                      </a:lnTo>
                      <a:lnTo>
                        <a:pt x="1895" y="419"/>
                      </a:lnTo>
                      <a:lnTo>
                        <a:pt x="1863" y="380"/>
                      </a:lnTo>
                      <a:lnTo>
                        <a:pt x="1831" y="342"/>
                      </a:lnTo>
                      <a:lnTo>
                        <a:pt x="1796" y="306"/>
                      </a:lnTo>
                      <a:lnTo>
                        <a:pt x="1760" y="271"/>
                      </a:lnTo>
                      <a:lnTo>
                        <a:pt x="1721" y="238"/>
                      </a:lnTo>
                      <a:lnTo>
                        <a:pt x="1682" y="207"/>
                      </a:lnTo>
                      <a:lnTo>
                        <a:pt x="1641" y="178"/>
                      </a:lnTo>
                      <a:lnTo>
                        <a:pt x="1599" y="151"/>
                      </a:lnTo>
                      <a:lnTo>
                        <a:pt x="1556" y="126"/>
                      </a:lnTo>
                      <a:lnTo>
                        <a:pt x="1510" y="103"/>
                      </a:lnTo>
                      <a:lnTo>
                        <a:pt x="1465" y="82"/>
                      </a:lnTo>
                      <a:lnTo>
                        <a:pt x="1417" y="63"/>
                      </a:lnTo>
                      <a:lnTo>
                        <a:pt x="1368" y="47"/>
                      </a:lnTo>
                      <a:lnTo>
                        <a:pt x="1319" y="32"/>
                      </a:lnTo>
                      <a:lnTo>
                        <a:pt x="1268" y="21"/>
                      </a:lnTo>
                      <a:lnTo>
                        <a:pt x="1217" y="12"/>
                      </a:lnTo>
                      <a:lnTo>
                        <a:pt x="1165" y="5"/>
                      </a:lnTo>
                      <a:lnTo>
                        <a:pt x="1112" y="2"/>
                      </a:lnTo>
                      <a:lnTo>
                        <a:pt x="1058" y="0"/>
                      </a:lnTo>
                      <a:lnTo>
                        <a:pt x="104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3" name="Freeform 7">
                  <a:extLst>
                    <a:ext uri="{FF2B5EF4-FFF2-40B4-BE49-F238E27FC236}">
                      <a16:creationId xmlns="" xmlns:a16="http://schemas.microsoft.com/office/drawing/2014/main" id="{00431114-9719-4943-9EB1-3E5B713064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5338" y="-3494088"/>
                  <a:ext cx="660400" cy="347663"/>
                </a:xfrm>
                <a:custGeom>
                  <a:avLst/>
                  <a:gdLst/>
                  <a:ahLst/>
                  <a:cxnLst>
                    <a:cxn ang="0">
                      <a:pos x="829" y="301"/>
                    </a:cxn>
                    <a:cxn ang="0">
                      <a:pos x="832" y="268"/>
                    </a:cxn>
                    <a:cxn ang="0">
                      <a:pos x="829" y="235"/>
                    </a:cxn>
                    <a:cxn ang="0">
                      <a:pos x="819" y="203"/>
                    </a:cxn>
                    <a:cxn ang="0">
                      <a:pos x="803" y="174"/>
                    </a:cxn>
                    <a:cxn ang="0">
                      <a:pos x="783" y="149"/>
                    </a:cxn>
                    <a:cxn ang="0">
                      <a:pos x="758" y="128"/>
                    </a:cxn>
                    <a:cxn ang="0">
                      <a:pos x="729" y="112"/>
                    </a:cxn>
                    <a:cxn ang="0">
                      <a:pos x="696" y="102"/>
                    </a:cxn>
                    <a:cxn ang="0">
                      <a:pos x="204" y="3"/>
                    </a:cxn>
                    <a:cxn ang="0">
                      <a:pos x="169" y="0"/>
                    </a:cxn>
                    <a:cxn ang="0">
                      <a:pos x="136" y="3"/>
                    </a:cxn>
                    <a:cxn ang="0">
                      <a:pos x="106" y="13"/>
                    </a:cxn>
                    <a:cxn ang="0">
                      <a:pos x="77" y="28"/>
                    </a:cxn>
                    <a:cxn ang="0">
                      <a:pos x="51" y="49"/>
                    </a:cxn>
                    <a:cxn ang="0">
                      <a:pos x="30" y="74"/>
                    </a:cxn>
                    <a:cxn ang="0">
                      <a:pos x="14" y="103"/>
                    </a:cxn>
                    <a:cxn ang="0">
                      <a:pos x="4" y="136"/>
                    </a:cxn>
                    <a:cxn ang="0">
                      <a:pos x="1" y="151"/>
                    </a:cxn>
                    <a:cxn ang="0">
                      <a:pos x="1" y="181"/>
                    </a:cxn>
                    <a:cxn ang="0">
                      <a:pos x="3" y="196"/>
                    </a:cxn>
                    <a:cxn ang="0">
                      <a:pos x="9" y="220"/>
                    </a:cxn>
                    <a:cxn ang="0">
                      <a:pos x="17" y="245"/>
                    </a:cxn>
                    <a:cxn ang="0">
                      <a:pos x="30" y="266"/>
                    </a:cxn>
                    <a:cxn ang="0">
                      <a:pos x="46" y="287"/>
                    </a:cxn>
                    <a:cxn ang="0">
                      <a:pos x="65" y="303"/>
                    </a:cxn>
                    <a:cxn ang="0">
                      <a:pos x="87" y="317"/>
                    </a:cxn>
                    <a:cxn ang="0">
                      <a:pos x="111" y="329"/>
                    </a:cxn>
                    <a:cxn ang="0">
                      <a:pos x="137" y="336"/>
                    </a:cxn>
                    <a:cxn ang="0">
                      <a:pos x="630" y="434"/>
                    </a:cxn>
                    <a:cxn ang="0">
                      <a:pos x="663" y="439"/>
                    </a:cxn>
                    <a:cxn ang="0">
                      <a:pos x="696" y="434"/>
                    </a:cxn>
                    <a:cxn ang="0">
                      <a:pos x="728" y="426"/>
                    </a:cxn>
                    <a:cxn ang="0">
                      <a:pos x="757" y="410"/>
                    </a:cxn>
                    <a:cxn ang="0">
                      <a:pos x="782" y="390"/>
                    </a:cxn>
                    <a:cxn ang="0">
                      <a:pos x="803" y="363"/>
                    </a:cxn>
                    <a:cxn ang="0">
                      <a:pos x="819" y="335"/>
                    </a:cxn>
                    <a:cxn ang="0">
                      <a:pos x="829" y="301"/>
                    </a:cxn>
                  </a:cxnLst>
                  <a:rect l="0" t="0" r="r" b="b"/>
                  <a:pathLst>
                    <a:path w="832" h="439">
                      <a:moveTo>
                        <a:pt x="829" y="301"/>
                      </a:moveTo>
                      <a:lnTo>
                        <a:pt x="829" y="301"/>
                      </a:lnTo>
                      <a:lnTo>
                        <a:pt x="832" y="284"/>
                      </a:lnTo>
                      <a:lnTo>
                        <a:pt x="832" y="268"/>
                      </a:lnTo>
                      <a:lnTo>
                        <a:pt x="832" y="251"/>
                      </a:lnTo>
                      <a:lnTo>
                        <a:pt x="829" y="235"/>
                      </a:lnTo>
                      <a:lnTo>
                        <a:pt x="825" y="219"/>
                      </a:lnTo>
                      <a:lnTo>
                        <a:pt x="819" y="203"/>
                      </a:lnTo>
                      <a:lnTo>
                        <a:pt x="812" y="188"/>
                      </a:lnTo>
                      <a:lnTo>
                        <a:pt x="803" y="174"/>
                      </a:lnTo>
                      <a:lnTo>
                        <a:pt x="795" y="161"/>
                      </a:lnTo>
                      <a:lnTo>
                        <a:pt x="783" y="149"/>
                      </a:lnTo>
                      <a:lnTo>
                        <a:pt x="771" y="138"/>
                      </a:lnTo>
                      <a:lnTo>
                        <a:pt x="758" y="128"/>
                      </a:lnTo>
                      <a:lnTo>
                        <a:pt x="744" y="119"/>
                      </a:lnTo>
                      <a:lnTo>
                        <a:pt x="729" y="112"/>
                      </a:lnTo>
                      <a:lnTo>
                        <a:pt x="713" y="106"/>
                      </a:lnTo>
                      <a:lnTo>
                        <a:pt x="696" y="102"/>
                      </a:lnTo>
                      <a:lnTo>
                        <a:pt x="204" y="3"/>
                      </a:lnTo>
                      <a:lnTo>
                        <a:pt x="204" y="3"/>
                      </a:lnTo>
                      <a:lnTo>
                        <a:pt x="187" y="0"/>
                      </a:lnTo>
                      <a:lnTo>
                        <a:pt x="169" y="0"/>
                      </a:lnTo>
                      <a:lnTo>
                        <a:pt x="153" y="0"/>
                      </a:lnTo>
                      <a:lnTo>
                        <a:pt x="136" y="3"/>
                      </a:lnTo>
                      <a:lnTo>
                        <a:pt x="120" y="7"/>
                      </a:lnTo>
                      <a:lnTo>
                        <a:pt x="106" y="13"/>
                      </a:lnTo>
                      <a:lnTo>
                        <a:pt x="90" y="20"/>
                      </a:lnTo>
                      <a:lnTo>
                        <a:pt x="77" y="28"/>
                      </a:lnTo>
                      <a:lnTo>
                        <a:pt x="64" y="38"/>
                      </a:lnTo>
                      <a:lnTo>
                        <a:pt x="51" y="49"/>
                      </a:lnTo>
                      <a:lnTo>
                        <a:pt x="41" y="61"/>
                      </a:lnTo>
                      <a:lnTo>
                        <a:pt x="30" y="74"/>
                      </a:lnTo>
                      <a:lnTo>
                        <a:pt x="22" y="88"/>
                      </a:lnTo>
                      <a:lnTo>
                        <a:pt x="14" y="103"/>
                      </a:lnTo>
                      <a:lnTo>
                        <a:pt x="9" y="119"/>
                      </a:lnTo>
                      <a:lnTo>
                        <a:pt x="4" y="136"/>
                      </a:lnTo>
                      <a:lnTo>
                        <a:pt x="4" y="136"/>
                      </a:lnTo>
                      <a:lnTo>
                        <a:pt x="1" y="151"/>
                      </a:lnTo>
                      <a:lnTo>
                        <a:pt x="0" y="165"/>
                      </a:lnTo>
                      <a:lnTo>
                        <a:pt x="1" y="181"/>
                      </a:lnTo>
                      <a:lnTo>
                        <a:pt x="3" y="196"/>
                      </a:lnTo>
                      <a:lnTo>
                        <a:pt x="3" y="196"/>
                      </a:lnTo>
                      <a:lnTo>
                        <a:pt x="4" y="209"/>
                      </a:lnTo>
                      <a:lnTo>
                        <a:pt x="9" y="220"/>
                      </a:lnTo>
                      <a:lnTo>
                        <a:pt x="13" y="233"/>
                      </a:lnTo>
                      <a:lnTo>
                        <a:pt x="17" y="245"/>
                      </a:lnTo>
                      <a:lnTo>
                        <a:pt x="23" y="255"/>
                      </a:lnTo>
                      <a:lnTo>
                        <a:pt x="30" y="266"/>
                      </a:lnTo>
                      <a:lnTo>
                        <a:pt x="38" y="277"/>
                      </a:lnTo>
                      <a:lnTo>
                        <a:pt x="46" y="287"/>
                      </a:lnTo>
                      <a:lnTo>
                        <a:pt x="56" y="295"/>
                      </a:lnTo>
                      <a:lnTo>
                        <a:pt x="65" y="303"/>
                      </a:lnTo>
                      <a:lnTo>
                        <a:pt x="77" y="311"/>
                      </a:lnTo>
                      <a:lnTo>
                        <a:pt x="87" y="317"/>
                      </a:lnTo>
                      <a:lnTo>
                        <a:pt x="98" y="324"/>
                      </a:lnTo>
                      <a:lnTo>
                        <a:pt x="111" y="329"/>
                      </a:lnTo>
                      <a:lnTo>
                        <a:pt x="124" y="333"/>
                      </a:lnTo>
                      <a:lnTo>
                        <a:pt x="137" y="336"/>
                      </a:lnTo>
                      <a:lnTo>
                        <a:pt x="630" y="434"/>
                      </a:lnTo>
                      <a:lnTo>
                        <a:pt x="630" y="434"/>
                      </a:lnTo>
                      <a:lnTo>
                        <a:pt x="647" y="437"/>
                      </a:lnTo>
                      <a:lnTo>
                        <a:pt x="663" y="439"/>
                      </a:lnTo>
                      <a:lnTo>
                        <a:pt x="680" y="437"/>
                      </a:lnTo>
                      <a:lnTo>
                        <a:pt x="696" y="434"/>
                      </a:lnTo>
                      <a:lnTo>
                        <a:pt x="712" y="431"/>
                      </a:lnTo>
                      <a:lnTo>
                        <a:pt x="728" y="426"/>
                      </a:lnTo>
                      <a:lnTo>
                        <a:pt x="742" y="418"/>
                      </a:lnTo>
                      <a:lnTo>
                        <a:pt x="757" y="410"/>
                      </a:lnTo>
                      <a:lnTo>
                        <a:pt x="770" y="400"/>
                      </a:lnTo>
                      <a:lnTo>
                        <a:pt x="782" y="390"/>
                      </a:lnTo>
                      <a:lnTo>
                        <a:pt x="793" y="376"/>
                      </a:lnTo>
                      <a:lnTo>
                        <a:pt x="803" y="363"/>
                      </a:lnTo>
                      <a:lnTo>
                        <a:pt x="812" y="350"/>
                      </a:lnTo>
                      <a:lnTo>
                        <a:pt x="819" y="335"/>
                      </a:lnTo>
                      <a:lnTo>
                        <a:pt x="825" y="319"/>
                      </a:lnTo>
                      <a:lnTo>
                        <a:pt x="829" y="301"/>
                      </a:lnTo>
                      <a:lnTo>
                        <a:pt x="829" y="30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4" name="Freeform 8">
                  <a:extLst>
                    <a:ext uri="{FF2B5EF4-FFF2-40B4-BE49-F238E27FC236}">
                      <a16:creationId xmlns="" xmlns:a16="http://schemas.microsoft.com/office/drawing/2014/main" id="{182E9A89-D9E7-4E43-B229-3E661B4E23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13501" y="-4379913"/>
                  <a:ext cx="519113" cy="582613"/>
                </a:xfrm>
                <a:custGeom>
                  <a:avLst/>
                  <a:gdLst/>
                  <a:ahLst/>
                  <a:cxnLst>
                    <a:cxn ang="0">
                      <a:pos x="350" y="668"/>
                    </a:cxn>
                    <a:cxn ang="0">
                      <a:pos x="362" y="681"/>
                    </a:cxn>
                    <a:cxn ang="0">
                      <a:pos x="388" y="703"/>
                    </a:cxn>
                    <a:cxn ang="0">
                      <a:pos x="417" y="718"/>
                    </a:cxn>
                    <a:cxn ang="0">
                      <a:pos x="448" y="728"/>
                    </a:cxn>
                    <a:cxn ang="0">
                      <a:pos x="480" y="732"/>
                    </a:cxn>
                    <a:cxn ang="0">
                      <a:pos x="514" y="729"/>
                    </a:cxn>
                    <a:cxn ang="0">
                      <a:pos x="545" y="721"/>
                    </a:cxn>
                    <a:cxn ang="0">
                      <a:pos x="576" y="705"/>
                    </a:cxn>
                    <a:cxn ang="0">
                      <a:pos x="590" y="694"/>
                    </a:cxn>
                    <a:cxn ang="0">
                      <a:pos x="615" y="670"/>
                    </a:cxn>
                    <a:cxn ang="0">
                      <a:pos x="632" y="642"/>
                    </a:cxn>
                    <a:cxn ang="0">
                      <a:pos x="645" y="612"/>
                    </a:cxn>
                    <a:cxn ang="0">
                      <a:pos x="652" y="580"/>
                    </a:cxn>
                    <a:cxn ang="0">
                      <a:pos x="652" y="548"/>
                    </a:cxn>
                    <a:cxn ang="0">
                      <a:pos x="647" y="515"/>
                    </a:cxn>
                    <a:cxn ang="0">
                      <a:pos x="635" y="485"/>
                    </a:cxn>
                    <a:cxn ang="0">
                      <a:pos x="616" y="456"/>
                    </a:cxn>
                    <a:cxn ang="0">
                      <a:pos x="302" y="63"/>
                    </a:cxn>
                    <a:cxn ang="0">
                      <a:pos x="279" y="39"/>
                    </a:cxn>
                    <a:cxn ang="0">
                      <a:pos x="252" y="20"/>
                    </a:cxn>
                    <a:cxn ang="0">
                      <a:pos x="221" y="7"/>
                    </a:cxn>
                    <a:cxn ang="0">
                      <a:pos x="189" y="1"/>
                    </a:cxn>
                    <a:cxn ang="0">
                      <a:pos x="156" y="0"/>
                    </a:cxn>
                    <a:cxn ang="0">
                      <a:pos x="124" y="6"/>
                    </a:cxn>
                    <a:cxn ang="0">
                      <a:pos x="92" y="19"/>
                    </a:cxn>
                    <a:cxn ang="0">
                      <a:pos x="63" y="37"/>
                    </a:cxn>
                    <a:cxn ang="0">
                      <a:pos x="46" y="53"/>
                    </a:cxn>
                    <a:cxn ang="0">
                      <a:pos x="20" y="90"/>
                    </a:cxn>
                    <a:cxn ang="0">
                      <a:pos x="4" y="130"/>
                    </a:cxn>
                    <a:cxn ang="0">
                      <a:pos x="0" y="173"/>
                    </a:cxn>
                    <a:cxn ang="0">
                      <a:pos x="3" y="195"/>
                    </a:cxn>
                    <a:cxn ang="0">
                      <a:pos x="14" y="239"/>
                    </a:cxn>
                    <a:cxn ang="0">
                      <a:pos x="37" y="276"/>
                    </a:cxn>
                  </a:cxnLst>
                  <a:rect l="0" t="0" r="r" b="b"/>
                  <a:pathLst>
                    <a:path w="654" h="732">
                      <a:moveTo>
                        <a:pt x="37" y="276"/>
                      </a:moveTo>
                      <a:lnTo>
                        <a:pt x="350" y="668"/>
                      </a:lnTo>
                      <a:lnTo>
                        <a:pt x="350" y="668"/>
                      </a:lnTo>
                      <a:lnTo>
                        <a:pt x="362" y="681"/>
                      </a:lnTo>
                      <a:lnTo>
                        <a:pt x="375" y="693"/>
                      </a:lnTo>
                      <a:lnTo>
                        <a:pt x="388" y="703"/>
                      </a:lnTo>
                      <a:lnTo>
                        <a:pt x="402" y="712"/>
                      </a:lnTo>
                      <a:lnTo>
                        <a:pt x="417" y="718"/>
                      </a:lnTo>
                      <a:lnTo>
                        <a:pt x="432" y="723"/>
                      </a:lnTo>
                      <a:lnTo>
                        <a:pt x="448" y="728"/>
                      </a:lnTo>
                      <a:lnTo>
                        <a:pt x="464" y="731"/>
                      </a:lnTo>
                      <a:lnTo>
                        <a:pt x="480" y="732"/>
                      </a:lnTo>
                      <a:lnTo>
                        <a:pt x="498" y="731"/>
                      </a:lnTo>
                      <a:lnTo>
                        <a:pt x="514" y="729"/>
                      </a:lnTo>
                      <a:lnTo>
                        <a:pt x="529" y="725"/>
                      </a:lnTo>
                      <a:lnTo>
                        <a:pt x="545" y="721"/>
                      </a:lnTo>
                      <a:lnTo>
                        <a:pt x="561" y="713"/>
                      </a:lnTo>
                      <a:lnTo>
                        <a:pt x="576" y="705"/>
                      </a:lnTo>
                      <a:lnTo>
                        <a:pt x="590" y="694"/>
                      </a:lnTo>
                      <a:lnTo>
                        <a:pt x="590" y="694"/>
                      </a:lnTo>
                      <a:lnTo>
                        <a:pt x="603" y="683"/>
                      </a:lnTo>
                      <a:lnTo>
                        <a:pt x="615" y="670"/>
                      </a:lnTo>
                      <a:lnTo>
                        <a:pt x="624" y="657"/>
                      </a:lnTo>
                      <a:lnTo>
                        <a:pt x="632" y="642"/>
                      </a:lnTo>
                      <a:lnTo>
                        <a:pt x="639" y="628"/>
                      </a:lnTo>
                      <a:lnTo>
                        <a:pt x="645" y="612"/>
                      </a:lnTo>
                      <a:lnTo>
                        <a:pt x="650" y="596"/>
                      </a:lnTo>
                      <a:lnTo>
                        <a:pt x="652" y="580"/>
                      </a:lnTo>
                      <a:lnTo>
                        <a:pt x="654" y="564"/>
                      </a:lnTo>
                      <a:lnTo>
                        <a:pt x="652" y="548"/>
                      </a:lnTo>
                      <a:lnTo>
                        <a:pt x="651" y="531"/>
                      </a:lnTo>
                      <a:lnTo>
                        <a:pt x="647" y="515"/>
                      </a:lnTo>
                      <a:lnTo>
                        <a:pt x="642" y="499"/>
                      </a:lnTo>
                      <a:lnTo>
                        <a:pt x="635" y="485"/>
                      </a:lnTo>
                      <a:lnTo>
                        <a:pt x="626" y="470"/>
                      </a:lnTo>
                      <a:lnTo>
                        <a:pt x="616" y="456"/>
                      </a:lnTo>
                      <a:lnTo>
                        <a:pt x="302" y="63"/>
                      </a:lnTo>
                      <a:lnTo>
                        <a:pt x="302" y="63"/>
                      </a:lnTo>
                      <a:lnTo>
                        <a:pt x="291" y="50"/>
                      </a:lnTo>
                      <a:lnTo>
                        <a:pt x="279" y="39"/>
                      </a:lnTo>
                      <a:lnTo>
                        <a:pt x="265" y="29"/>
                      </a:lnTo>
                      <a:lnTo>
                        <a:pt x="252" y="20"/>
                      </a:lnTo>
                      <a:lnTo>
                        <a:pt x="236" y="13"/>
                      </a:lnTo>
                      <a:lnTo>
                        <a:pt x="221" y="7"/>
                      </a:lnTo>
                      <a:lnTo>
                        <a:pt x="205" y="4"/>
                      </a:lnTo>
                      <a:lnTo>
                        <a:pt x="189" y="1"/>
                      </a:lnTo>
                      <a:lnTo>
                        <a:pt x="172" y="0"/>
                      </a:lnTo>
                      <a:lnTo>
                        <a:pt x="156" y="0"/>
                      </a:lnTo>
                      <a:lnTo>
                        <a:pt x="140" y="3"/>
                      </a:lnTo>
                      <a:lnTo>
                        <a:pt x="124" y="6"/>
                      </a:lnTo>
                      <a:lnTo>
                        <a:pt x="108" y="11"/>
                      </a:lnTo>
                      <a:lnTo>
                        <a:pt x="92" y="19"/>
                      </a:lnTo>
                      <a:lnTo>
                        <a:pt x="78" y="27"/>
                      </a:lnTo>
                      <a:lnTo>
                        <a:pt x="63" y="37"/>
                      </a:lnTo>
                      <a:lnTo>
                        <a:pt x="63" y="37"/>
                      </a:lnTo>
                      <a:lnTo>
                        <a:pt x="46" y="53"/>
                      </a:lnTo>
                      <a:lnTo>
                        <a:pt x="32" y="71"/>
                      </a:lnTo>
                      <a:lnTo>
                        <a:pt x="20" y="90"/>
                      </a:lnTo>
                      <a:lnTo>
                        <a:pt x="11" y="110"/>
                      </a:lnTo>
                      <a:lnTo>
                        <a:pt x="4" y="130"/>
                      </a:lnTo>
                      <a:lnTo>
                        <a:pt x="1" y="152"/>
                      </a:lnTo>
                      <a:lnTo>
                        <a:pt x="0" y="173"/>
                      </a:lnTo>
                      <a:lnTo>
                        <a:pt x="3" y="195"/>
                      </a:lnTo>
                      <a:lnTo>
                        <a:pt x="3" y="195"/>
                      </a:lnTo>
                      <a:lnTo>
                        <a:pt x="7" y="217"/>
                      </a:lnTo>
                      <a:lnTo>
                        <a:pt x="14" y="239"/>
                      </a:lnTo>
                      <a:lnTo>
                        <a:pt x="24" y="257"/>
                      </a:lnTo>
                      <a:lnTo>
                        <a:pt x="37" y="276"/>
                      </a:lnTo>
                      <a:lnTo>
                        <a:pt x="37" y="27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5" name="Freeform 9">
                  <a:extLst>
                    <a:ext uri="{FF2B5EF4-FFF2-40B4-BE49-F238E27FC236}">
                      <a16:creationId xmlns="" xmlns:a16="http://schemas.microsoft.com/office/drawing/2014/main" id="{D85485C9-84BB-46AF-A560-8FF801384E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5051" y="-4710113"/>
                  <a:ext cx="271463" cy="666750"/>
                </a:xfrm>
                <a:custGeom>
                  <a:avLst/>
                  <a:gdLst/>
                  <a:ahLst/>
                  <a:cxnLst>
                    <a:cxn ang="0">
                      <a:pos x="168" y="841"/>
                    </a:cxn>
                    <a:cxn ang="0">
                      <a:pos x="201" y="838"/>
                    </a:cxn>
                    <a:cxn ang="0">
                      <a:pos x="233" y="829"/>
                    </a:cxn>
                    <a:cxn ang="0">
                      <a:pos x="263" y="815"/>
                    </a:cxn>
                    <a:cxn ang="0">
                      <a:pos x="288" y="795"/>
                    </a:cxn>
                    <a:cxn ang="0">
                      <a:pos x="309" y="770"/>
                    </a:cxn>
                    <a:cxn ang="0">
                      <a:pos x="325" y="741"/>
                    </a:cxn>
                    <a:cxn ang="0">
                      <a:pos x="337" y="709"/>
                    </a:cxn>
                    <a:cxn ang="0">
                      <a:pos x="341" y="676"/>
                    </a:cxn>
                    <a:cxn ang="0">
                      <a:pos x="340" y="174"/>
                    </a:cxn>
                    <a:cxn ang="0">
                      <a:pos x="337" y="139"/>
                    </a:cxn>
                    <a:cxn ang="0">
                      <a:pos x="328" y="107"/>
                    </a:cxn>
                    <a:cxn ang="0">
                      <a:pos x="312" y="78"/>
                    </a:cxn>
                    <a:cxn ang="0">
                      <a:pos x="292" y="52"/>
                    </a:cxn>
                    <a:cxn ang="0">
                      <a:pos x="267" y="32"/>
                    </a:cxn>
                    <a:cxn ang="0">
                      <a:pos x="240" y="14"/>
                    </a:cxn>
                    <a:cxn ang="0">
                      <a:pos x="208" y="4"/>
                    </a:cxn>
                    <a:cxn ang="0">
                      <a:pos x="173" y="0"/>
                    </a:cxn>
                    <a:cxn ang="0">
                      <a:pos x="156" y="0"/>
                    </a:cxn>
                    <a:cxn ang="0">
                      <a:pos x="123" y="6"/>
                    </a:cxn>
                    <a:cxn ang="0">
                      <a:pos x="92" y="19"/>
                    </a:cxn>
                    <a:cxn ang="0">
                      <a:pos x="65" y="36"/>
                    </a:cxn>
                    <a:cxn ang="0">
                      <a:pos x="42" y="58"/>
                    </a:cxn>
                    <a:cxn ang="0">
                      <a:pos x="23" y="85"/>
                    </a:cxn>
                    <a:cxn ang="0">
                      <a:pos x="8" y="116"/>
                    </a:cxn>
                    <a:cxn ang="0">
                      <a:pos x="1" y="149"/>
                    </a:cxn>
                    <a:cxn ang="0">
                      <a:pos x="1" y="667"/>
                    </a:cxn>
                    <a:cxn ang="0">
                      <a:pos x="1" y="683"/>
                    </a:cxn>
                    <a:cxn ang="0">
                      <a:pos x="3" y="698"/>
                    </a:cxn>
                    <a:cxn ang="0">
                      <a:pos x="10" y="727"/>
                    </a:cxn>
                    <a:cxn ang="0">
                      <a:pos x="21" y="753"/>
                    </a:cxn>
                    <a:cxn ang="0">
                      <a:pos x="37" y="777"/>
                    </a:cxn>
                    <a:cxn ang="0">
                      <a:pos x="58" y="799"/>
                    </a:cxn>
                    <a:cxn ang="0">
                      <a:pos x="81" y="816"/>
                    </a:cxn>
                    <a:cxn ang="0">
                      <a:pos x="108" y="829"/>
                    </a:cxn>
                    <a:cxn ang="0">
                      <a:pos x="136" y="838"/>
                    </a:cxn>
                    <a:cxn ang="0">
                      <a:pos x="168" y="841"/>
                    </a:cxn>
                  </a:cxnLst>
                  <a:rect l="0" t="0" r="r" b="b"/>
                  <a:pathLst>
                    <a:path w="341" h="841">
                      <a:moveTo>
                        <a:pt x="168" y="841"/>
                      </a:moveTo>
                      <a:lnTo>
                        <a:pt x="168" y="841"/>
                      </a:lnTo>
                      <a:lnTo>
                        <a:pt x="185" y="841"/>
                      </a:lnTo>
                      <a:lnTo>
                        <a:pt x="201" y="838"/>
                      </a:lnTo>
                      <a:lnTo>
                        <a:pt x="218" y="835"/>
                      </a:lnTo>
                      <a:lnTo>
                        <a:pt x="233" y="829"/>
                      </a:lnTo>
                      <a:lnTo>
                        <a:pt x="249" y="822"/>
                      </a:lnTo>
                      <a:lnTo>
                        <a:pt x="263" y="815"/>
                      </a:lnTo>
                      <a:lnTo>
                        <a:pt x="276" y="805"/>
                      </a:lnTo>
                      <a:lnTo>
                        <a:pt x="288" y="795"/>
                      </a:lnTo>
                      <a:lnTo>
                        <a:pt x="299" y="783"/>
                      </a:lnTo>
                      <a:lnTo>
                        <a:pt x="309" y="770"/>
                      </a:lnTo>
                      <a:lnTo>
                        <a:pt x="318" y="755"/>
                      </a:lnTo>
                      <a:lnTo>
                        <a:pt x="325" y="741"/>
                      </a:lnTo>
                      <a:lnTo>
                        <a:pt x="333" y="725"/>
                      </a:lnTo>
                      <a:lnTo>
                        <a:pt x="337" y="709"/>
                      </a:lnTo>
                      <a:lnTo>
                        <a:pt x="340" y="693"/>
                      </a:lnTo>
                      <a:lnTo>
                        <a:pt x="341" y="676"/>
                      </a:lnTo>
                      <a:lnTo>
                        <a:pt x="340" y="174"/>
                      </a:lnTo>
                      <a:lnTo>
                        <a:pt x="340" y="174"/>
                      </a:lnTo>
                      <a:lnTo>
                        <a:pt x="340" y="156"/>
                      </a:lnTo>
                      <a:lnTo>
                        <a:pt x="337" y="139"/>
                      </a:lnTo>
                      <a:lnTo>
                        <a:pt x="333" y="123"/>
                      </a:lnTo>
                      <a:lnTo>
                        <a:pt x="328" y="107"/>
                      </a:lnTo>
                      <a:lnTo>
                        <a:pt x="321" y="93"/>
                      </a:lnTo>
                      <a:lnTo>
                        <a:pt x="312" y="78"/>
                      </a:lnTo>
                      <a:lnTo>
                        <a:pt x="304" y="65"/>
                      </a:lnTo>
                      <a:lnTo>
                        <a:pt x="292" y="52"/>
                      </a:lnTo>
                      <a:lnTo>
                        <a:pt x="280" y="41"/>
                      </a:lnTo>
                      <a:lnTo>
                        <a:pt x="267" y="32"/>
                      </a:lnTo>
                      <a:lnTo>
                        <a:pt x="254" y="22"/>
                      </a:lnTo>
                      <a:lnTo>
                        <a:pt x="240" y="14"/>
                      </a:lnTo>
                      <a:lnTo>
                        <a:pt x="224" y="9"/>
                      </a:lnTo>
                      <a:lnTo>
                        <a:pt x="208" y="4"/>
                      </a:lnTo>
                      <a:lnTo>
                        <a:pt x="191" y="1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156" y="0"/>
                      </a:lnTo>
                      <a:lnTo>
                        <a:pt x="140" y="3"/>
                      </a:lnTo>
                      <a:lnTo>
                        <a:pt x="123" y="6"/>
                      </a:lnTo>
                      <a:lnTo>
                        <a:pt x="107" y="12"/>
                      </a:lnTo>
                      <a:lnTo>
                        <a:pt x="92" y="19"/>
                      </a:lnTo>
                      <a:lnTo>
                        <a:pt x="78" y="26"/>
                      </a:lnTo>
                      <a:lnTo>
                        <a:pt x="65" y="36"/>
                      </a:lnTo>
                      <a:lnTo>
                        <a:pt x="52" y="46"/>
                      </a:lnTo>
                      <a:lnTo>
                        <a:pt x="42" y="58"/>
                      </a:lnTo>
                      <a:lnTo>
                        <a:pt x="32" y="71"/>
                      </a:lnTo>
                      <a:lnTo>
                        <a:pt x="23" y="85"/>
                      </a:lnTo>
                      <a:lnTo>
                        <a:pt x="14" y="100"/>
                      </a:lnTo>
                      <a:lnTo>
                        <a:pt x="8" y="116"/>
                      </a:lnTo>
                      <a:lnTo>
                        <a:pt x="4" y="132"/>
                      </a:lnTo>
                      <a:lnTo>
                        <a:pt x="1" y="149"/>
                      </a:lnTo>
                      <a:lnTo>
                        <a:pt x="0" y="166"/>
                      </a:lnTo>
                      <a:lnTo>
                        <a:pt x="1" y="667"/>
                      </a:lnTo>
                      <a:lnTo>
                        <a:pt x="1" y="667"/>
                      </a:lnTo>
                      <a:lnTo>
                        <a:pt x="1" y="683"/>
                      </a:lnTo>
                      <a:lnTo>
                        <a:pt x="3" y="698"/>
                      </a:lnTo>
                      <a:lnTo>
                        <a:pt x="3" y="698"/>
                      </a:lnTo>
                      <a:lnTo>
                        <a:pt x="5" y="712"/>
                      </a:lnTo>
                      <a:lnTo>
                        <a:pt x="10" y="727"/>
                      </a:lnTo>
                      <a:lnTo>
                        <a:pt x="16" y="740"/>
                      </a:lnTo>
                      <a:lnTo>
                        <a:pt x="21" y="753"/>
                      </a:lnTo>
                      <a:lnTo>
                        <a:pt x="30" y="766"/>
                      </a:lnTo>
                      <a:lnTo>
                        <a:pt x="37" y="777"/>
                      </a:lnTo>
                      <a:lnTo>
                        <a:pt x="47" y="789"/>
                      </a:lnTo>
                      <a:lnTo>
                        <a:pt x="58" y="799"/>
                      </a:lnTo>
                      <a:lnTo>
                        <a:pt x="69" y="808"/>
                      </a:lnTo>
                      <a:lnTo>
                        <a:pt x="81" y="816"/>
                      </a:lnTo>
                      <a:lnTo>
                        <a:pt x="94" y="823"/>
                      </a:lnTo>
                      <a:lnTo>
                        <a:pt x="108" y="829"/>
                      </a:lnTo>
                      <a:lnTo>
                        <a:pt x="121" y="834"/>
                      </a:lnTo>
                      <a:lnTo>
                        <a:pt x="136" y="838"/>
                      </a:lnTo>
                      <a:lnTo>
                        <a:pt x="152" y="841"/>
                      </a:lnTo>
                      <a:lnTo>
                        <a:pt x="168" y="841"/>
                      </a:lnTo>
                      <a:lnTo>
                        <a:pt x="168" y="84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6" name="Freeform 10">
                  <a:extLst>
                    <a:ext uri="{FF2B5EF4-FFF2-40B4-BE49-F238E27FC236}">
                      <a16:creationId xmlns="" xmlns:a16="http://schemas.microsoft.com/office/drawing/2014/main" id="{0F37E864-CDCF-4EFE-9831-C521E85FF0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6251" y="-4333875"/>
                  <a:ext cx="533400" cy="569913"/>
                </a:xfrm>
                <a:custGeom>
                  <a:avLst/>
                  <a:gdLst/>
                  <a:ahLst/>
                  <a:cxnLst>
                    <a:cxn ang="0">
                      <a:pos x="57" y="674"/>
                    </a:cxn>
                    <a:cxn ang="0">
                      <a:pos x="85" y="694"/>
                    </a:cxn>
                    <a:cxn ang="0">
                      <a:pos x="117" y="707"/>
                    </a:cxn>
                    <a:cxn ang="0">
                      <a:pos x="149" y="715"/>
                    </a:cxn>
                    <a:cxn ang="0">
                      <a:pos x="180" y="716"/>
                    </a:cxn>
                    <a:cxn ang="0">
                      <a:pos x="212" y="710"/>
                    </a:cxn>
                    <a:cxn ang="0">
                      <a:pos x="244" y="699"/>
                    </a:cxn>
                    <a:cxn ang="0">
                      <a:pos x="272" y="681"/>
                    </a:cxn>
                    <a:cxn ang="0">
                      <a:pos x="298" y="658"/>
                    </a:cxn>
                    <a:cxn ang="0">
                      <a:pos x="629" y="282"/>
                    </a:cxn>
                    <a:cxn ang="0">
                      <a:pos x="649" y="254"/>
                    </a:cxn>
                    <a:cxn ang="0">
                      <a:pos x="662" y="224"/>
                    </a:cxn>
                    <a:cxn ang="0">
                      <a:pos x="670" y="191"/>
                    </a:cxn>
                    <a:cxn ang="0">
                      <a:pos x="671" y="159"/>
                    </a:cxn>
                    <a:cxn ang="0">
                      <a:pos x="665" y="127"/>
                    </a:cxn>
                    <a:cxn ang="0">
                      <a:pos x="655" y="95"/>
                    </a:cxn>
                    <a:cxn ang="0">
                      <a:pos x="636" y="68"/>
                    </a:cxn>
                    <a:cxn ang="0">
                      <a:pos x="613" y="42"/>
                    </a:cxn>
                    <a:cxn ang="0">
                      <a:pos x="600" y="32"/>
                    </a:cxn>
                    <a:cxn ang="0">
                      <a:pos x="571" y="14"/>
                    </a:cxn>
                    <a:cxn ang="0">
                      <a:pos x="539" y="4"/>
                    </a:cxn>
                    <a:cxn ang="0">
                      <a:pos x="508" y="0"/>
                    </a:cxn>
                    <a:cxn ang="0">
                      <a:pos x="474" y="1"/>
                    </a:cxn>
                    <a:cxn ang="0">
                      <a:pos x="442" y="10"/>
                    </a:cxn>
                    <a:cxn ang="0">
                      <a:pos x="413" y="24"/>
                    </a:cxn>
                    <a:cxn ang="0">
                      <a:pos x="386" y="45"/>
                    </a:cxn>
                    <a:cxn ang="0">
                      <a:pos x="42" y="434"/>
                    </a:cxn>
                    <a:cxn ang="0">
                      <a:pos x="30" y="450"/>
                    </a:cxn>
                    <a:cxn ang="0">
                      <a:pos x="13" y="482"/>
                    </a:cxn>
                    <a:cxn ang="0">
                      <a:pos x="2" y="518"/>
                    </a:cxn>
                    <a:cxn ang="0">
                      <a:pos x="0" y="554"/>
                    </a:cxn>
                    <a:cxn ang="0">
                      <a:pos x="2" y="571"/>
                    </a:cxn>
                    <a:cxn ang="0">
                      <a:pos x="8" y="600"/>
                    </a:cxn>
                    <a:cxn ang="0">
                      <a:pos x="20" y="626"/>
                    </a:cxn>
                    <a:cxn ang="0">
                      <a:pos x="37" y="651"/>
                    </a:cxn>
                    <a:cxn ang="0">
                      <a:pos x="57" y="674"/>
                    </a:cxn>
                  </a:cxnLst>
                  <a:rect l="0" t="0" r="r" b="b"/>
                  <a:pathLst>
                    <a:path w="671" h="716">
                      <a:moveTo>
                        <a:pt x="57" y="674"/>
                      </a:moveTo>
                      <a:lnTo>
                        <a:pt x="57" y="674"/>
                      </a:lnTo>
                      <a:lnTo>
                        <a:pt x="72" y="684"/>
                      </a:lnTo>
                      <a:lnTo>
                        <a:pt x="85" y="694"/>
                      </a:lnTo>
                      <a:lnTo>
                        <a:pt x="101" y="702"/>
                      </a:lnTo>
                      <a:lnTo>
                        <a:pt x="117" y="707"/>
                      </a:lnTo>
                      <a:lnTo>
                        <a:pt x="131" y="712"/>
                      </a:lnTo>
                      <a:lnTo>
                        <a:pt x="149" y="715"/>
                      </a:lnTo>
                      <a:lnTo>
                        <a:pt x="165" y="716"/>
                      </a:lnTo>
                      <a:lnTo>
                        <a:pt x="180" y="716"/>
                      </a:lnTo>
                      <a:lnTo>
                        <a:pt x="196" y="715"/>
                      </a:lnTo>
                      <a:lnTo>
                        <a:pt x="212" y="710"/>
                      </a:lnTo>
                      <a:lnTo>
                        <a:pt x="228" y="706"/>
                      </a:lnTo>
                      <a:lnTo>
                        <a:pt x="244" y="699"/>
                      </a:lnTo>
                      <a:lnTo>
                        <a:pt x="259" y="691"/>
                      </a:lnTo>
                      <a:lnTo>
                        <a:pt x="272" y="681"/>
                      </a:lnTo>
                      <a:lnTo>
                        <a:pt x="285" y="671"/>
                      </a:lnTo>
                      <a:lnTo>
                        <a:pt x="298" y="658"/>
                      </a:lnTo>
                      <a:lnTo>
                        <a:pt x="629" y="282"/>
                      </a:lnTo>
                      <a:lnTo>
                        <a:pt x="629" y="282"/>
                      </a:lnTo>
                      <a:lnTo>
                        <a:pt x="639" y="269"/>
                      </a:lnTo>
                      <a:lnTo>
                        <a:pt x="649" y="254"/>
                      </a:lnTo>
                      <a:lnTo>
                        <a:pt x="657" y="238"/>
                      </a:lnTo>
                      <a:lnTo>
                        <a:pt x="662" y="224"/>
                      </a:lnTo>
                      <a:lnTo>
                        <a:pt x="667" y="208"/>
                      </a:lnTo>
                      <a:lnTo>
                        <a:pt x="670" y="191"/>
                      </a:lnTo>
                      <a:lnTo>
                        <a:pt x="671" y="175"/>
                      </a:lnTo>
                      <a:lnTo>
                        <a:pt x="671" y="159"/>
                      </a:lnTo>
                      <a:lnTo>
                        <a:pt x="670" y="143"/>
                      </a:lnTo>
                      <a:lnTo>
                        <a:pt x="665" y="127"/>
                      </a:lnTo>
                      <a:lnTo>
                        <a:pt x="661" y="111"/>
                      </a:lnTo>
                      <a:lnTo>
                        <a:pt x="655" y="95"/>
                      </a:lnTo>
                      <a:lnTo>
                        <a:pt x="646" y="81"/>
                      </a:lnTo>
                      <a:lnTo>
                        <a:pt x="636" y="68"/>
                      </a:lnTo>
                      <a:lnTo>
                        <a:pt x="626" y="55"/>
                      </a:lnTo>
                      <a:lnTo>
                        <a:pt x="613" y="42"/>
                      </a:lnTo>
                      <a:lnTo>
                        <a:pt x="613" y="42"/>
                      </a:lnTo>
                      <a:lnTo>
                        <a:pt x="600" y="32"/>
                      </a:lnTo>
                      <a:lnTo>
                        <a:pt x="586" y="21"/>
                      </a:lnTo>
                      <a:lnTo>
                        <a:pt x="571" y="14"/>
                      </a:lnTo>
                      <a:lnTo>
                        <a:pt x="555" y="8"/>
                      </a:lnTo>
                      <a:lnTo>
                        <a:pt x="539" y="4"/>
                      </a:lnTo>
                      <a:lnTo>
                        <a:pt x="523" y="1"/>
                      </a:lnTo>
                      <a:lnTo>
                        <a:pt x="508" y="0"/>
                      </a:lnTo>
                      <a:lnTo>
                        <a:pt x="490" y="0"/>
                      </a:lnTo>
                      <a:lnTo>
                        <a:pt x="474" y="1"/>
                      </a:lnTo>
                      <a:lnTo>
                        <a:pt x="458" y="5"/>
                      </a:lnTo>
                      <a:lnTo>
                        <a:pt x="442" y="10"/>
                      </a:lnTo>
                      <a:lnTo>
                        <a:pt x="428" y="17"/>
                      </a:lnTo>
                      <a:lnTo>
                        <a:pt x="413" y="24"/>
                      </a:lnTo>
                      <a:lnTo>
                        <a:pt x="399" y="34"/>
                      </a:lnTo>
                      <a:lnTo>
                        <a:pt x="386" y="45"/>
                      </a:lnTo>
                      <a:lnTo>
                        <a:pt x="374" y="58"/>
                      </a:lnTo>
                      <a:lnTo>
                        <a:pt x="42" y="434"/>
                      </a:lnTo>
                      <a:lnTo>
                        <a:pt x="42" y="434"/>
                      </a:lnTo>
                      <a:lnTo>
                        <a:pt x="30" y="450"/>
                      </a:lnTo>
                      <a:lnTo>
                        <a:pt x="20" y="466"/>
                      </a:lnTo>
                      <a:lnTo>
                        <a:pt x="13" y="482"/>
                      </a:lnTo>
                      <a:lnTo>
                        <a:pt x="7" y="499"/>
                      </a:lnTo>
                      <a:lnTo>
                        <a:pt x="2" y="518"/>
                      </a:lnTo>
                      <a:lnTo>
                        <a:pt x="0" y="535"/>
                      </a:lnTo>
                      <a:lnTo>
                        <a:pt x="0" y="554"/>
                      </a:lnTo>
                      <a:lnTo>
                        <a:pt x="2" y="571"/>
                      </a:lnTo>
                      <a:lnTo>
                        <a:pt x="2" y="571"/>
                      </a:lnTo>
                      <a:lnTo>
                        <a:pt x="4" y="586"/>
                      </a:lnTo>
                      <a:lnTo>
                        <a:pt x="8" y="600"/>
                      </a:lnTo>
                      <a:lnTo>
                        <a:pt x="14" y="613"/>
                      </a:lnTo>
                      <a:lnTo>
                        <a:pt x="20" y="626"/>
                      </a:lnTo>
                      <a:lnTo>
                        <a:pt x="28" y="639"/>
                      </a:lnTo>
                      <a:lnTo>
                        <a:pt x="37" y="651"/>
                      </a:lnTo>
                      <a:lnTo>
                        <a:pt x="46" y="663"/>
                      </a:lnTo>
                      <a:lnTo>
                        <a:pt x="57" y="674"/>
                      </a:lnTo>
                      <a:lnTo>
                        <a:pt x="57" y="6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7" name="Freeform 11">
                  <a:extLst>
                    <a:ext uri="{FF2B5EF4-FFF2-40B4-BE49-F238E27FC236}">
                      <a16:creationId xmlns="" xmlns:a16="http://schemas.microsoft.com/office/drawing/2014/main" id="{6957FC76-A026-4866-B3F2-20739F41F4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62963" y="-3424238"/>
                  <a:ext cx="661988" cy="328613"/>
                </a:xfrm>
                <a:custGeom>
                  <a:avLst/>
                  <a:gdLst/>
                  <a:ahLst/>
                  <a:cxnLst>
                    <a:cxn ang="0">
                      <a:pos x="834" y="144"/>
                    </a:cxn>
                    <a:cxn ang="0">
                      <a:pos x="825" y="110"/>
                    </a:cxn>
                    <a:cxn ang="0">
                      <a:pos x="811" y="82"/>
                    </a:cxn>
                    <a:cxn ang="0">
                      <a:pos x="790" y="55"/>
                    </a:cxn>
                    <a:cxn ang="0">
                      <a:pos x="766" y="34"/>
                    </a:cxn>
                    <a:cxn ang="0">
                      <a:pos x="738" y="16"/>
                    </a:cxn>
                    <a:cxn ang="0">
                      <a:pos x="708" y="5"/>
                    </a:cxn>
                    <a:cxn ang="0">
                      <a:pos x="675" y="0"/>
                    </a:cxn>
                    <a:cxn ang="0">
                      <a:pos x="640" y="2"/>
                    </a:cxn>
                    <a:cxn ang="0">
                      <a:pos x="143" y="77"/>
                    </a:cxn>
                    <a:cxn ang="0">
                      <a:pos x="110" y="86"/>
                    </a:cxn>
                    <a:cxn ang="0">
                      <a:pos x="81" y="100"/>
                    </a:cxn>
                    <a:cxn ang="0">
                      <a:pos x="55" y="121"/>
                    </a:cxn>
                    <a:cxn ang="0">
                      <a:pos x="32" y="145"/>
                    </a:cxn>
                    <a:cxn ang="0">
                      <a:pos x="16" y="173"/>
                    </a:cxn>
                    <a:cxn ang="0">
                      <a:pos x="5" y="203"/>
                    </a:cxn>
                    <a:cxn ang="0">
                      <a:pos x="0" y="236"/>
                    </a:cxn>
                    <a:cxn ang="0">
                      <a:pos x="2" y="271"/>
                    </a:cxn>
                    <a:cxn ang="0">
                      <a:pos x="5" y="288"/>
                    </a:cxn>
                    <a:cxn ang="0">
                      <a:pos x="16" y="320"/>
                    </a:cxn>
                    <a:cxn ang="0">
                      <a:pos x="33" y="348"/>
                    </a:cxn>
                    <a:cxn ang="0">
                      <a:pos x="57" y="372"/>
                    </a:cxn>
                    <a:cxn ang="0">
                      <a:pos x="83" y="391"/>
                    </a:cxn>
                    <a:cxn ang="0">
                      <a:pos x="112" y="406"/>
                    </a:cxn>
                    <a:cxn ang="0">
                      <a:pos x="143" y="413"/>
                    </a:cxn>
                    <a:cxn ang="0">
                      <a:pos x="178" y="416"/>
                    </a:cxn>
                    <a:cxn ang="0">
                      <a:pos x="691" y="338"/>
                    </a:cxn>
                    <a:cxn ang="0">
                      <a:pos x="708" y="335"/>
                    </a:cxn>
                    <a:cxn ang="0">
                      <a:pos x="740" y="323"/>
                    </a:cxn>
                    <a:cxn ang="0">
                      <a:pos x="769" y="306"/>
                    </a:cxn>
                    <a:cxn ang="0">
                      <a:pos x="792" y="283"/>
                    </a:cxn>
                    <a:cxn ang="0">
                      <a:pos x="812" y="257"/>
                    </a:cxn>
                    <a:cxn ang="0">
                      <a:pos x="825" y="228"/>
                    </a:cxn>
                    <a:cxn ang="0">
                      <a:pos x="834" y="196"/>
                    </a:cxn>
                    <a:cxn ang="0">
                      <a:pos x="835" y="161"/>
                    </a:cxn>
                    <a:cxn ang="0">
                      <a:pos x="834" y="144"/>
                    </a:cxn>
                  </a:cxnLst>
                  <a:rect l="0" t="0" r="r" b="b"/>
                  <a:pathLst>
                    <a:path w="835" h="416">
                      <a:moveTo>
                        <a:pt x="834" y="144"/>
                      </a:moveTo>
                      <a:lnTo>
                        <a:pt x="834" y="144"/>
                      </a:lnTo>
                      <a:lnTo>
                        <a:pt x="829" y="128"/>
                      </a:lnTo>
                      <a:lnTo>
                        <a:pt x="825" y="110"/>
                      </a:lnTo>
                      <a:lnTo>
                        <a:pt x="818" y="96"/>
                      </a:lnTo>
                      <a:lnTo>
                        <a:pt x="811" y="82"/>
                      </a:lnTo>
                      <a:lnTo>
                        <a:pt x="801" y="67"/>
                      </a:lnTo>
                      <a:lnTo>
                        <a:pt x="790" y="55"/>
                      </a:lnTo>
                      <a:lnTo>
                        <a:pt x="779" y="44"/>
                      </a:lnTo>
                      <a:lnTo>
                        <a:pt x="766" y="34"/>
                      </a:lnTo>
                      <a:lnTo>
                        <a:pt x="753" y="24"/>
                      </a:lnTo>
                      <a:lnTo>
                        <a:pt x="738" y="16"/>
                      </a:lnTo>
                      <a:lnTo>
                        <a:pt x="724" y="11"/>
                      </a:lnTo>
                      <a:lnTo>
                        <a:pt x="708" y="5"/>
                      </a:lnTo>
                      <a:lnTo>
                        <a:pt x="691" y="2"/>
                      </a:lnTo>
                      <a:lnTo>
                        <a:pt x="675" y="0"/>
                      </a:lnTo>
                      <a:lnTo>
                        <a:pt x="657" y="0"/>
                      </a:lnTo>
                      <a:lnTo>
                        <a:pt x="640" y="2"/>
                      </a:lnTo>
                      <a:lnTo>
                        <a:pt x="143" y="77"/>
                      </a:lnTo>
                      <a:lnTo>
                        <a:pt x="143" y="77"/>
                      </a:lnTo>
                      <a:lnTo>
                        <a:pt x="128" y="82"/>
                      </a:lnTo>
                      <a:lnTo>
                        <a:pt x="110" y="86"/>
                      </a:lnTo>
                      <a:lnTo>
                        <a:pt x="96" y="93"/>
                      </a:lnTo>
                      <a:lnTo>
                        <a:pt x="81" y="100"/>
                      </a:lnTo>
                      <a:lnTo>
                        <a:pt x="67" y="110"/>
                      </a:lnTo>
                      <a:lnTo>
                        <a:pt x="55" y="121"/>
                      </a:lnTo>
                      <a:lnTo>
                        <a:pt x="44" y="132"/>
                      </a:lnTo>
                      <a:lnTo>
                        <a:pt x="32" y="145"/>
                      </a:lnTo>
                      <a:lnTo>
                        <a:pt x="23" y="158"/>
                      </a:lnTo>
                      <a:lnTo>
                        <a:pt x="16" y="173"/>
                      </a:lnTo>
                      <a:lnTo>
                        <a:pt x="10" y="187"/>
                      </a:lnTo>
                      <a:lnTo>
                        <a:pt x="5" y="203"/>
                      </a:lnTo>
                      <a:lnTo>
                        <a:pt x="2" y="220"/>
                      </a:lnTo>
                      <a:lnTo>
                        <a:pt x="0" y="236"/>
                      </a:lnTo>
                      <a:lnTo>
                        <a:pt x="0" y="254"/>
                      </a:lnTo>
                      <a:lnTo>
                        <a:pt x="2" y="271"/>
                      </a:lnTo>
                      <a:lnTo>
                        <a:pt x="2" y="271"/>
                      </a:lnTo>
                      <a:lnTo>
                        <a:pt x="5" y="288"/>
                      </a:lnTo>
                      <a:lnTo>
                        <a:pt x="10" y="304"/>
                      </a:lnTo>
                      <a:lnTo>
                        <a:pt x="16" y="320"/>
                      </a:lnTo>
                      <a:lnTo>
                        <a:pt x="25" y="335"/>
                      </a:lnTo>
                      <a:lnTo>
                        <a:pt x="33" y="348"/>
                      </a:lnTo>
                      <a:lnTo>
                        <a:pt x="45" y="361"/>
                      </a:lnTo>
                      <a:lnTo>
                        <a:pt x="57" y="372"/>
                      </a:lnTo>
                      <a:lnTo>
                        <a:pt x="68" y="383"/>
                      </a:lnTo>
                      <a:lnTo>
                        <a:pt x="83" y="391"/>
                      </a:lnTo>
                      <a:lnTo>
                        <a:pt x="97" y="398"/>
                      </a:lnTo>
                      <a:lnTo>
                        <a:pt x="112" y="406"/>
                      </a:lnTo>
                      <a:lnTo>
                        <a:pt x="128" y="410"/>
                      </a:lnTo>
                      <a:lnTo>
                        <a:pt x="143" y="413"/>
                      </a:lnTo>
                      <a:lnTo>
                        <a:pt x="161" y="416"/>
                      </a:lnTo>
                      <a:lnTo>
                        <a:pt x="178" y="416"/>
                      </a:lnTo>
                      <a:lnTo>
                        <a:pt x="196" y="413"/>
                      </a:lnTo>
                      <a:lnTo>
                        <a:pt x="691" y="338"/>
                      </a:lnTo>
                      <a:lnTo>
                        <a:pt x="691" y="338"/>
                      </a:lnTo>
                      <a:lnTo>
                        <a:pt x="708" y="335"/>
                      </a:lnTo>
                      <a:lnTo>
                        <a:pt x="724" y="329"/>
                      </a:lnTo>
                      <a:lnTo>
                        <a:pt x="740" y="323"/>
                      </a:lnTo>
                      <a:lnTo>
                        <a:pt x="754" y="315"/>
                      </a:lnTo>
                      <a:lnTo>
                        <a:pt x="769" y="306"/>
                      </a:lnTo>
                      <a:lnTo>
                        <a:pt x="780" y="294"/>
                      </a:lnTo>
                      <a:lnTo>
                        <a:pt x="792" y="283"/>
                      </a:lnTo>
                      <a:lnTo>
                        <a:pt x="802" y="271"/>
                      </a:lnTo>
                      <a:lnTo>
                        <a:pt x="812" y="257"/>
                      </a:lnTo>
                      <a:lnTo>
                        <a:pt x="819" y="242"/>
                      </a:lnTo>
                      <a:lnTo>
                        <a:pt x="825" y="228"/>
                      </a:lnTo>
                      <a:lnTo>
                        <a:pt x="831" y="212"/>
                      </a:lnTo>
                      <a:lnTo>
                        <a:pt x="834" y="196"/>
                      </a:lnTo>
                      <a:lnTo>
                        <a:pt x="835" y="178"/>
                      </a:lnTo>
                      <a:lnTo>
                        <a:pt x="835" y="161"/>
                      </a:lnTo>
                      <a:lnTo>
                        <a:pt x="834" y="144"/>
                      </a:lnTo>
                      <a:lnTo>
                        <a:pt x="834" y="1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8" name="Freeform 12">
                  <a:extLst>
                    <a:ext uri="{FF2B5EF4-FFF2-40B4-BE49-F238E27FC236}">
                      <a16:creationId xmlns="" xmlns:a16="http://schemas.microsoft.com/office/drawing/2014/main" id="{E2193E2F-426E-419B-B96D-346E432B0F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0951" y="-1790700"/>
                  <a:ext cx="2298700" cy="385763"/>
                </a:xfrm>
                <a:custGeom>
                  <a:avLst/>
                  <a:gdLst/>
                  <a:ahLst/>
                  <a:cxnLst>
                    <a:cxn ang="0">
                      <a:pos x="2896" y="243"/>
                    </a:cxn>
                    <a:cxn ang="0">
                      <a:pos x="2892" y="291"/>
                    </a:cxn>
                    <a:cxn ang="0">
                      <a:pos x="2877" y="337"/>
                    </a:cxn>
                    <a:cxn ang="0">
                      <a:pos x="2856" y="378"/>
                    </a:cxn>
                    <a:cxn ang="0">
                      <a:pos x="2825" y="414"/>
                    </a:cxn>
                    <a:cxn ang="0">
                      <a:pos x="2789" y="443"/>
                    </a:cxn>
                    <a:cxn ang="0">
                      <a:pos x="2748" y="466"/>
                    </a:cxn>
                    <a:cxn ang="0">
                      <a:pos x="2704" y="480"/>
                    </a:cxn>
                    <a:cxn ang="0">
                      <a:pos x="2654" y="485"/>
                    </a:cxn>
                    <a:cxn ang="0">
                      <a:pos x="242" y="485"/>
                    </a:cxn>
                    <a:cxn ang="0">
                      <a:pos x="193" y="480"/>
                    </a:cxn>
                    <a:cxn ang="0">
                      <a:pos x="148" y="466"/>
                    </a:cxn>
                    <a:cxn ang="0">
                      <a:pos x="106" y="443"/>
                    </a:cxn>
                    <a:cxn ang="0">
                      <a:pos x="71" y="414"/>
                    </a:cxn>
                    <a:cxn ang="0">
                      <a:pos x="41" y="378"/>
                    </a:cxn>
                    <a:cxn ang="0">
                      <a:pos x="19" y="337"/>
                    </a:cxn>
                    <a:cxn ang="0">
                      <a:pos x="4" y="291"/>
                    </a:cxn>
                    <a:cxn ang="0">
                      <a:pos x="0" y="243"/>
                    </a:cxn>
                    <a:cxn ang="0">
                      <a:pos x="0" y="218"/>
                    </a:cxn>
                    <a:cxn ang="0">
                      <a:pos x="10" y="171"/>
                    </a:cxn>
                    <a:cxn ang="0">
                      <a:pos x="29" y="127"/>
                    </a:cxn>
                    <a:cxn ang="0">
                      <a:pos x="55" y="88"/>
                    </a:cxn>
                    <a:cxn ang="0">
                      <a:pos x="88" y="56"/>
                    </a:cxn>
                    <a:cxn ang="0">
                      <a:pos x="126" y="30"/>
                    </a:cxn>
                    <a:cxn ang="0">
                      <a:pos x="169" y="11"/>
                    </a:cxn>
                    <a:cxn ang="0">
                      <a:pos x="217" y="1"/>
                    </a:cxn>
                    <a:cxn ang="0">
                      <a:pos x="2654" y="0"/>
                    </a:cxn>
                    <a:cxn ang="0">
                      <a:pos x="2679" y="1"/>
                    </a:cxn>
                    <a:cxn ang="0">
                      <a:pos x="2727" y="11"/>
                    </a:cxn>
                    <a:cxn ang="0">
                      <a:pos x="2770" y="30"/>
                    </a:cxn>
                    <a:cxn ang="0">
                      <a:pos x="2808" y="56"/>
                    </a:cxn>
                    <a:cxn ang="0">
                      <a:pos x="2841" y="88"/>
                    </a:cxn>
                    <a:cxn ang="0">
                      <a:pos x="2867" y="127"/>
                    </a:cxn>
                    <a:cxn ang="0">
                      <a:pos x="2886" y="171"/>
                    </a:cxn>
                    <a:cxn ang="0">
                      <a:pos x="2895" y="218"/>
                    </a:cxn>
                    <a:cxn ang="0">
                      <a:pos x="2896" y="243"/>
                    </a:cxn>
                  </a:cxnLst>
                  <a:rect l="0" t="0" r="r" b="b"/>
                  <a:pathLst>
                    <a:path w="2896" h="485">
                      <a:moveTo>
                        <a:pt x="2896" y="243"/>
                      </a:moveTo>
                      <a:lnTo>
                        <a:pt x="2896" y="243"/>
                      </a:lnTo>
                      <a:lnTo>
                        <a:pt x="2895" y="268"/>
                      </a:lnTo>
                      <a:lnTo>
                        <a:pt x="2892" y="291"/>
                      </a:lnTo>
                      <a:lnTo>
                        <a:pt x="2886" y="315"/>
                      </a:lnTo>
                      <a:lnTo>
                        <a:pt x="2877" y="337"/>
                      </a:lnTo>
                      <a:lnTo>
                        <a:pt x="2867" y="359"/>
                      </a:lnTo>
                      <a:lnTo>
                        <a:pt x="2856" y="378"/>
                      </a:lnTo>
                      <a:lnTo>
                        <a:pt x="2841" y="396"/>
                      </a:lnTo>
                      <a:lnTo>
                        <a:pt x="2825" y="414"/>
                      </a:lnTo>
                      <a:lnTo>
                        <a:pt x="2808" y="430"/>
                      </a:lnTo>
                      <a:lnTo>
                        <a:pt x="2789" y="443"/>
                      </a:lnTo>
                      <a:lnTo>
                        <a:pt x="2770" y="456"/>
                      </a:lnTo>
                      <a:lnTo>
                        <a:pt x="2748" y="466"/>
                      </a:lnTo>
                      <a:lnTo>
                        <a:pt x="2727" y="475"/>
                      </a:lnTo>
                      <a:lnTo>
                        <a:pt x="2704" y="480"/>
                      </a:lnTo>
                      <a:lnTo>
                        <a:pt x="2679" y="483"/>
                      </a:lnTo>
                      <a:lnTo>
                        <a:pt x="2654" y="485"/>
                      </a:lnTo>
                      <a:lnTo>
                        <a:pt x="242" y="485"/>
                      </a:lnTo>
                      <a:lnTo>
                        <a:pt x="242" y="485"/>
                      </a:lnTo>
                      <a:lnTo>
                        <a:pt x="217" y="483"/>
                      </a:lnTo>
                      <a:lnTo>
                        <a:pt x="193" y="480"/>
                      </a:lnTo>
                      <a:lnTo>
                        <a:pt x="169" y="475"/>
                      </a:lnTo>
                      <a:lnTo>
                        <a:pt x="148" y="466"/>
                      </a:lnTo>
                      <a:lnTo>
                        <a:pt x="126" y="456"/>
                      </a:lnTo>
                      <a:lnTo>
                        <a:pt x="106" y="443"/>
                      </a:lnTo>
                      <a:lnTo>
                        <a:pt x="88" y="430"/>
                      </a:lnTo>
                      <a:lnTo>
                        <a:pt x="71" y="414"/>
                      </a:lnTo>
                      <a:lnTo>
                        <a:pt x="55" y="396"/>
                      </a:lnTo>
                      <a:lnTo>
                        <a:pt x="41" y="378"/>
                      </a:lnTo>
                      <a:lnTo>
                        <a:pt x="29" y="359"/>
                      </a:lnTo>
                      <a:lnTo>
                        <a:pt x="19" y="337"/>
                      </a:lnTo>
                      <a:lnTo>
                        <a:pt x="10" y="315"/>
                      </a:lnTo>
                      <a:lnTo>
                        <a:pt x="4" y="291"/>
                      </a:lnTo>
                      <a:lnTo>
                        <a:pt x="0" y="268"/>
                      </a:lnTo>
                      <a:lnTo>
                        <a:pt x="0" y="243"/>
                      </a:lnTo>
                      <a:lnTo>
                        <a:pt x="0" y="243"/>
                      </a:lnTo>
                      <a:lnTo>
                        <a:pt x="0" y="218"/>
                      </a:lnTo>
                      <a:lnTo>
                        <a:pt x="4" y="194"/>
                      </a:lnTo>
                      <a:lnTo>
                        <a:pt x="10" y="171"/>
                      </a:lnTo>
                      <a:lnTo>
                        <a:pt x="19" y="149"/>
                      </a:lnTo>
                      <a:lnTo>
                        <a:pt x="29" y="127"/>
                      </a:lnTo>
                      <a:lnTo>
                        <a:pt x="41" y="107"/>
                      </a:lnTo>
                      <a:lnTo>
                        <a:pt x="55" y="88"/>
                      </a:lnTo>
                      <a:lnTo>
                        <a:pt x="71" y="71"/>
                      </a:lnTo>
                      <a:lnTo>
                        <a:pt x="88" y="56"/>
                      </a:lnTo>
                      <a:lnTo>
                        <a:pt x="106" y="42"/>
                      </a:lnTo>
                      <a:lnTo>
                        <a:pt x="126" y="30"/>
                      </a:lnTo>
                      <a:lnTo>
                        <a:pt x="148" y="20"/>
                      </a:lnTo>
                      <a:lnTo>
                        <a:pt x="169" y="11"/>
                      </a:lnTo>
                      <a:lnTo>
                        <a:pt x="193" y="6"/>
                      </a:lnTo>
                      <a:lnTo>
                        <a:pt x="217" y="1"/>
                      </a:lnTo>
                      <a:lnTo>
                        <a:pt x="242" y="0"/>
                      </a:lnTo>
                      <a:lnTo>
                        <a:pt x="2654" y="0"/>
                      </a:lnTo>
                      <a:lnTo>
                        <a:pt x="2654" y="0"/>
                      </a:lnTo>
                      <a:lnTo>
                        <a:pt x="2679" y="1"/>
                      </a:lnTo>
                      <a:lnTo>
                        <a:pt x="2704" y="6"/>
                      </a:lnTo>
                      <a:lnTo>
                        <a:pt x="2727" y="11"/>
                      </a:lnTo>
                      <a:lnTo>
                        <a:pt x="2748" y="20"/>
                      </a:lnTo>
                      <a:lnTo>
                        <a:pt x="2770" y="30"/>
                      </a:lnTo>
                      <a:lnTo>
                        <a:pt x="2789" y="42"/>
                      </a:lnTo>
                      <a:lnTo>
                        <a:pt x="2808" y="56"/>
                      </a:lnTo>
                      <a:lnTo>
                        <a:pt x="2825" y="71"/>
                      </a:lnTo>
                      <a:lnTo>
                        <a:pt x="2841" y="88"/>
                      </a:lnTo>
                      <a:lnTo>
                        <a:pt x="2856" y="107"/>
                      </a:lnTo>
                      <a:lnTo>
                        <a:pt x="2867" y="127"/>
                      </a:lnTo>
                      <a:lnTo>
                        <a:pt x="2877" y="149"/>
                      </a:lnTo>
                      <a:lnTo>
                        <a:pt x="2886" y="171"/>
                      </a:lnTo>
                      <a:lnTo>
                        <a:pt x="2892" y="194"/>
                      </a:lnTo>
                      <a:lnTo>
                        <a:pt x="2895" y="218"/>
                      </a:lnTo>
                      <a:lnTo>
                        <a:pt x="2896" y="243"/>
                      </a:lnTo>
                      <a:lnTo>
                        <a:pt x="2896" y="24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381" tIns="45691" rIns="91381" bIns="45691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78" fontAlgn="ctr"/>
                  <a:endParaRPr lang="en-US" altLang="zh-CN" sz="27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208" name="组合 184">
              <a:extLst>
                <a:ext uri="{FF2B5EF4-FFF2-40B4-BE49-F238E27FC236}">
                  <a16:creationId xmlns="" xmlns:a16="http://schemas.microsoft.com/office/drawing/2014/main" id="{F3DB1511-8BC9-454E-BDE3-85F829945DE3}"/>
                </a:ext>
              </a:extLst>
            </p:cNvPr>
            <p:cNvGrpSpPr/>
            <p:nvPr/>
          </p:nvGrpSpPr>
          <p:grpSpPr>
            <a:xfrm>
              <a:off x="7804232" y="3640464"/>
              <a:ext cx="710961" cy="684629"/>
              <a:chOff x="8798428" y="4732309"/>
              <a:chExt cx="711233" cy="684892"/>
            </a:xfrm>
          </p:grpSpPr>
          <p:pic>
            <p:nvPicPr>
              <p:cNvPr id="209" name="Picture 2" descr="C:\Users\Administrator\Documents\Tencent Files\415628334\FileRecv\11.png">
                <a:extLst>
                  <a:ext uri="{FF2B5EF4-FFF2-40B4-BE49-F238E27FC236}">
                    <a16:creationId xmlns="" xmlns:a16="http://schemas.microsoft.com/office/drawing/2014/main" id="{24FB7306-06B2-4D2D-B8B4-F2D8D1D2FC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l="12645" t="13780" r="13005" b="5742"/>
              <a:stretch>
                <a:fillRect/>
              </a:stretch>
            </p:blipFill>
            <p:spPr bwMode="auto">
              <a:xfrm>
                <a:off x="8798428" y="4732309"/>
                <a:ext cx="711233" cy="6848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10" name="Freeform 47">
                <a:extLst>
                  <a:ext uri="{FF2B5EF4-FFF2-40B4-BE49-F238E27FC236}">
                    <a16:creationId xmlns="" xmlns:a16="http://schemas.microsoft.com/office/drawing/2014/main" id="{F9958322-CADB-44C0-8FDF-2226178901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85611" y="4862479"/>
                <a:ext cx="341591" cy="364191"/>
              </a:xfrm>
              <a:custGeom>
                <a:avLst/>
                <a:gdLst/>
                <a:ahLst/>
                <a:cxnLst>
                  <a:cxn ang="0">
                    <a:pos x="822" y="951"/>
                  </a:cxn>
                  <a:cxn ang="0">
                    <a:pos x="833" y="936"/>
                  </a:cxn>
                  <a:cxn ang="0">
                    <a:pos x="817" y="884"/>
                  </a:cxn>
                  <a:cxn ang="0">
                    <a:pos x="732" y="848"/>
                  </a:cxn>
                  <a:cxn ang="0">
                    <a:pos x="762" y="696"/>
                  </a:cxn>
                  <a:cxn ang="0">
                    <a:pos x="748" y="644"/>
                  </a:cxn>
                  <a:cxn ang="0">
                    <a:pos x="706" y="547"/>
                  </a:cxn>
                  <a:cxn ang="0">
                    <a:pos x="746" y="523"/>
                  </a:cxn>
                  <a:cxn ang="0">
                    <a:pos x="720" y="495"/>
                  </a:cxn>
                  <a:cxn ang="0">
                    <a:pos x="658" y="465"/>
                  </a:cxn>
                  <a:cxn ang="0">
                    <a:pos x="771" y="326"/>
                  </a:cxn>
                  <a:cxn ang="0">
                    <a:pos x="733" y="323"/>
                  </a:cxn>
                  <a:cxn ang="0">
                    <a:pos x="726" y="303"/>
                  </a:cxn>
                  <a:cxn ang="0">
                    <a:pos x="723" y="184"/>
                  </a:cxn>
                  <a:cxn ang="0">
                    <a:pos x="720" y="184"/>
                  </a:cxn>
                  <a:cxn ang="0">
                    <a:pos x="578" y="153"/>
                  </a:cxn>
                  <a:cxn ang="0">
                    <a:pos x="607" y="93"/>
                  </a:cxn>
                  <a:cxn ang="0">
                    <a:pos x="413" y="120"/>
                  </a:cxn>
                  <a:cxn ang="0">
                    <a:pos x="319" y="188"/>
                  </a:cxn>
                  <a:cxn ang="0">
                    <a:pos x="286" y="203"/>
                  </a:cxn>
                  <a:cxn ang="0">
                    <a:pos x="254" y="291"/>
                  </a:cxn>
                  <a:cxn ang="0">
                    <a:pos x="266" y="329"/>
                  </a:cxn>
                  <a:cxn ang="0">
                    <a:pos x="212" y="303"/>
                  </a:cxn>
                  <a:cxn ang="0">
                    <a:pos x="341" y="476"/>
                  </a:cxn>
                  <a:cxn ang="0">
                    <a:pos x="251" y="465"/>
                  </a:cxn>
                  <a:cxn ang="0">
                    <a:pos x="251" y="524"/>
                  </a:cxn>
                  <a:cxn ang="0">
                    <a:pos x="277" y="637"/>
                  </a:cxn>
                  <a:cxn ang="0">
                    <a:pos x="250" y="646"/>
                  </a:cxn>
                  <a:cxn ang="0">
                    <a:pos x="244" y="703"/>
                  </a:cxn>
                  <a:cxn ang="0">
                    <a:pos x="283" y="886"/>
                  </a:cxn>
                  <a:cxn ang="0">
                    <a:pos x="95" y="870"/>
                  </a:cxn>
                  <a:cxn ang="0">
                    <a:pos x="43" y="1125"/>
                  </a:cxn>
                  <a:cxn ang="0">
                    <a:pos x="706" y="536"/>
                  </a:cxn>
                  <a:cxn ang="0">
                    <a:pos x="277" y="158"/>
                  </a:cxn>
                  <a:cxn ang="0">
                    <a:pos x="290" y="446"/>
                  </a:cxn>
                  <a:cxn ang="0">
                    <a:pos x="340" y="630"/>
                  </a:cxn>
                  <a:cxn ang="0">
                    <a:pos x="225" y="919"/>
                  </a:cxn>
                  <a:cxn ang="0">
                    <a:pos x="749" y="918"/>
                  </a:cxn>
                  <a:cxn ang="0">
                    <a:pos x="631" y="1126"/>
                  </a:cxn>
                  <a:cxn ang="0">
                    <a:pos x="600" y="498"/>
                  </a:cxn>
                  <a:cxn ang="0">
                    <a:pos x="535" y="763"/>
                  </a:cxn>
                  <a:cxn ang="0">
                    <a:pos x="468" y="1126"/>
                  </a:cxn>
                  <a:cxn ang="0">
                    <a:pos x="424" y="508"/>
                  </a:cxn>
                  <a:cxn ang="0">
                    <a:pos x="397" y="850"/>
                  </a:cxn>
                  <a:cxn ang="0">
                    <a:pos x="356" y="318"/>
                  </a:cxn>
                  <a:cxn ang="0">
                    <a:pos x="408" y="336"/>
                  </a:cxn>
                  <a:cxn ang="0">
                    <a:pos x="461" y="417"/>
                  </a:cxn>
                  <a:cxn ang="0">
                    <a:pos x="561" y="301"/>
                  </a:cxn>
                  <a:cxn ang="0">
                    <a:pos x="625" y="667"/>
                  </a:cxn>
                  <a:cxn ang="0">
                    <a:pos x="635" y="323"/>
                  </a:cxn>
                  <a:cxn ang="0">
                    <a:pos x="649" y="929"/>
                  </a:cxn>
                  <a:cxn ang="0">
                    <a:pos x="657" y="619"/>
                  </a:cxn>
                  <a:cxn ang="0">
                    <a:pos x="554" y="145"/>
                  </a:cxn>
                  <a:cxn ang="0">
                    <a:pos x="439" y="152"/>
                  </a:cxn>
                  <a:cxn ang="0">
                    <a:pos x="340" y="633"/>
                  </a:cxn>
                  <a:cxn ang="0">
                    <a:pos x="337" y="1126"/>
                  </a:cxn>
                  <a:cxn ang="0">
                    <a:pos x="254" y="919"/>
                  </a:cxn>
                  <a:cxn ang="0">
                    <a:pos x="305" y="1253"/>
                  </a:cxn>
                  <a:cxn ang="0">
                    <a:pos x="696" y="1220"/>
                  </a:cxn>
                  <a:cxn ang="0">
                    <a:pos x="891" y="1253"/>
                  </a:cxn>
                  <a:cxn ang="0">
                    <a:pos x="492" y="2"/>
                  </a:cxn>
                  <a:cxn ang="0">
                    <a:pos x="499" y="43"/>
                  </a:cxn>
                </a:cxnLst>
                <a:rect l="0" t="0" r="r" b="b"/>
                <a:pathLst>
                  <a:path w="1001" h="1291">
                    <a:moveTo>
                      <a:pt x="989" y="1220"/>
                    </a:moveTo>
                    <a:lnTo>
                      <a:pt x="989" y="1243"/>
                    </a:lnTo>
                    <a:lnTo>
                      <a:pt x="903" y="1243"/>
                    </a:lnTo>
                    <a:lnTo>
                      <a:pt x="903" y="1220"/>
                    </a:lnTo>
                    <a:lnTo>
                      <a:pt x="891" y="1220"/>
                    </a:lnTo>
                    <a:lnTo>
                      <a:pt x="891" y="1243"/>
                    </a:lnTo>
                    <a:lnTo>
                      <a:pt x="888" y="1243"/>
                    </a:lnTo>
                    <a:lnTo>
                      <a:pt x="888" y="1211"/>
                    </a:lnTo>
                    <a:lnTo>
                      <a:pt x="879" y="1211"/>
                    </a:lnTo>
                    <a:lnTo>
                      <a:pt x="879" y="1229"/>
                    </a:lnTo>
                    <a:lnTo>
                      <a:pt x="824" y="1198"/>
                    </a:lnTo>
                    <a:lnTo>
                      <a:pt x="824" y="1165"/>
                    </a:lnTo>
                    <a:lnTo>
                      <a:pt x="814" y="1165"/>
                    </a:lnTo>
                    <a:lnTo>
                      <a:pt x="814" y="1193"/>
                    </a:lnTo>
                    <a:lnTo>
                      <a:pt x="761" y="1164"/>
                    </a:lnTo>
                    <a:lnTo>
                      <a:pt x="959" y="1164"/>
                    </a:lnTo>
                    <a:lnTo>
                      <a:pt x="959" y="1107"/>
                    </a:lnTo>
                    <a:lnTo>
                      <a:pt x="955" y="1107"/>
                    </a:lnTo>
                    <a:lnTo>
                      <a:pt x="955" y="1125"/>
                    </a:lnTo>
                    <a:lnTo>
                      <a:pt x="910" y="1125"/>
                    </a:lnTo>
                    <a:lnTo>
                      <a:pt x="910" y="1107"/>
                    </a:lnTo>
                    <a:lnTo>
                      <a:pt x="904" y="1107"/>
                    </a:lnTo>
                    <a:lnTo>
                      <a:pt x="904" y="1125"/>
                    </a:lnTo>
                    <a:lnTo>
                      <a:pt x="859" y="1125"/>
                    </a:lnTo>
                    <a:lnTo>
                      <a:pt x="859" y="1107"/>
                    </a:lnTo>
                    <a:lnTo>
                      <a:pt x="855" y="1107"/>
                    </a:lnTo>
                    <a:lnTo>
                      <a:pt x="855" y="1125"/>
                    </a:lnTo>
                    <a:lnTo>
                      <a:pt x="822" y="1125"/>
                    </a:lnTo>
                    <a:lnTo>
                      <a:pt x="822" y="951"/>
                    </a:lnTo>
                    <a:lnTo>
                      <a:pt x="822" y="951"/>
                    </a:lnTo>
                    <a:lnTo>
                      <a:pt x="837" y="949"/>
                    </a:lnTo>
                    <a:lnTo>
                      <a:pt x="848" y="948"/>
                    </a:lnTo>
                    <a:lnTo>
                      <a:pt x="855" y="947"/>
                    </a:lnTo>
                    <a:lnTo>
                      <a:pt x="855" y="947"/>
                    </a:lnTo>
                    <a:lnTo>
                      <a:pt x="866" y="941"/>
                    </a:lnTo>
                    <a:lnTo>
                      <a:pt x="877" y="934"/>
                    </a:lnTo>
                    <a:lnTo>
                      <a:pt x="885" y="928"/>
                    </a:lnTo>
                    <a:lnTo>
                      <a:pt x="892" y="922"/>
                    </a:lnTo>
                    <a:lnTo>
                      <a:pt x="897" y="915"/>
                    </a:lnTo>
                    <a:lnTo>
                      <a:pt x="901" y="909"/>
                    </a:lnTo>
                    <a:lnTo>
                      <a:pt x="905" y="900"/>
                    </a:lnTo>
                    <a:lnTo>
                      <a:pt x="905" y="900"/>
                    </a:lnTo>
                    <a:lnTo>
                      <a:pt x="907" y="893"/>
                    </a:lnTo>
                    <a:lnTo>
                      <a:pt x="908" y="887"/>
                    </a:lnTo>
                    <a:lnTo>
                      <a:pt x="908" y="876"/>
                    </a:lnTo>
                    <a:lnTo>
                      <a:pt x="908" y="867"/>
                    </a:lnTo>
                    <a:lnTo>
                      <a:pt x="907" y="864"/>
                    </a:lnTo>
                    <a:lnTo>
                      <a:pt x="907" y="864"/>
                    </a:lnTo>
                    <a:lnTo>
                      <a:pt x="905" y="876"/>
                    </a:lnTo>
                    <a:lnTo>
                      <a:pt x="901" y="887"/>
                    </a:lnTo>
                    <a:lnTo>
                      <a:pt x="897" y="896"/>
                    </a:lnTo>
                    <a:lnTo>
                      <a:pt x="891" y="905"/>
                    </a:lnTo>
                    <a:lnTo>
                      <a:pt x="884" y="912"/>
                    </a:lnTo>
                    <a:lnTo>
                      <a:pt x="877" y="918"/>
                    </a:lnTo>
                    <a:lnTo>
                      <a:pt x="869" y="923"/>
                    </a:lnTo>
                    <a:lnTo>
                      <a:pt x="861" y="928"/>
                    </a:lnTo>
                    <a:lnTo>
                      <a:pt x="846" y="934"/>
                    </a:lnTo>
                    <a:lnTo>
                      <a:pt x="833" y="936"/>
                    </a:lnTo>
                    <a:lnTo>
                      <a:pt x="820" y="939"/>
                    </a:lnTo>
                    <a:lnTo>
                      <a:pt x="819" y="939"/>
                    </a:lnTo>
                    <a:lnTo>
                      <a:pt x="819" y="939"/>
                    </a:lnTo>
                    <a:lnTo>
                      <a:pt x="837" y="935"/>
                    </a:lnTo>
                    <a:lnTo>
                      <a:pt x="845" y="934"/>
                    </a:lnTo>
                    <a:lnTo>
                      <a:pt x="845" y="934"/>
                    </a:lnTo>
                    <a:lnTo>
                      <a:pt x="855" y="929"/>
                    </a:lnTo>
                    <a:lnTo>
                      <a:pt x="864" y="925"/>
                    </a:lnTo>
                    <a:lnTo>
                      <a:pt x="872" y="921"/>
                    </a:lnTo>
                    <a:lnTo>
                      <a:pt x="879" y="915"/>
                    </a:lnTo>
                    <a:lnTo>
                      <a:pt x="890" y="903"/>
                    </a:lnTo>
                    <a:lnTo>
                      <a:pt x="897" y="892"/>
                    </a:lnTo>
                    <a:lnTo>
                      <a:pt x="903" y="881"/>
                    </a:lnTo>
                    <a:lnTo>
                      <a:pt x="905" y="871"/>
                    </a:lnTo>
                    <a:lnTo>
                      <a:pt x="907" y="864"/>
                    </a:lnTo>
                    <a:lnTo>
                      <a:pt x="907" y="864"/>
                    </a:lnTo>
                    <a:lnTo>
                      <a:pt x="904" y="870"/>
                    </a:lnTo>
                    <a:lnTo>
                      <a:pt x="901" y="876"/>
                    </a:lnTo>
                    <a:lnTo>
                      <a:pt x="894" y="886"/>
                    </a:lnTo>
                    <a:lnTo>
                      <a:pt x="885" y="892"/>
                    </a:lnTo>
                    <a:lnTo>
                      <a:pt x="875" y="896"/>
                    </a:lnTo>
                    <a:lnTo>
                      <a:pt x="866" y="897"/>
                    </a:lnTo>
                    <a:lnTo>
                      <a:pt x="861" y="899"/>
                    </a:lnTo>
                    <a:lnTo>
                      <a:pt x="853" y="899"/>
                    </a:lnTo>
                    <a:lnTo>
                      <a:pt x="810" y="899"/>
                    </a:lnTo>
                    <a:lnTo>
                      <a:pt x="810" y="899"/>
                    </a:lnTo>
                    <a:lnTo>
                      <a:pt x="814" y="890"/>
                    </a:lnTo>
                    <a:lnTo>
                      <a:pt x="817" y="884"/>
                    </a:lnTo>
                    <a:lnTo>
                      <a:pt x="817" y="884"/>
                    </a:lnTo>
                    <a:lnTo>
                      <a:pt x="819" y="877"/>
                    </a:lnTo>
                    <a:lnTo>
                      <a:pt x="820" y="871"/>
                    </a:lnTo>
                    <a:lnTo>
                      <a:pt x="820" y="861"/>
                    </a:lnTo>
                    <a:lnTo>
                      <a:pt x="819" y="850"/>
                    </a:lnTo>
                    <a:lnTo>
                      <a:pt x="819" y="850"/>
                    </a:lnTo>
                    <a:lnTo>
                      <a:pt x="819" y="858"/>
                    </a:lnTo>
                    <a:lnTo>
                      <a:pt x="816" y="866"/>
                    </a:lnTo>
                    <a:lnTo>
                      <a:pt x="814" y="873"/>
                    </a:lnTo>
                    <a:lnTo>
                      <a:pt x="810" y="879"/>
                    </a:lnTo>
                    <a:lnTo>
                      <a:pt x="810" y="879"/>
                    </a:lnTo>
                    <a:lnTo>
                      <a:pt x="816" y="868"/>
                    </a:lnTo>
                    <a:lnTo>
                      <a:pt x="817" y="858"/>
                    </a:lnTo>
                    <a:lnTo>
                      <a:pt x="819" y="850"/>
                    </a:lnTo>
                    <a:lnTo>
                      <a:pt x="819" y="850"/>
                    </a:lnTo>
                    <a:lnTo>
                      <a:pt x="816" y="857"/>
                    </a:lnTo>
                    <a:lnTo>
                      <a:pt x="813" y="863"/>
                    </a:lnTo>
                    <a:lnTo>
                      <a:pt x="804" y="873"/>
                    </a:lnTo>
                    <a:lnTo>
                      <a:pt x="795" y="879"/>
                    </a:lnTo>
                    <a:lnTo>
                      <a:pt x="787" y="883"/>
                    </a:lnTo>
                    <a:lnTo>
                      <a:pt x="778" y="884"/>
                    </a:lnTo>
                    <a:lnTo>
                      <a:pt x="771" y="886"/>
                    </a:lnTo>
                    <a:lnTo>
                      <a:pt x="764" y="886"/>
                    </a:lnTo>
                    <a:lnTo>
                      <a:pt x="717" y="886"/>
                    </a:lnTo>
                    <a:lnTo>
                      <a:pt x="717" y="886"/>
                    </a:lnTo>
                    <a:lnTo>
                      <a:pt x="725" y="874"/>
                    </a:lnTo>
                    <a:lnTo>
                      <a:pt x="725" y="874"/>
                    </a:lnTo>
                    <a:lnTo>
                      <a:pt x="730" y="864"/>
                    </a:lnTo>
                    <a:lnTo>
                      <a:pt x="732" y="857"/>
                    </a:lnTo>
                    <a:lnTo>
                      <a:pt x="732" y="848"/>
                    </a:lnTo>
                    <a:lnTo>
                      <a:pt x="732" y="848"/>
                    </a:lnTo>
                    <a:lnTo>
                      <a:pt x="729" y="855"/>
                    </a:lnTo>
                    <a:lnTo>
                      <a:pt x="725" y="861"/>
                    </a:lnTo>
                    <a:lnTo>
                      <a:pt x="716" y="871"/>
                    </a:lnTo>
                    <a:lnTo>
                      <a:pt x="706" y="880"/>
                    </a:lnTo>
                    <a:lnTo>
                      <a:pt x="693" y="886"/>
                    </a:lnTo>
                    <a:lnTo>
                      <a:pt x="693" y="886"/>
                    </a:lnTo>
                    <a:lnTo>
                      <a:pt x="704" y="880"/>
                    </a:lnTo>
                    <a:lnTo>
                      <a:pt x="713" y="874"/>
                    </a:lnTo>
                    <a:lnTo>
                      <a:pt x="720" y="867"/>
                    </a:lnTo>
                    <a:lnTo>
                      <a:pt x="725" y="861"/>
                    </a:lnTo>
                    <a:lnTo>
                      <a:pt x="730" y="852"/>
                    </a:lnTo>
                    <a:lnTo>
                      <a:pt x="732" y="848"/>
                    </a:lnTo>
                    <a:lnTo>
                      <a:pt x="732" y="848"/>
                    </a:lnTo>
                    <a:lnTo>
                      <a:pt x="720" y="857"/>
                    </a:lnTo>
                    <a:lnTo>
                      <a:pt x="720" y="829"/>
                    </a:lnTo>
                    <a:lnTo>
                      <a:pt x="732" y="829"/>
                    </a:lnTo>
                    <a:lnTo>
                      <a:pt x="732" y="771"/>
                    </a:lnTo>
                    <a:lnTo>
                      <a:pt x="726" y="771"/>
                    </a:lnTo>
                    <a:lnTo>
                      <a:pt x="726" y="777"/>
                    </a:lnTo>
                    <a:lnTo>
                      <a:pt x="709" y="777"/>
                    </a:lnTo>
                    <a:lnTo>
                      <a:pt x="709" y="715"/>
                    </a:lnTo>
                    <a:lnTo>
                      <a:pt x="709" y="715"/>
                    </a:lnTo>
                    <a:lnTo>
                      <a:pt x="723" y="714"/>
                    </a:lnTo>
                    <a:lnTo>
                      <a:pt x="732" y="712"/>
                    </a:lnTo>
                    <a:lnTo>
                      <a:pt x="738" y="711"/>
                    </a:lnTo>
                    <a:lnTo>
                      <a:pt x="738" y="711"/>
                    </a:lnTo>
                    <a:lnTo>
                      <a:pt x="752" y="703"/>
                    </a:lnTo>
                    <a:lnTo>
                      <a:pt x="762" y="696"/>
                    </a:lnTo>
                    <a:lnTo>
                      <a:pt x="771" y="689"/>
                    </a:lnTo>
                    <a:lnTo>
                      <a:pt x="777" y="682"/>
                    </a:lnTo>
                    <a:lnTo>
                      <a:pt x="780" y="676"/>
                    </a:lnTo>
                    <a:lnTo>
                      <a:pt x="782" y="672"/>
                    </a:lnTo>
                    <a:lnTo>
                      <a:pt x="784" y="666"/>
                    </a:lnTo>
                    <a:lnTo>
                      <a:pt x="784" y="666"/>
                    </a:lnTo>
                    <a:lnTo>
                      <a:pt x="782" y="667"/>
                    </a:lnTo>
                    <a:lnTo>
                      <a:pt x="782" y="667"/>
                    </a:lnTo>
                    <a:lnTo>
                      <a:pt x="785" y="656"/>
                    </a:lnTo>
                    <a:lnTo>
                      <a:pt x="785" y="647"/>
                    </a:lnTo>
                    <a:lnTo>
                      <a:pt x="784" y="640"/>
                    </a:lnTo>
                    <a:lnTo>
                      <a:pt x="784" y="640"/>
                    </a:lnTo>
                    <a:lnTo>
                      <a:pt x="782" y="643"/>
                    </a:lnTo>
                    <a:lnTo>
                      <a:pt x="782" y="643"/>
                    </a:lnTo>
                    <a:lnTo>
                      <a:pt x="784" y="640"/>
                    </a:lnTo>
                    <a:lnTo>
                      <a:pt x="784" y="640"/>
                    </a:lnTo>
                    <a:lnTo>
                      <a:pt x="778" y="650"/>
                    </a:lnTo>
                    <a:lnTo>
                      <a:pt x="772" y="659"/>
                    </a:lnTo>
                    <a:lnTo>
                      <a:pt x="764" y="663"/>
                    </a:lnTo>
                    <a:lnTo>
                      <a:pt x="756" y="667"/>
                    </a:lnTo>
                    <a:lnTo>
                      <a:pt x="749" y="669"/>
                    </a:lnTo>
                    <a:lnTo>
                      <a:pt x="743" y="669"/>
                    </a:lnTo>
                    <a:lnTo>
                      <a:pt x="738" y="669"/>
                    </a:lnTo>
                    <a:lnTo>
                      <a:pt x="732" y="669"/>
                    </a:lnTo>
                    <a:lnTo>
                      <a:pt x="732" y="669"/>
                    </a:lnTo>
                    <a:lnTo>
                      <a:pt x="740" y="660"/>
                    </a:lnTo>
                    <a:lnTo>
                      <a:pt x="745" y="651"/>
                    </a:lnTo>
                    <a:lnTo>
                      <a:pt x="746" y="646"/>
                    </a:lnTo>
                    <a:lnTo>
                      <a:pt x="748" y="644"/>
                    </a:lnTo>
                    <a:lnTo>
                      <a:pt x="748" y="644"/>
                    </a:lnTo>
                    <a:lnTo>
                      <a:pt x="748" y="644"/>
                    </a:lnTo>
                    <a:lnTo>
                      <a:pt x="748" y="644"/>
                    </a:lnTo>
                    <a:lnTo>
                      <a:pt x="749" y="635"/>
                    </a:lnTo>
                    <a:lnTo>
                      <a:pt x="749" y="628"/>
                    </a:lnTo>
                    <a:lnTo>
                      <a:pt x="748" y="621"/>
                    </a:lnTo>
                    <a:lnTo>
                      <a:pt x="748" y="621"/>
                    </a:lnTo>
                    <a:lnTo>
                      <a:pt x="743" y="631"/>
                    </a:lnTo>
                    <a:lnTo>
                      <a:pt x="736" y="638"/>
                    </a:lnTo>
                    <a:lnTo>
                      <a:pt x="730" y="644"/>
                    </a:lnTo>
                    <a:lnTo>
                      <a:pt x="723" y="647"/>
                    </a:lnTo>
                    <a:lnTo>
                      <a:pt x="716" y="648"/>
                    </a:lnTo>
                    <a:lnTo>
                      <a:pt x="710" y="648"/>
                    </a:lnTo>
                    <a:lnTo>
                      <a:pt x="704" y="648"/>
                    </a:lnTo>
                    <a:lnTo>
                      <a:pt x="654" y="648"/>
                    </a:lnTo>
                    <a:lnTo>
                      <a:pt x="654" y="646"/>
                    </a:lnTo>
                    <a:lnTo>
                      <a:pt x="654" y="646"/>
                    </a:lnTo>
                    <a:lnTo>
                      <a:pt x="654" y="646"/>
                    </a:lnTo>
                    <a:lnTo>
                      <a:pt x="654" y="646"/>
                    </a:lnTo>
                    <a:lnTo>
                      <a:pt x="654" y="644"/>
                    </a:lnTo>
                    <a:lnTo>
                      <a:pt x="654" y="646"/>
                    </a:lnTo>
                    <a:lnTo>
                      <a:pt x="720" y="646"/>
                    </a:lnTo>
                    <a:lnTo>
                      <a:pt x="720" y="627"/>
                    </a:lnTo>
                    <a:lnTo>
                      <a:pt x="729" y="627"/>
                    </a:lnTo>
                    <a:lnTo>
                      <a:pt x="729" y="602"/>
                    </a:lnTo>
                    <a:lnTo>
                      <a:pt x="723" y="602"/>
                    </a:lnTo>
                    <a:lnTo>
                      <a:pt x="723" y="608"/>
                    </a:lnTo>
                    <a:lnTo>
                      <a:pt x="706" y="608"/>
                    </a:lnTo>
                    <a:lnTo>
                      <a:pt x="706" y="547"/>
                    </a:lnTo>
                    <a:lnTo>
                      <a:pt x="706" y="547"/>
                    </a:lnTo>
                    <a:lnTo>
                      <a:pt x="719" y="546"/>
                    </a:lnTo>
                    <a:lnTo>
                      <a:pt x="729" y="544"/>
                    </a:lnTo>
                    <a:lnTo>
                      <a:pt x="735" y="541"/>
                    </a:lnTo>
                    <a:lnTo>
                      <a:pt x="735" y="541"/>
                    </a:lnTo>
                    <a:lnTo>
                      <a:pt x="745" y="537"/>
                    </a:lnTo>
                    <a:lnTo>
                      <a:pt x="754" y="533"/>
                    </a:lnTo>
                    <a:lnTo>
                      <a:pt x="761" y="527"/>
                    </a:lnTo>
                    <a:lnTo>
                      <a:pt x="767" y="521"/>
                    </a:lnTo>
                    <a:lnTo>
                      <a:pt x="774" y="512"/>
                    </a:lnTo>
                    <a:lnTo>
                      <a:pt x="778" y="504"/>
                    </a:lnTo>
                    <a:lnTo>
                      <a:pt x="778" y="504"/>
                    </a:lnTo>
                    <a:lnTo>
                      <a:pt x="780" y="498"/>
                    </a:lnTo>
                    <a:lnTo>
                      <a:pt x="781" y="492"/>
                    </a:lnTo>
                    <a:lnTo>
                      <a:pt x="782" y="481"/>
                    </a:lnTo>
                    <a:lnTo>
                      <a:pt x="781" y="473"/>
                    </a:lnTo>
                    <a:lnTo>
                      <a:pt x="781" y="472"/>
                    </a:lnTo>
                    <a:lnTo>
                      <a:pt x="781" y="472"/>
                    </a:lnTo>
                    <a:lnTo>
                      <a:pt x="777" y="485"/>
                    </a:lnTo>
                    <a:lnTo>
                      <a:pt x="772" y="495"/>
                    </a:lnTo>
                    <a:lnTo>
                      <a:pt x="767" y="505"/>
                    </a:lnTo>
                    <a:lnTo>
                      <a:pt x="761" y="512"/>
                    </a:lnTo>
                    <a:lnTo>
                      <a:pt x="754" y="518"/>
                    </a:lnTo>
                    <a:lnTo>
                      <a:pt x="746" y="523"/>
                    </a:lnTo>
                    <a:lnTo>
                      <a:pt x="738" y="527"/>
                    </a:lnTo>
                    <a:lnTo>
                      <a:pt x="730" y="528"/>
                    </a:lnTo>
                    <a:lnTo>
                      <a:pt x="730" y="528"/>
                    </a:lnTo>
                    <a:lnTo>
                      <a:pt x="739" y="525"/>
                    </a:lnTo>
                    <a:lnTo>
                      <a:pt x="746" y="523"/>
                    </a:lnTo>
                    <a:lnTo>
                      <a:pt x="758" y="514"/>
                    </a:lnTo>
                    <a:lnTo>
                      <a:pt x="767" y="504"/>
                    </a:lnTo>
                    <a:lnTo>
                      <a:pt x="772" y="494"/>
                    </a:lnTo>
                    <a:lnTo>
                      <a:pt x="777" y="485"/>
                    </a:lnTo>
                    <a:lnTo>
                      <a:pt x="778" y="478"/>
                    </a:lnTo>
                    <a:lnTo>
                      <a:pt x="780" y="470"/>
                    </a:lnTo>
                    <a:lnTo>
                      <a:pt x="780" y="470"/>
                    </a:lnTo>
                    <a:lnTo>
                      <a:pt x="775" y="482"/>
                    </a:lnTo>
                    <a:lnTo>
                      <a:pt x="768" y="489"/>
                    </a:lnTo>
                    <a:lnTo>
                      <a:pt x="761" y="495"/>
                    </a:lnTo>
                    <a:lnTo>
                      <a:pt x="752" y="498"/>
                    </a:lnTo>
                    <a:lnTo>
                      <a:pt x="745" y="501"/>
                    </a:lnTo>
                    <a:lnTo>
                      <a:pt x="739" y="501"/>
                    </a:lnTo>
                    <a:lnTo>
                      <a:pt x="733" y="501"/>
                    </a:lnTo>
                    <a:lnTo>
                      <a:pt x="727" y="501"/>
                    </a:lnTo>
                    <a:lnTo>
                      <a:pt x="727" y="501"/>
                    </a:lnTo>
                    <a:lnTo>
                      <a:pt x="735" y="494"/>
                    </a:lnTo>
                    <a:lnTo>
                      <a:pt x="739" y="488"/>
                    </a:lnTo>
                    <a:lnTo>
                      <a:pt x="743" y="478"/>
                    </a:lnTo>
                    <a:lnTo>
                      <a:pt x="743" y="478"/>
                    </a:lnTo>
                    <a:lnTo>
                      <a:pt x="746" y="469"/>
                    </a:lnTo>
                    <a:lnTo>
                      <a:pt x="746" y="460"/>
                    </a:lnTo>
                    <a:lnTo>
                      <a:pt x="745" y="453"/>
                    </a:lnTo>
                    <a:lnTo>
                      <a:pt x="745" y="453"/>
                    </a:lnTo>
                    <a:lnTo>
                      <a:pt x="742" y="465"/>
                    </a:lnTo>
                    <a:lnTo>
                      <a:pt x="739" y="475"/>
                    </a:lnTo>
                    <a:lnTo>
                      <a:pt x="733" y="482"/>
                    </a:lnTo>
                    <a:lnTo>
                      <a:pt x="727" y="489"/>
                    </a:lnTo>
                    <a:lnTo>
                      <a:pt x="720" y="495"/>
                    </a:lnTo>
                    <a:lnTo>
                      <a:pt x="712" y="499"/>
                    </a:lnTo>
                    <a:lnTo>
                      <a:pt x="704" y="502"/>
                    </a:lnTo>
                    <a:lnTo>
                      <a:pt x="696" y="504"/>
                    </a:lnTo>
                    <a:lnTo>
                      <a:pt x="696" y="504"/>
                    </a:lnTo>
                    <a:lnTo>
                      <a:pt x="699" y="504"/>
                    </a:lnTo>
                    <a:lnTo>
                      <a:pt x="699" y="504"/>
                    </a:lnTo>
                    <a:lnTo>
                      <a:pt x="714" y="498"/>
                    </a:lnTo>
                    <a:lnTo>
                      <a:pt x="726" y="491"/>
                    </a:lnTo>
                    <a:lnTo>
                      <a:pt x="733" y="482"/>
                    </a:lnTo>
                    <a:lnTo>
                      <a:pt x="739" y="473"/>
                    </a:lnTo>
                    <a:lnTo>
                      <a:pt x="742" y="466"/>
                    </a:lnTo>
                    <a:lnTo>
                      <a:pt x="743" y="459"/>
                    </a:lnTo>
                    <a:lnTo>
                      <a:pt x="743" y="453"/>
                    </a:lnTo>
                    <a:lnTo>
                      <a:pt x="743" y="453"/>
                    </a:lnTo>
                    <a:lnTo>
                      <a:pt x="739" y="463"/>
                    </a:lnTo>
                    <a:lnTo>
                      <a:pt x="733" y="470"/>
                    </a:lnTo>
                    <a:lnTo>
                      <a:pt x="726" y="475"/>
                    </a:lnTo>
                    <a:lnTo>
                      <a:pt x="719" y="479"/>
                    </a:lnTo>
                    <a:lnTo>
                      <a:pt x="713" y="481"/>
                    </a:lnTo>
                    <a:lnTo>
                      <a:pt x="707" y="481"/>
                    </a:lnTo>
                    <a:lnTo>
                      <a:pt x="701" y="481"/>
                    </a:lnTo>
                    <a:lnTo>
                      <a:pt x="651" y="481"/>
                    </a:lnTo>
                    <a:lnTo>
                      <a:pt x="651" y="481"/>
                    </a:lnTo>
                    <a:lnTo>
                      <a:pt x="654" y="476"/>
                    </a:lnTo>
                    <a:lnTo>
                      <a:pt x="654" y="476"/>
                    </a:lnTo>
                    <a:lnTo>
                      <a:pt x="654" y="476"/>
                    </a:lnTo>
                    <a:lnTo>
                      <a:pt x="654" y="476"/>
                    </a:lnTo>
                    <a:lnTo>
                      <a:pt x="657" y="470"/>
                    </a:lnTo>
                    <a:lnTo>
                      <a:pt x="658" y="465"/>
                    </a:lnTo>
                    <a:lnTo>
                      <a:pt x="659" y="465"/>
                    </a:lnTo>
                    <a:lnTo>
                      <a:pt x="659" y="472"/>
                    </a:lnTo>
                    <a:lnTo>
                      <a:pt x="720" y="472"/>
                    </a:lnTo>
                    <a:lnTo>
                      <a:pt x="720" y="454"/>
                    </a:lnTo>
                    <a:lnTo>
                      <a:pt x="729" y="454"/>
                    </a:lnTo>
                    <a:lnTo>
                      <a:pt x="729" y="428"/>
                    </a:lnTo>
                    <a:lnTo>
                      <a:pt x="723" y="428"/>
                    </a:lnTo>
                    <a:lnTo>
                      <a:pt x="723" y="436"/>
                    </a:lnTo>
                    <a:lnTo>
                      <a:pt x="706" y="436"/>
                    </a:lnTo>
                    <a:lnTo>
                      <a:pt x="706" y="373"/>
                    </a:lnTo>
                    <a:lnTo>
                      <a:pt x="706" y="373"/>
                    </a:lnTo>
                    <a:lnTo>
                      <a:pt x="719" y="372"/>
                    </a:lnTo>
                    <a:lnTo>
                      <a:pt x="729" y="371"/>
                    </a:lnTo>
                    <a:lnTo>
                      <a:pt x="735" y="369"/>
                    </a:lnTo>
                    <a:lnTo>
                      <a:pt x="735" y="369"/>
                    </a:lnTo>
                    <a:lnTo>
                      <a:pt x="745" y="365"/>
                    </a:lnTo>
                    <a:lnTo>
                      <a:pt x="752" y="360"/>
                    </a:lnTo>
                    <a:lnTo>
                      <a:pt x="765" y="350"/>
                    </a:lnTo>
                    <a:lnTo>
                      <a:pt x="772" y="342"/>
                    </a:lnTo>
                    <a:lnTo>
                      <a:pt x="777" y="333"/>
                    </a:lnTo>
                    <a:lnTo>
                      <a:pt x="777" y="333"/>
                    </a:lnTo>
                    <a:lnTo>
                      <a:pt x="780" y="327"/>
                    </a:lnTo>
                    <a:lnTo>
                      <a:pt x="781" y="320"/>
                    </a:lnTo>
                    <a:lnTo>
                      <a:pt x="782" y="310"/>
                    </a:lnTo>
                    <a:lnTo>
                      <a:pt x="781" y="303"/>
                    </a:lnTo>
                    <a:lnTo>
                      <a:pt x="781" y="300"/>
                    </a:lnTo>
                    <a:lnTo>
                      <a:pt x="781" y="300"/>
                    </a:lnTo>
                    <a:lnTo>
                      <a:pt x="777" y="313"/>
                    </a:lnTo>
                    <a:lnTo>
                      <a:pt x="771" y="326"/>
                    </a:lnTo>
                    <a:lnTo>
                      <a:pt x="765" y="334"/>
                    </a:lnTo>
                    <a:lnTo>
                      <a:pt x="758" y="343"/>
                    </a:lnTo>
                    <a:lnTo>
                      <a:pt x="749" y="349"/>
                    </a:lnTo>
                    <a:lnTo>
                      <a:pt x="742" y="353"/>
                    </a:lnTo>
                    <a:lnTo>
                      <a:pt x="733" y="356"/>
                    </a:lnTo>
                    <a:lnTo>
                      <a:pt x="726" y="358"/>
                    </a:lnTo>
                    <a:lnTo>
                      <a:pt x="726" y="358"/>
                    </a:lnTo>
                    <a:lnTo>
                      <a:pt x="726" y="358"/>
                    </a:lnTo>
                    <a:lnTo>
                      <a:pt x="726" y="358"/>
                    </a:lnTo>
                    <a:lnTo>
                      <a:pt x="735" y="355"/>
                    </a:lnTo>
                    <a:lnTo>
                      <a:pt x="742" y="352"/>
                    </a:lnTo>
                    <a:lnTo>
                      <a:pt x="749" y="347"/>
                    </a:lnTo>
                    <a:lnTo>
                      <a:pt x="755" y="343"/>
                    </a:lnTo>
                    <a:lnTo>
                      <a:pt x="765" y="333"/>
                    </a:lnTo>
                    <a:lnTo>
                      <a:pt x="771" y="323"/>
                    </a:lnTo>
                    <a:lnTo>
                      <a:pt x="775" y="314"/>
                    </a:lnTo>
                    <a:lnTo>
                      <a:pt x="778" y="305"/>
                    </a:lnTo>
                    <a:lnTo>
                      <a:pt x="780" y="298"/>
                    </a:lnTo>
                    <a:lnTo>
                      <a:pt x="780" y="298"/>
                    </a:lnTo>
                    <a:lnTo>
                      <a:pt x="775" y="310"/>
                    </a:lnTo>
                    <a:lnTo>
                      <a:pt x="768" y="317"/>
                    </a:lnTo>
                    <a:lnTo>
                      <a:pt x="761" y="323"/>
                    </a:lnTo>
                    <a:lnTo>
                      <a:pt x="752" y="326"/>
                    </a:lnTo>
                    <a:lnTo>
                      <a:pt x="745" y="327"/>
                    </a:lnTo>
                    <a:lnTo>
                      <a:pt x="739" y="329"/>
                    </a:lnTo>
                    <a:lnTo>
                      <a:pt x="733" y="329"/>
                    </a:lnTo>
                    <a:lnTo>
                      <a:pt x="727" y="329"/>
                    </a:lnTo>
                    <a:lnTo>
                      <a:pt x="727" y="329"/>
                    </a:lnTo>
                    <a:lnTo>
                      <a:pt x="733" y="323"/>
                    </a:lnTo>
                    <a:lnTo>
                      <a:pt x="738" y="317"/>
                    </a:lnTo>
                    <a:lnTo>
                      <a:pt x="743" y="307"/>
                    </a:lnTo>
                    <a:lnTo>
                      <a:pt x="743" y="307"/>
                    </a:lnTo>
                    <a:lnTo>
                      <a:pt x="746" y="297"/>
                    </a:lnTo>
                    <a:lnTo>
                      <a:pt x="746" y="288"/>
                    </a:lnTo>
                    <a:lnTo>
                      <a:pt x="745" y="281"/>
                    </a:lnTo>
                    <a:lnTo>
                      <a:pt x="745" y="281"/>
                    </a:lnTo>
                    <a:lnTo>
                      <a:pt x="742" y="294"/>
                    </a:lnTo>
                    <a:lnTo>
                      <a:pt x="738" y="304"/>
                    </a:lnTo>
                    <a:lnTo>
                      <a:pt x="732" y="313"/>
                    </a:lnTo>
                    <a:lnTo>
                      <a:pt x="725" y="320"/>
                    </a:lnTo>
                    <a:lnTo>
                      <a:pt x="716" y="326"/>
                    </a:lnTo>
                    <a:lnTo>
                      <a:pt x="707" y="329"/>
                    </a:lnTo>
                    <a:lnTo>
                      <a:pt x="699" y="331"/>
                    </a:lnTo>
                    <a:lnTo>
                      <a:pt x="690" y="333"/>
                    </a:lnTo>
                    <a:lnTo>
                      <a:pt x="690" y="333"/>
                    </a:lnTo>
                    <a:lnTo>
                      <a:pt x="699" y="331"/>
                    </a:lnTo>
                    <a:lnTo>
                      <a:pt x="699" y="331"/>
                    </a:lnTo>
                    <a:lnTo>
                      <a:pt x="714" y="324"/>
                    </a:lnTo>
                    <a:lnTo>
                      <a:pt x="726" y="317"/>
                    </a:lnTo>
                    <a:lnTo>
                      <a:pt x="733" y="310"/>
                    </a:lnTo>
                    <a:lnTo>
                      <a:pt x="739" y="301"/>
                    </a:lnTo>
                    <a:lnTo>
                      <a:pt x="742" y="292"/>
                    </a:lnTo>
                    <a:lnTo>
                      <a:pt x="743" y="287"/>
                    </a:lnTo>
                    <a:lnTo>
                      <a:pt x="743" y="281"/>
                    </a:lnTo>
                    <a:lnTo>
                      <a:pt x="743" y="281"/>
                    </a:lnTo>
                    <a:lnTo>
                      <a:pt x="739" y="291"/>
                    </a:lnTo>
                    <a:lnTo>
                      <a:pt x="733" y="298"/>
                    </a:lnTo>
                    <a:lnTo>
                      <a:pt x="726" y="303"/>
                    </a:lnTo>
                    <a:lnTo>
                      <a:pt x="719" y="305"/>
                    </a:lnTo>
                    <a:lnTo>
                      <a:pt x="713" y="307"/>
                    </a:lnTo>
                    <a:lnTo>
                      <a:pt x="707" y="308"/>
                    </a:lnTo>
                    <a:lnTo>
                      <a:pt x="701" y="308"/>
                    </a:lnTo>
                    <a:lnTo>
                      <a:pt x="651" y="308"/>
                    </a:lnTo>
                    <a:lnTo>
                      <a:pt x="651" y="308"/>
                    </a:lnTo>
                    <a:lnTo>
                      <a:pt x="654" y="301"/>
                    </a:lnTo>
                    <a:lnTo>
                      <a:pt x="657" y="295"/>
                    </a:lnTo>
                    <a:lnTo>
                      <a:pt x="658" y="290"/>
                    </a:lnTo>
                    <a:lnTo>
                      <a:pt x="658" y="284"/>
                    </a:lnTo>
                    <a:lnTo>
                      <a:pt x="658" y="276"/>
                    </a:lnTo>
                    <a:lnTo>
                      <a:pt x="657" y="274"/>
                    </a:lnTo>
                    <a:lnTo>
                      <a:pt x="657" y="274"/>
                    </a:lnTo>
                    <a:lnTo>
                      <a:pt x="657" y="274"/>
                    </a:lnTo>
                    <a:lnTo>
                      <a:pt x="657" y="274"/>
                    </a:lnTo>
                    <a:lnTo>
                      <a:pt x="654" y="279"/>
                    </a:lnTo>
                    <a:lnTo>
                      <a:pt x="648" y="285"/>
                    </a:lnTo>
                    <a:lnTo>
                      <a:pt x="648" y="214"/>
                    </a:lnTo>
                    <a:lnTo>
                      <a:pt x="667" y="214"/>
                    </a:lnTo>
                    <a:lnTo>
                      <a:pt x="667" y="214"/>
                    </a:lnTo>
                    <a:lnTo>
                      <a:pt x="674" y="214"/>
                    </a:lnTo>
                    <a:lnTo>
                      <a:pt x="683" y="213"/>
                    </a:lnTo>
                    <a:lnTo>
                      <a:pt x="691" y="211"/>
                    </a:lnTo>
                    <a:lnTo>
                      <a:pt x="701" y="207"/>
                    </a:lnTo>
                    <a:lnTo>
                      <a:pt x="710" y="203"/>
                    </a:lnTo>
                    <a:lnTo>
                      <a:pt x="719" y="194"/>
                    </a:lnTo>
                    <a:lnTo>
                      <a:pt x="722" y="190"/>
                    </a:lnTo>
                    <a:lnTo>
                      <a:pt x="723" y="184"/>
                    </a:lnTo>
                    <a:lnTo>
                      <a:pt x="723" y="184"/>
                    </a:lnTo>
                    <a:lnTo>
                      <a:pt x="723" y="185"/>
                    </a:lnTo>
                    <a:lnTo>
                      <a:pt x="723" y="185"/>
                    </a:lnTo>
                    <a:lnTo>
                      <a:pt x="723" y="182"/>
                    </a:lnTo>
                    <a:lnTo>
                      <a:pt x="723" y="182"/>
                    </a:lnTo>
                    <a:lnTo>
                      <a:pt x="723" y="184"/>
                    </a:lnTo>
                    <a:lnTo>
                      <a:pt x="723" y="184"/>
                    </a:lnTo>
                    <a:lnTo>
                      <a:pt x="725" y="181"/>
                    </a:lnTo>
                    <a:lnTo>
                      <a:pt x="725" y="181"/>
                    </a:lnTo>
                    <a:lnTo>
                      <a:pt x="725" y="180"/>
                    </a:lnTo>
                    <a:lnTo>
                      <a:pt x="725" y="180"/>
                    </a:lnTo>
                    <a:lnTo>
                      <a:pt x="725" y="180"/>
                    </a:lnTo>
                    <a:lnTo>
                      <a:pt x="725" y="180"/>
                    </a:lnTo>
                    <a:lnTo>
                      <a:pt x="725" y="172"/>
                    </a:lnTo>
                    <a:lnTo>
                      <a:pt x="723" y="162"/>
                    </a:lnTo>
                    <a:lnTo>
                      <a:pt x="723" y="162"/>
                    </a:lnTo>
                    <a:lnTo>
                      <a:pt x="720" y="158"/>
                    </a:lnTo>
                    <a:lnTo>
                      <a:pt x="717" y="153"/>
                    </a:lnTo>
                    <a:lnTo>
                      <a:pt x="714" y="151"/>
                    </a:lnTo>
                    <a:lnTo>
                      <a:pt x="714" y="151"/>
                    </a:lnTo>
                    <a:lnTo>
                      <a:pt x="717" y="153"/>
                    </a:lnTo>
                    <a:lnTo>
                      <a:pt x="720" y="159"/>
                    </a:lnTo>
                    <a:lnTo>
                      <a:pt x="723" y="165"/>
                    </a:lnTo>
                    <a:lnTo>
                      <a:pt x="723" y="171"/>
                    </a:lnTo>
                    <a:lnTo>
                      <a:pt x="722" y="177"/>
                    </a:lnTo>
                    <a:lnTo>
                      <a:pt x="720" y="185"/>
                    </a:lnTo>
                    <a:lnTo>
                      <a:pt x="720" y="185"/>
                    </a:lnTo>
                    <a:lnTo>
                      <a:pt x="717" y="188"/>
                    </a:lnTo>
                    <a:lnTo>
                      <a:pt x="717" y="188"/>
                    </a:lnTo>
                    <a:lnTo>
                      <a:pt x="720" y="184"/>
                    </a:lnTo>
                    <a:lnTo>
                      <a:pt x="720" y="184"/>
                    </a:lnTo>
                    <a:lnTo>
                      <a:pt x="722" y="180"/>
                    </a:lnTo>
                    <a:lnTo>
                      <a:pt x="723" y="172"/>
                    </a:lnTo>
                    <a:lnTo>
                      <a:pt x="723" y="166"/>
                    </a:lnTo>
                    <a:lnTo>
                      <a:pt x="722" y="161"/>
                    </a:lnTo>
                    <a:lnTo>
                      <a:pt x="719" y="156"/>
                    </a:lnTo>
                    <a:lnTo>
                      <a:pt x="714" y="151"/>
                    </a:lnTo>
                    <a:lnTo>
                      <a:pt x="714" y="151"/>
                    </a:lnTo>
                    <a:lnTo>
                      <a:pt x="716" y="156"/>
                    </a:lnTo>
                    <a:lnTo>
                      <a:pt x="716" y="162"/>
                    </a:lnTo>
                    <a:lnTo>
                      <a:pt x="716" y="169"/>
                    </a:lnTo>
                    <a:lnTo>
                      <a:pt x="712" y="177"/>
                    </a:lnTo>
                    <a:lnTo>
                      <a:pt x="709" y="180"/>
                    </a:lnTo>
                    <a:lnTo>
                      <a:pt x="704" y="182"/>
                    </a:lnTo>
                    <a:lnTo>
                      <a:pt x="700" y="184"/>
                    </a:lnTo>
                    <a:lnTo>
                      <a:pt x="694" y="187"/>
                    </a:lnTo>
                    <a:lnTo>
                      <a:pt x="687" y="188"/>
                    </a:lnTo>
                    <a:lnTo>
                      <a:pt x="678" y="188"/>
                    </a:lnTo>
                    <a:lnTo>
                      <a:pt x="678" y="188"/>
                    </a:lnTo>
                    <a:lnTo>
                      <a:pt x="671" y="188"/>
                    </a:lnTo>
                    <a:lnTo>
                      <a:pt x="662" y="188"/>
                    </a:lnTo>
                    <a:lnTo>
                      <a:pt x="651" y="185"/>
                    </a:lnTo>
                    <a:lnTo>
                      <a:pt x="636" y="182"/>
                    </a:lnTo>
                    <a:lnTo>
                      <a:pt x="620" y="177"/>
                    </a:lnTo>
                    <a:lnTo>
                      <a:pt x="603" y="168"/>
                    </a:lnTo>
                    <a:lnTo>
                      <a:pt x="584" y="156"/>
                    </a:lnTo>
                    <a:lnTo>
                      <a:pt x="581" y="155"/>
                    </a:lnTo>
                    <a:lnTo>
                      <a:pt x="578" y="153"/>
                    </a:lnTo>
                    <a:lnTo>
                      <a:pt x="578" y="153"/>
                    </a:lnTo>
                    <a:lnTo>
                      <a:pt x="584" y="151"/>
                    </a:lnTo>
                    <a:lnTo>
                      <a:pt x="589" y="148"/>
                    </a:lnTo>
                    <a:lnTo>
                      <a:pt x="596" y="139"/>
                    </a:lnTo>
                    <a:lnTo>
                      <a:pt x="602" y="130"/>
                    </a:lnTo>
                    <a:lnTo>
                      <a:pt x="606" y="122"/>
                    </a:lnTo>
                    <a:lnTo>
                      <a:pt x="606" y="122"/>
                    </a:lnTo>
                    <a:lnTo>
                      <a:pt x="609" y="117"/>
                    </a:lnTo>
                    <a:lnTo>
                      <a:pt x="610" y="111"/>
                    </a:lnTo>
                    <a:lnTo>
                      <a:pt x="609" y="100"/>
                    </a:lnTo>
                    <a:lnTo>
                      <a:pt x="607" y="91"/>
                    </a:lnTo>
                    <a:lnTo>
                      <a:pt x="606" y="88"/>
                    </a:lnTo>
                    <a:lnTo>
                      <a:pt x="606" y="88"/>
                    </a:lnTo>
                    <a:lnTo>
                      <a:pt x="607" y="94"/>
                    </a:lnTo>
                    <a:lnTo>
                      <a:pt x="607" y="100"/>
                    </a:lnTo>
                    <a:lnTo>
                      <a:pt x="606" y="106"/>
                    </a:lnTo>
                    <a:lnTo>
                      <a:pt x="606" y="106"/>
                    </a:lnTo>
                    <a:lnTo>
                      <a:pt x="602" y="116"/>
                    </a:lnTo>
                    <a:lnTo>
                      <a:pt x="596" y="123"/>
                    </a:lnTo>
                    <a:lnTo>
                      <a:pt x="590" y="130"/>
                    </a:lnTo>
                    <a:lnTo>
                      <a:pt x="583" y="135"/>
                    </a:lnTo>
                    <a:lnTo>
                      <a:pt x="583" y="135"/>
                    </a:lnTo>
                    <a:lnTo>
                      <a:pt x="586" y="133"/>
                    </a:lnTo>
                    <a:lnTo>
                      <a:pt x="586" y="133"/>
                    </a:lnTo>
                    <a:lnTo>
                      <a:pt x="594" y="126"/>
                    </a:lnTo>
                    <a:lnTo>
                      <a:pt x="600" y="117"/>
                    </a:lnTo>
                    <a:lnTo>
                      <a:pt x="604" y="110"/>
                    </a:lnTo>
                    <a:lnTo>
                      <a:pt x="606" y="103"/>
                    </a:lnTo>
                    <a:lnTo>
                      <a:pt x="607" y="97"/>
                    </a:lnTo>
                    <a:lnTo>
                      <a:pt x="607" y="93"/>
                    </a:lnTo>
                    <a:lnTo>
                      <a:pt x="606" y="88"/>
                    </a:lnTo>
                    <a:lnTo>
                      <a:pt x="606" y="88"/>
                    </a:lnTo>
                    <a:lnTo>
                      <a:pt x="603" y="96"/>
                    </a:lnTo>
                    <a:lnTo>
                      <a:pt x="600" y="101"/>
                    </a:lnTo>
                    <a:lnTo>
                      <a:pt x="593" y="111"/>
                    </a:lnTo>
                    <a:lnTo>
                      <a:pt x="584" y="120"/>
                    </a:lnTo>
                    <a:lnTo>
                      <a:pt x="574" y="125"/>
                    </a:lnTo>
                    <a:lnTo>
                      <a:pt x="565" y="129"/>
                    </a:lnTo>
                    <a:lnTo>
                      <a:pt x="558" y="130"/>
                    </a:lnTo>
                    <a:lnTo>
                      <a:pt x="551" y="132"/>
                    </a:lnTo>
                    <a:lnTo>
                      <a:pt x="548" y="132"/>
                    </a:lnTo>
                    <a:lnTo>
                      <a:pt x="548" y="132"/>
                    </a:lnTo>
                    <a:lnTo>
                      <a:pt x="516" y="84"/>
                    </a:lnTo>
                    <a:lnTo>
                      <a:pt x="516" y="84"/>
                    </a:lnTo>
                    <a:lnTo>
                      <a:pt x="512" y="87"/>
                    </a:lnTo>
                    <a:lnTo>
                      <a:pt x="506" y="88"/>
                    </a:lnTo>
                    <a:lnTo>
                      <a:pt x="499" y="90"/>
                    </a:lnTo>
                    <a:lnTo>
                      <a:pt x="499" y="90"/>
                    </a:lnTo>
                    <a:lnTo>
                      <a:pt x="492" y="88"/>
                    </a:lnTo>
                    <a:lnTo>
                      <a:pt x="486" y="87"/>
                    </a:lnTo>
                    <a:lnTo>
                      <a:pt x="480" y="84"/>
                    </a:lnTo>
                    <a:lnTo>
                      <a:pt x="480" y="84"/>
                    </a:lnTo>
                    <a:lnTo>
                      <a:pt x="450" y="132"/>
                    </a:lnTo>
                    <a:lnTo>
                      <a:pt x="445" y="132"/>
                    </a:lnTo>
                    <a:lnTo>
                      <a:pt x="445" y="132"/>
                    </a:lnTo>
                    <a:lnTo>
                      <a:pt x="439" y="130"/>
                    </a:lnTo>
                    <a:lnTo>
                      <a:pt x="431" y="129"/>
                    </a:lnTo>
                    <a:lnTo>
                      <a:pt x="422" y="125"/>
                    </a:lnTo>
                    <a:lnTo>
                      <a:pt x="413" y="120"/>
                    </a:lnTo>
                    <a:lnTo>
                      <a:pt x="405" y="111"/>
                    </a:lnTo>
                    <a:lnTo>
                      <a:pt x="396" y="101"/>
                    </a:lnTo>
                    <a:lnTo>
                      <a:pt x="393" y="96"/>
                    </a:lnTo>
                    <a:lnTo>
                      <a:pt x="390" y="88"/>
                    </a:lnTo>
                    <a:lnTo>
                      <a:pt x="390" y="88"/>
                    </a:lnTo>
                    <a:lnTo>
                      <a:pt x="389" y="98"/>
                    </a:lnTo>
                    <a:lnTo>
                      <a:pt x="387" y="107"/>
                    </a:lnTo>
                    <a:lnTo>
                      <a:pt x="389" y="113"/>
                    </a:lnTo>
                    <a:lnTo>
                      <a:pt x="389" y="117"/>
                    </a:lnTo>
                    <a:lnTo>
                      <a:pt x="389" y="117"/>
                    </a:lnTo>
                    <a:lnTo>
                      <a:pt x="389" y="117"/>
                    </a:lnTo>
                    <a:lnTo>
                      <a:pt x="389" y="117"/>
                    </a:lnTo>
                    <a:lnTo>
                      <a:pt x="390" y="122"/>
                    </a:lnTo>
                    <a:lnTo>
                      <a:pt x="396" y="132"/>
                    </a:lnTo>
                    <a:lnTo>
                      <a:pt x="400" y="138"/>
                    </a:lnTo>
                    <a:lnTo>
                      <a:pt x="406" y="145"/>
                    </a:lnTo>
                    <a:lnTo>
                      <a:pt x="412" y="149"/>
                    </a:lnTo>
                    <a:lnTo>
                      <a:pt x="418" y="153"/>
                    </a:lnTo>
                    <a:lnTo>
                      <a:pt x="416" y="155"/>
                    </a:lnTo>
                    <a:lnTo>
                      <a:pt x="412" y="156"/>
                    </a:lnTo>
                    <a:lnTo>
                      <a:pt x="412" y="156"/>
                    </a:lnTo>
                    <a:lnTo>
                      <a:pt x="393" y="168"/>
                    </a:lnTo>
                    <a:lnTo>
                      <a:pt x="376" y="177"/>
                    </a:lnTo>
                    <a:lnTo>
                      <a:pt x="360" y="182"/>
                    </a:lnTo>
                    <a:lnTo>
                      <a:pt x="347" y="185"/>
                    </a:lnTo>
                    <a:lnTo>
                      <a:pt x="335" y="188"/>
                    </a:lnTo>
                    <a:lnTo>
                      <a:pt x="327" y="188"/>
                    </a:lnTo>
                    <a:lnTo>
                      <a:pt x="319" y="188"/>
                    </a:lnTo>
                    <a:lnTo>
                      <a:pt x="319" y="188"/>
                    </a:lnTo>
                    <a:lnTo>
                      <a:pt x="311" y="188"/>
                    </a:lnTo>
                    <a:lnTo>
                      <a:pt x="303" y="187"/>
                    </a:lnTo>
                    <a:lnTo>
                      <a:pt x="296" y="184"/>
                    </a:lnTo>
                    <a:lnTo>
                      <a:pt x="292" y="182"/>
                    </a:lnTo>
                    <a:lnTo>
                      <a:pt x="288" y="180"/>
                    </a:lnTo>
                    <a:lnTo>
                      <a:pt x="285" y="177"/>
                    </a:lnTo>
                    <a:lnTo>
                      <a:pt x="282" y="169"/>
                    </a:lnTo>
                    <a:lnTo>
                      <a:pt x="280" y="162"/>
                    </a:lnTo>
                    <a:lnTo>
                      <a:pt x="282" y="156"/>
                    </a:lnTo>
                    <a:lnTo>
                      <a:pt x="283" y="151"/>
                    </a:lnTo>
                    <a:lnTo>
                      <a:pt x="283" y="151"/>
                    </a:lnTo>
                    <a:lnTo>
                      <a:pt x="279" y="153"/>
                    </a:lnTo>
                    <a:lnTo>
                      <a:pt x="279" y="153"/>
                    </a:lnTo>
                    <a:lnTo>
                      <a:pt x="283" y="151"/>
                    </a:lnTo>
                    <a:lnTo>
                      <a:pt x="283" y="151"/>
                    </a:lnTo>
                    <a:lnTo>
                      <a:pt x="279" y="153"/>
                    </a:lnTo>
                    <a:lnTo>
                      <a:pt x="276" y="158"/>
                    </a:lnTo>
                    <a:lnTo>
                      <a:pt x="274" y="162"/>
                    </a:lnTo>
                    <a:lnTo>
                      <a:pt x="274" y="162"/>
                    </a:lnTo>
                    <a:lnTo>
                      <a:pt x="272" y="171"/>
                    </a:lnTo>
                    <a:lnTo>
                      <a:pt x="273" y="178"/>
                    </a:lnTo>
                    <a:lnTo>
                      <a:pt x="274" y="184"/>
                    </a:lnTo>
                    <a:lnTo>
                      <a:pt x="276" y="190"/>
                    </a:lnTo>
                    <a:lnTo>
                      <a:pt x="276" y="190"/>
                    </a:lnTo>
                    <a:lnTo>
                      <a:pt x="273" y="184"/>
                    </a:lnTo>
                    <a:lnTo>
                      <a:pt x="273" y="184"/>
                    </a:lnTo>
                    <a:lnTo>
                      <a:pt x="276" y="190"/>
                    </a:lnTo>
                    <a:lnTo>
                      <a:pt x="279" y="194"/>
                    </a:lnTo>
                    <a:lnTo>
                      <a:pt x="286" y="203"/>
                    </a:lnTo>
                    <a:lnTo>
                      <a:pt x="295" y="207"/>
                    </a:lnTo>
                    <a:lnTo>
                      <a:pt x="305" y="211"/>
                    </a:lnTo>
                    <a:lnTo>
                      <a:pt x="315" y="213"/>
                    </a:lnTo>
                    <a:lnTo>
                      <a:pt x="322" y="214"/>
                    </a:lnTo>
                    <a:lnTo>
                      <a:pt x="329" y="214"/>
                    </a:lnTo>
                    <a:lnTo>
                      <a:pt x="347" y="214"/>
                    </a:lnTo>
                    <a:lnTo>
                      <a:pt x="347" y="285"/>
                    </a:lnTo>
                    <a:lnTo>
                      <a:pt x="347" y="285"/>
                    </a:lnTo>
                    <a:lnTo>
                      <a:pt x="341" y="281"/>
                    </a:lnTo>
                    <a:lnTo>
                      <a:pt x="337" y="274"/>
                    </a:lnTo>
                    <a:lnTo>
                      <a:pt x="337" y="274"/>
                    </a:lnTo>
                    <a:lnTo>
                      <a:pt x="337" y="275"/>
                    </a:lnTo>
                    <a:lnTo>
                      <a:pt x="337" y="275"/>
                    </a:lnTo>
                    <a:lnTo>
                      <a:pt x="337" y="274"/>
                    </a:lnTo>
                    <a:lnTo>
                      <a:pt x="337" y="274"/>
                    </a:lnTo>
                    <a:lnTo>
                      <a:pt x="337" y="276"/>
                    </a:lnTo>
                    <a:lnTo>
                      <a:pt x="335" y="284"/>
                    </a:lnTo>
                    <a:lnTo>
                      <a:pt x="335" y="290"/>
                    </a:lnTo>
                    <a:lnTo>
                      <a:pt x="337" y="295"/>
                    </a:lnTo>
                    <a:lnTo>
                      <a:pt x="340" y="301"/>
                    </a:lnTo>
                    <a:lnTo>
                      <a:pt x="344" y="308"/>
                    </a:lnTo>
                    <a:lnTo>
                      <a:pt x="292" y="308"/>
                    </a:lnTo>
                    <a:lnTo>
                      <a:pt x="292" y="308"/>
                    </a:lnTo>
                    <a:lnTo>
                      <a:pt x="288" y="308"/>
                    </a:lnTo>
                    <a:lnTo>
                      <a:pt x="282" y="307"/>
                    </a:lnTo>
                    <a:lnTo>
                      <a:pt x="274" y="305"/>
                    </a:lnTo>
                    <a:lnTo>
                      <a:pt x="267" y="303"/>
                    </a:lnTo>
                    <a:lnTo>
                      <a:pt x="260" y="298"/>
                    </a:lnTo>
                    <a:lnTo>
                      <a:pt x="254" y="291"/>
                    </a:lnTo>
                    <a:lnTo>
                      <a:pt x="250" y="281"/>
                    </a:lnTo>
                    <a:lnTo>
                      <a:pt x="250" y="281"/>
                    </a:lnTo>
                    <a:lnTo>
                      <a:pt x="250" y="287"/>
                    </a:lnTo>
                    <a:lnTo>
                      <a:pt x="251" y="292"/>
                    </a:lnTo>
                    <a:lnTo>
                      <a:pt x="254" y="301"/>
                    </a:lnTo>
                    <a:lnTo>
                      <a:pt x="260" y="310"/>
                    </a:lnTo>
                    <a:lnTo>
                      <a:pt x="269" y="317"/>
                    </a:lnTo>
                    <a:lnTo>
                      <a:pt x="279" y="324"/>
                    </a:lnTo>
                    <a:lnTo>
                      <a:pt x="295" y="331"/>
                    </a:lnTo>
                    <a:lnTo>
                      <a:pt x="295" y="331"/>
                    </a:lnTo>
                    <a:lnTo>
                      <a:pt x="305" y="334"/>
                    </a:lnTo>
                    <a:lnTo>
                      <a:pt x="305" y="334"/>
                    </a:lnTo>
                    <a:lnTo>
                      <a:pt x="296" y="331"/>
                    </a:lnTo>
                    <a:lnTo>
                      <a:pt x="288" y="329"/>
                    </a:lnTo>
                    <a:lnTo>
                      <a:pt x="279" y="326"/>
                    </a:lnTo>
                    <a:lnTo>
                      <a:pt x="270" y="320"/>
                    </a:lnTo>
                    <a:lnTo>
                      <a:pt x="261" y="313"/>
                    </a:lnTo>
                    <a:lnTo>
                      <a:pt x="256" y="304"/>
                    </a:lnTo>
                    <a:lnTo>
                      <a:pt x="251" y="294"/>
                    </a:lnTo>
                    <a:lnTo>
                      <a:pt x="250" y="281"/>
                    </a:lnTo>
                    <a:lnTo>
                      <a:pt x="250" y="281"/>
                    </a:lnTo>
                    <a:lnTo>
                      <a:pt x="248" y="284"/>
                    </a:lnTo>
                    <a:lnTo>
                      <a:pt x="247" y="290"/>
                    </a:lnTo>
                    <a:lnTo>
                      <a:pt x="248" y="300"/>
                    </a:lnTo>
                    <a:lnTo>
                      <a:pt x="250" y="304"/>
                    </a:lnTo>
                    <a:lnTo>
                      <a:pt x="253" y="310"/>
                    </a:lnTo>
                    <a:lnTo>
                      <a:pt x="253" y="310"/>
                    </a:lnTo>
                    <a:lnTo>
                      <a:pt x="257" y="318"/>
                    </a:lnTo>
                    <a:lnTo>
                      <a:pt x="266" y="329"/>
                    </a:lnTo>
                    <a:lnTo>
                      <a:pt x="260" y="329"/>
                    </a:lnTo>
                    <a:lnTo>
                      <a:pt x="260" y="329"/>
                    </a:lnTo>
                    <a:lnTo>
                      <a:pt x="254" y="329"/>
                    </a:lnTo>
                    <a:lnTo>
                      <a:pt x="248" y="327"/>
                    </a:lnTo>
                    <a:lnTo>
                      <a:pt x="241" y="326"/>
                    </a:lnTo>
                    <a:lnTo>
                      <a:pt x="234" y="323"/>
                    </a:lnTo>
                    <a:lnTo>
                      <a:pt x="225" y="317"/>
                    </a:lnTo>
                    <a:lnTo>
                      <a:pt x="219" y="310"/>
                    </a:lnTo>
                    <a:lnTo>
                      <a:pt x="215" y="298"/>
                    </a:lnTo>
                    <a:lnTo>
                      <a:pt x="215" y="298"/>
                    </a:lnTo>
                    <a:lnTo>
                      <a:pt x="215" y="305"/>
                    </a:lnTo>
                    <a:lnTo>
                      <a:pt x="218" y="313"/>
                    </a:lnTo>
                    <a:lnTo>
                      <a:pt x="222" y="321"/>
                    </a:lnTo>
                    <a:lnTo>
                      <a:pt x="228" y="331"/>
                    </a:lnTo>
                    <a:lnTo>
                      <a:pt x="237" y="342"/>
                    </a:lnTo>
                    <a:lnTo>
                      <a:pt x="248" y="350"/>
                    </a:lnTo>
                    <a:lnTo>
                      <a:pt x="256" y="353"/>
                    </a:lnTo>
                    <a:lnTo>
                      <a:pt x="264" y="356"/>
                    </a:lnTo>
                    <a:lnTo>
                      <a:pt x="264" y="356"/>
                    </a:lnTo>
                    <a:lnTo>
                      <a:pt x="256" y="355"/>
                    </a:lnTo>
                    <a:lnTo>
                      <a:pt x="248" y="350"/>
                    </a:lnTo>
                    <a:lnTo>
                      <a:pt x="241" y="346"/>
                    </a:lnTo>
                    <a:lnTo>
                      <a:pt x="234" y="340"/>
                    </a:lnTo>
                    <a:lnTo>
                      <a:pt x="227" y="333"/>
                    </a:lnTo>
                    <a:lnTo>
                      <a:pt x="221" y="323"/>
                    </a:lnTo>
                    <a:lnTo>
                      <a:pt x="217" y="313"/>
                    </a:lnTo>
                    <a:lnTo>
                      <a:pt x="214" y="300"/>
                    </a:lnTo>
                    <a:lnTo>
                      <a:pt x="214" y="300"/>
                    </a:lnTo>
                    <a:lnTo>
                      <a:pt x="212" y="303"/>
                    </a:lnTo>
                    <a:lnTo>
                      <a:pt x="211" y="311"/>
                    </a:lnTo>
                    <a:lnTo>
                      <a:pt x="211" y="317"/>
                    </a:lnTo>
                    <a:lnTo>
                      <a:pt x="212" y="323"/>
                    </a:lnTo>
                    <a:lnTo>
                      <a:pt x="215" y="330"/>
                    </a:lnTo>
                    <a:lnTo>
                      <a:pt x="219" y="337"/>
                    </a:lnTo>
                    <a:lnTo>
                      <a:pt x="219" y="337"/>
                    </a:lnTo>
                    <a:lnTo>
                      <a:pt x="224" y="345"/>
                    </a:lnTo>
                    <a:lnTo>
                      <a:pt x="233" y="353"/>
                    </a:lnTo>
                    <a:lnTo>
                      <a:pt x="244" y="362"/>
                    </a:lnTo>
                    <a:lnTo>
                      <a:pt x="259" y="369"/>
                    </a:lnTo>
                    <a:lnTo>
                      <a:pt x="259" y="369"/>
                    </a:lnTo>
                    <a:lnTo>
                      <a:pt x="266" y="371"/>
                    </a:lnTo>
                    <a:lnTo>
                      <a:pt x="276" y="373"/>
                    </a:lnTo>
                    <a:lnTo>
                      <a:pt x="290" y="373"/>
                    </a:lnTo>
                    <a:lnTo>
                      <a:pt x="290" y="436"/>
                    </a:lnTo>
                    <a:lnTo>
                      <a:pt x="270" y="436"/>
                    </a:lnTo>
                    <a:lnTo>
                      <a:pt x="270" y="428"/>
                    </a:lnTo>
                    <a:lnTo>
                      <a:pt x="266" y="428"/>
                    </a:lnTo>
                    <a:lnTo>
                      <a:pt x="266" y="454"/>
                    </a:lnTo>
                    <a:lnTo>
                      <a:pt x="277" y="454"/>
                    </a:lnTo>
                    <a:lnTo>
                      <a:pt x="277" y="465"/>
                    </a:lnTo>
                    <a:lnTo>
                      <a:pt x="277" y="465"/>
                    </a:lnTo>
                    <a:lnTo>
                      <a:pt x="277" y="472"/>
                    </a:lnTo>
                    <a:lnTo>
                      <a:pt x="337" y="472"/>
                    </a:lnTo>
                    <a:lnTo>
                      <a:pt x="337" y="468"/>
                    </a:lnTo>
                    <a:lnTo>
                      <a:pt x="337" y="468"/>
                    </a:lnTo>
                    <a:lnTo>
                      <a:pt x="340" y="475"/>
                    </a:lnTo>
                    <a:lnTo>
                      <a:pt x="340" y="476"/>
                    </a:lnTo>
                    <a:lnTo>
                      <a:pt x="341" y="476"/>
                    </a:lnTo>
                    <a:lnTo>
                      <a:pt x="341" y="476"/>
                    </a:lnTo>
                    <a:lnTo>
                      <a:pt x="344" y="481"/>
                    </a:lnTo>
                    <a:lnTo>
                      <a:pt x="292" y="481"/>
                    </a:lnTo>
                    <a:lnTo>
                      <a:pt x="292" y="481"/>
                    </a:lnTo>
                    <a:lnTo>
                      <a:pt x="288" y="481"/>
                    </a:lnTo>
                    <a:lnTo>
                      <a:pt x="282" y="481"/>
                    </a:lnTo>
                    <a:lnTo>
                      <a:pt x="274" y="479"/>
                    </a:lnTo>
                    <a:lnTo>
                      <a:pt x="267" y="475"/>
                    </a:lnTo>
                    <a:lnTo>
                      <a:pt x="260" y="470"/>
                    </a:lnTo>
                    <a:lnTo>
                      <a:pt x="254" y="463"/>
                    </a:lnTo>
                    <a:lnTo>
                      <a:pt x="250" y="453"/>
                    </a:lnTo>
                    <a:lnTo>
                      <a:pt x="250" y="453"/>
                    </a:lnTo>
                    <a:lnTo>
                      <a:pt x="250" y="459"/>
                    </a:lnTo>
                    <a:lnTo>
                      <a:pt x="251" y="466"/>
                    </a:lnTo>
                    <a:lnTo>
                      <a:pt x="254" y="473"/>
                    </a:lnTo>
                    <a:lnTo>
                      <a:pt x="260" y="482"/>
                    </a:lnTo>
                    <a:lnTo>
                      <a:pt x="269" y="491"/>
                    </a:lnTo>
                    <a:lnTo>
                      <a:pt x="279" y="498"/>
                    </a:lnTo>
                    <a:lnTo>
                      <a:pt x="295" y="504"/>
                    </a:lnTo>
                    <a:lnTo>
                      <a:pt x="295" y="504"/>
                    </a:lnTo>
                    <a:lnTo>
                      <a:pt x="299" y="505"/>
                    </a:lnTo>
                    <a:lnTo>
                      <a:pt x="299" y="505"/>
                    </a:lnTo>
                    <a:lnTo>
                      <a:pt x="290" y="502"/>
                    </a:lnTo>
                    <a:lnTo>
                      <a:pt x="282" y="499"/>
                    </a:lnTo>
                    <a:lnTo>
                      <a:pt x="274" y="495"/>
                    </a:lnTo>
                    <a:lnTo>
                      <a:pt x="267" y="489"/>
                    </a:lnTo>
                    <a:lnTo>
                      <a:pt x="260" y="483"/>
                    </a:lnTo>
                    <a:lnTo>
                      <a:pt x="254" y="475"/>
                    </a:lnTo>
                    <a:lnTo>
                      <a:pt x="251" y="465"/>
                    </a:lnTo>
                    <a:lnTo>
                      <a:pt x="250" y="453"/>
                    </a:lnTo>
                    <a:lnTo>
                      <a:pt x="250" y="453"/>
                    </a:lnTo>
                    <a:lnTo>
                      <a:pt x="248" y="456"/>
                    </a:lnTo>
                    <a:lnTo>
                      <a:pt x="247" y="462"/>
                    </a:lnTo>
                    <a:lnTo>
                      <a:pt x="248" y="470"/>
                    </a:lnTo>
                    <a:lnTo>
                      <a:pt x="250" y="476"/>
                    </a:lnTo>
                    <a:lnTo>
                      <a:pt x="251" y="482"/>
                    </a:lnTo>
                    <a:lnTo>
                      <a:pt x="251" y="482"/>
                    </a:lnTo>
                    <a:lnTo>
                      <a:pt x="257" y="491"/>
                    </a:lnTo>
                    <a:lnTo>
                      <a:pt x="260" y="495"/>
                    </a:lnTo>
                    <a:lnTo>
                      <a:pt x="266" y="501"/>
                    </a:lnTo>
                    <a:lnTo>
                      <a:pt x="260" y="501"/>
                    </a:lnTo>
                    <a:lnTo>
                      <a:pt x="260" y="501"/>
                    </a:lnTo>
                    <a:lnTo>
                      <a:pt x="254" y="501"/>
                    </a:lnTo>
                    <a:lnTo>
                      <a:pt x="248" y="501"/>
                    </a:lnTo>
                    <a:lnTo>
                      <a:pt x="241" y="498"/>
                    </a:lnTo>
                    <a:lnTo>
                      <a:pt x="234" y="495"/>
                    </a:lnTo>
                    <a:lnTo>
                      <a:pt x="225" y="489"/>
                    </a:lnTo>
                    <a:lnTo>
                      <a:pt x="219" y="482"/>
                    </a:lnTo>
                    <a:lnTo>
                      <a:pt x="215" y="470"/>
                    </a:lnTo>
                    <a:lnTo>
                      <a:pt x="215" y="470"/>
                    </a:lnTo>
                    <a:lnTo>
                      <a:pt x="215" y="476"/>
                    </a:lnTo>
                    <a:lnTo>
                      <a:pt x="217" y="483"/>
                    </a:lnTo>
                    <a:lnTo>
                      <a:pt x="219" y="491"/>
                    </a:lnTo>
                    <a:lnTo>
                      <a:pt x="224" y="499"/>
                    </a:lnTo>
                    <a:lnTo>
                      <a:pt x="231" y="508"/>
                    </a:lnTo>
                    <a:lnTo>
                      <a:pt x="240" y="517"/>
                    </a:lnTo>
                    <a:lnTo>
                      <a:pt x="251" y="524"/>
                    </a:lnTo>
                    <a:lnTo>
                      <a:pt x="251" y="524"/>
                    </a:lnTo>
                    <a:lnTo>
                      <a:pt x="238" y="517"/>
                    </a:lnTo>
                    <a:lnTo>
                      <a:pt x="234" y="511"/>
                    </a:lnTo>
                    <a:lnTo>
                      <a:pt x="228" y="505"/>
                    </a:lnTo>
                    <a:lnTo>
                      <a:pt x="224" y="499"/>
                    </a:lnTo>
                    <a:lnTo>
                      <a:pt x="219" y="491"/>
                    </a:lnTo>
                    <a:lnTo>
                      <a:pt x="215" y="482"/>
                    </a:lnTo>
                    <a:lnTo>
                      <a:pt x="214" y="472"/>
                    </a:lnTo>
                    <a:lnTo>
                      <a:pt x="214" y="472"/>
                    </a:lnTo>
                    <a:lnTo>
                      <a:pt x="212" y="475"/>
                    </a:lnTo>
                    <a:lnTo>
                      <a:pt x="211" y="482"/>
                    </a:lnTo>
                    <a:lnTo>
                      <a:pt x="212" y="494"/>
                    </a:lnTo>
                    <a:lnTo>
                      <a:pt x="214" y="501"/>
                    </a:lnTo>
                    <a:lnTo>
                      <a:pt x="218" y="508"/>
                    </a:lnTo>
                    <a:lnTo>
                      <a:pt x="218" y="508"/>
                    </a:lnTo>
                    <a:lnTo>
                      <a:pt x="222" y="515"/>
                    </a:lnTo>
                    <a:lnTo>
                      <a:pt x="231" y="524"/>
                    </a:lnTo>
                    <a:lnTo>
                      <a:pt x="243" y="533"/>
                    </a:lnTo>
                    <a:lnTo>
                      <a:pt x="259" y="541"/>
                    </a:lnTo>
                    <a:lnTo>
                      <a:pt x="259" y="541"/>
                    </a:lnTo>
                    <a:lnTo>
                      <a:pt x="266" y="544"/>
                    </a:lnTo>
                    <a:lnTo>
                      <a:pt x="276" y="546"/>
                    </a:lnTo>
                    <a:lnTo>
                      <a:pt x="290" y="547"/>
                    </a:lnTo>
                    <a:lnTo>
                      <a:pt x="290" y="608"/>
                    </a:lnTo>
                    <a:lnTo>
                      <a:pt x="270" y="608"/>
                    </a:lnTo>
                    <a:lnTo>
                      <a:pt x="270" y="602"/>
                    </a:lnTo>
                    <a:lnTo>
                      <a:pt x="266" y="602"/>
                    </a:lnTo>
                    <a:lnTo>
                      <a:pt x="266" y="627"/>
                    </a:lnTo>
                    <a:lnTo>
                      <a:pt x="277" y="627"/>
                    </a:lnTo>
                    <a:lnTo>
                      <a:pt x="277" y="637"/>
                    </a:lnTo>
                    <a:lnTo>
                      <a:pt x="277" y="637"/>
                    </a:lnTo>
                    <a:lnTo>
                      <a:pt x="277" y="646"/>
                    </a:lnTo>
                    <a:lnTo>
                      <a:pt x="340" y="646"/>
                    </a:lnTo>
                    <a:lnTo>
                      <a:pt x="340" y="646"/>
                    </a:lnTo>
                    <a:lnTo>
                      <a:pt x="340" y="646"/>
                    </a:lnTo>
                    <a:lnTo>
                      <a:pt x="340" y="648"/>
                    </a:lnTo>
                    <a:lnTo>
                      <a:pt x="292" y="648"/>
                    </a:lnTo>
                    <a:lnTo>
                      <a:pt x="292" y="648"/>
                    </a:lnTo>
                    <a:lnTo>
                      <a:pt x="286" y="648"/>
                    </a:lnTo>
                    <a:lnTo>
                      <a:pt x="280" y="648"/>
                    </a:lnTo>
                    <a:lnTo>
                      <a:pt x="274" y="647"/>
                    </a:lnTo>
                    <a:lnTo>
                      <a:pt x="267" y="644"/>
                    </a:lnTo>
                    <a:lnTo>
                      <a:pt x="260" y="638"/>
                    </a:lnTo>
                    <a:lnTo>
                      <a:pt x="254" y="63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50" y="621"/>
                    </a:lnTo>
                    <a:lnTo>
                      <a:pt x="247" y="628"/>
                    </a:lnTo>
                    <a:lnTo>
                      <a:pt x="247" y="635"/>
                    </a:lnTo>
                    <a:lnTo>
                      <a:pt x="250" y="644"/>
                    </a:lnTo>
                    <a:lnTo>
                      <a:pt x="250" y="644"/>
                    </a:lnTo>
                    <a:lnTo>
                      <a:pt x="250" y="644"/>
                    </a:lnTo>
                    <a:lnTo>
                      <a:pt x="250" y="644"/>
                    </a:lnTo>
                    <a:lnTo>
                      <a:pt x="250" y="646"/>
                    </a:lnTo>
                    <a:lnTo>
                      <a:pt x="251" y="651"/>
                    </a:lnTo>
                    <a:lnTo>
                      <a:pt x="257" y="660"/>
                    </a:lnTo>
                    <a:lnTo>
                      <a:pt x="266" y="669"/>
                    </a:lnTo>
                    <a:lnTo>
                      <a:pt x="260" y="669"/>
                    </a:lnTo>
                    <a:lnTo>
                      <a:pt x="260" y="669"/>
                    </a:lnTo>
                    <a:lnTo>
                      <a:pt x="254" y="669"/>
                    </a:lnTo>
                    <a:lnTo>
                      <a:pt x="247" y="669"/>
                    </a:lnTo>
                    <a:lnTo>
                      <a:pt x="240" y="667"/>
                    </a:lnTo>
                    <a:lnTo>
                      <a:pt x="233" y="663"/>
                    </a:lnTo>
                    <a:lnTo>
                      <a:pt x="225" y="659"/>
                    </a:lnTo>
                    <a:lnTo>
                      <a:pt x="218" y="650"/>
                    </a:lnTo>
                    <a:lnTo>
                      <a:pt x="214" y="640"/>
                    </a:lnTo>
                    <a:lnTo>
                      <a:pt x="214" y="640"/>
                    </a:lnTo>
                    <a:lnTo>
                      <a:pt x="214" y="643"/>
                    </a:lnTo>
                    <a:lnTo>
                      <a:pt x="214" y="643"/>
                    </a:lnTo>
                    <a:lnTo>
                      <a:pt x="214" y="640"/>
                    </a:lnTo>
                    <a:lnTo>
                      <a:pt x="214" y="640"/>
                    </a:lnTo>
                    <a:lnTo>
                      <a:pt x="211" y="647"/>
                    </a:lnTo>
                    <a:lnTo>
                      <a:pt x="211" y="656"/>
                    </a:lnTo>
                    <a:lnTo>
                      <a:pt x="214" y="667"/>
                    </a:lnTo>
                    <a:lnTo>
                      <a:pt x="214" y="667"/>
                    </a:lnTo>
                    <a:lnTo>
                      <a:pt x="214" y="666"/>
                    </a:lnTo>
                    <a:lnTo>
                      <a:pt x="214" y="666"/>
                    </a:lnTo>
                    <a:lnTo>
                      <a:pt x="215" y="672"/>
                    </a:lnTo>
                    <a:lnTo>
                      <a:pt x="217" y="676"/>
                    </a:lnTo>
                    <a:lnTo>
                      <a:pt x="221" y="682"/>
                    </a:lnTo>
                    <a:lnTo>
                      <a:pt x="225" y="689"/>
                    </a:lnTo>
                    <a:lnTo>
                      <a:pt x="234" y="696"/>
                    </a:lnTo>
                    <a:lnTo>
                      <a:pt x="244" y="703"/>
                    </a:lnTo>
                    <a:lnTo>
                      <a:pt x="259" y="711"/>
                    </a:lnTo>
                    <a:lnTo>
                      <a:pt x="259" y="711"/>
                    </a:lnTo>
                    <a:lnTo>
                      <a:pt x="266" y="712"/>
                    </a:lnTo>
                    <a:lnTo>
                      <a:pt x="276" y="714"/>
                    </a:lnTo>
                    <a:lnTo>
                      <a:pt x="290" y="715"/>
                    </a:lnTo>
                    <a:lnTo>
                      <a:pt x="290" y="777"/>
                    </a:lnTo>
                    <a:lnTo>
                      <a:pt x="270" y="777"/>
                    </a:lnTo>
                    <a:lnTo>
                      <a:pt x="270" y="771"/>
                    </a:lnTo>
                    <a:lnTo>
                      <a:pt x="264" y="771"/>
                    </a:lnTo>
                    <a:lnTo>
                      <a:pt x="264" y="829"/>
                    </a:lnTo>
                    <a:lnTo>
                      <a:pt x="277" y="829"/>
                    </a:lnTo>
                    <a:lnTo>
                      <a:pt x="277" y="835"/>
                    </a:lnTo>
                    <a:lnTo>
                      <a:pt x="277" y="835"/>
                    </a:lnTo>
                    <a:lnTo>
                      <a:pt x="277" y="854"/>
                    </a:lnTo>
                    <a:lnTo>
                      <a:pt x="277" y="854"/>
                    </a:lnTo>
                    <a:lnTo>
                      <a:pt x="282" y="857"/>
                    </a:lnTo>
                    <a:lnTo>
                      <a:pt x="282" y="857"/>
                    </a:lnTo>
                    <a:lnTo>
                      <a:pt x="269" y="848"/>
                    </a:lnTo>
                    <a:lnTo>
                      <a:pt x="269" y="848"/>
                    </a:lnTo>
                    <a:lnTo>
                      <a:pt x="269" y="852"/>
                    </a:lnTo>
                    <a:lnTo>
                      <a:pt x="270" y="861"/>
                    </a:lnTo>
                    <a:lnTo>
                      <a:pt x="270" y="861"/>
                    </a:lnTo>
                    <a:lnTo>
                      <a:pt x="269" y="860"/>
                    </a:lnTo>
                    <a:lnTo>
                      <a:pt x="269" y="860"/>
                    </a:lnTo>
                    <a:lnTo>
                      <a:pt x="272" y="867"/>
                    </a:lnTo>
                    <a:lnTo>
                      <a:pt x="276" y="876"/>
                    </a:lnTo>
                    <a:lnTo>
                      <a:pt x="283" y="886"/>
                    </a:lnTo>
                    <a:lnTo>
                      <a:pt x="283" y="886"/>
                    </a:lnTo>
                    <a:lnTo>
                      <a:pt x="283" y="886"/>
                    </a:lnTo>
                    <a:lnTo>
                      <a:pt x="235" y="886"/>
                    </a:lnTo>
                    <a:lnTo>
                      <a:pt x="235" y="886"/>
                    </a:lnTo>
                    <a:lnTo>
                      <a:pt x="228" y="886"/>
                    </a:lnTo>
                    <a:lnTo>
                      <a:pt x="221" y="884"/>
                    </a:lnTo>
                    <a:lnTo>
                      <a:pt x="212" y="883"/>
                    </a:lnTo>
                    <a:lnTo>
                      <a:pt x="204" y="879"/>
                    </a:lnTo>
                    <a:lnTo>
                      <a:pt x="195" y="873"/>
                    </a:lnTo>
                    <a:lnTo>
                      <a:pt x="188" y="863"/>
                    </a:lnTo>
                    <a:lnTo>
                      <a:pt x="183" y="857"/>
                    </a:lnTo>
                    <a:lnTo>
                      <a:pt x="182" y="850"/>
                    </a:lnTo>
                    <a:lnTo>
                      <a:pt x="182" y="850"/>
                    </a:lnTo>
                    <a:lnTo>
                      <a:pt x="180" y="858"/>
                    </a:lnTo>
                    <a:lnTo>
                      <a:pt x="179" y="868"/>
                    </a:lnTo>
                    <a:lnTo>
                      <a:pt x="182" y="879"/>
                    </a:lnTo>
                    <a:lnTo>
                      <a:pt x="182" y="879"/>
                    </a:lnTo>
                    <a:lnTo>
                      <a:pt x="182" y="879"/>
                    </a:lnTo>
                    <a:lnTo>
                      <a:pt x="182" y="879"/>
                    </a:lnTo>
                    <a:lnTo>
                      <a:pt x="183" y="884"/>
                    </a:lnTo>
                    <a:lnTo>
                      <a:pt x="185" y="890"/>
                    </a:lnTo>
                    <a:lnTo>
                      <a:pt x="191" y="899"/>
                    </a:lnTo>
                    <a:lnTo>
                      <a:pt x="146" y="899"/>
                    </a:lnTo>
                    <a:lnTo>
                      <a:pt x="146" y="899"/>
                    </a:lnTo>
                    <a:lnTo>
                      <a:pt x="140" y="899"/>
                    </a:lnTo>
                    <a:lnTo>
                      <a:pt x="133" y="897"/>
                    </a:lnTo>
                    <a:lnTo>
                      <a:pt x="124" y="896"/>
                    </a:lnTo>
                    <a:lnTo>
                      <a:pt x="115" y="892"/>
                    </a:lnTo>
                    <a:lnTo>
                      <a:pt x="107" y="886"/>
                    </a:lnTo>
                    <a:lnTo>
                      <a:pt x="98" y="876"/>
                    </a:lnTo>
                    <a:lnTo>
                      <a:pt x="95" y="870"/>
                    </a:lnTo>
                    <a:lnTo>
                      <a:pt x="92" y="864"/>
                    </a:lnTo>
                    <a:lnTo>
                      <a:pt x="92" y="864"/>
                    </a:lnTo>
                    <a:lnTo>
                      <a:pt x="91" y="873"/>
                    </a:lnTo>
                    <a:lnTo>
                      <a:pt x="91" y="883"/>
                    </a:lnTo>
                    <a:lnTo>
                      <a:pt x="94" y="894"/>
                    </a:lnTo>
                    <a:lnTo>
                      <a:pt x="94" y="894"/>
                    </a:lnTo>
                    <a:lnTo>
                      <a:pt x="92" y="894"/>
                    </a:lnTo>
                    <a:lnTo>
                      <a:pt x="92" y="894"/>
                    </a:lnTo>
                    <a:lnTo>
                      <a:pt x="94" y="900"/>
                    </a:lnTo>
                    <a:lnTo>
                      <a:pt x="96" y="906"/>
                    </a:lnTo>
                    <a:lnTo>
                      <a:pt x="101" y="913"/>
                    </a:lnTo>
                    <a:lnTo>
                      <a:pt x="107" y="921"/>
                    </a:lnTo>
                    <a:lnTo>
                      <a:pt x="117" y="929"/>
                    </a:lnTo>
                    <a:lnTo>
                      <a:pt x="128" y="938"/>
                    </a:lnTo>
                    <a:lnTo>
                      <a:pt x="144" y="947"/>
                    </a:lnTo>
                    <a:lnTo>
                      <a:pt x="144" y="947"/>
                    </a:lnTo>
                    <a:lnTo>
                      <a:pt x="151" y="948"/>
                    </a:lnTo>
                    <a:lnTo>
                      <a:pt x="162" y="949"/>
                    </a:lnTo>
                    <a:lnTo>
                      <a:pt x="176" y="951"/>
                    </a:lnTo>
                    <a:lnTo>
                      <a:pt x="176" y="1125"/>
                    </a:lnTo>
                    <a:lnTo>
                      <a:pt x="143" y="1125"/>
                    </a:lnTo>
                    <a:lnTo>
                      <a:pt x="143" y="1107"/>
                    </a:lnTo>
                    <a:lnTo>
                      <a:pt x="137" y="1107"/>
                    </a:lnTo>
                    <a:lnTo>
                      <a:pt x="137" y="1125"/>
                    </a:lnTo>
                    <a:lnTo>
                      <a:pt x="92" y="1125"/>
                    </a:lnTo>
                    <a:lnTo>
                      <a:pt x="92" y="1107"/>
                    </a:lnTo>
                    <a:lnTo>
                      <a:pt x="88" y="1107"/>
                    </a:lnTo>
                    <a:lnTo>
                      <a:pt x="88" y="1125"/>
                    </a:lnTo>
                    <a:lnTo>
                      <a:pt x="43" y="1125"/>
                    </a:lnTo>
                    <a:lnTo>
                      <a:pt x="43" y="1107"/>
                    </a:lnTo>
                    <a:lnTo>
                      <a:pt x="37" y="1107"/>
                    </a:lnTo>
                    <a:lnTo>
                      <a:pt x="37" y="1164"/>
                    </a:lnTo>
                    <a:lnTo>
                      <a:pt x="238" y="1164"/>
                    </a:lnTo>
                    <a:lnTo>
                      <a:pt x="185" y="1193"/>
                    </a:lnTo>
                    <a:lnTo>
                      <a:pt x="185" y="1165"/>
                    </a:lnTo>
                    <a:lnTo>
                      <a:pt x="176" y="1165"/>
                    </a:lnTo>
                    <a:lnTo>
                      <a:pt x="176" y="1198"/>
                    </a:lnTo>
                    <a:lnTo>
                      <a:pt x="121" y="1229"/>
                    </a:lnTo>
                    <a:lnTo>
                      <a:pt x="121" y="1211"/>
                    </a:lnTo>
                    <a:lnTo>
                      <a:pt x="111" y="1211"/>
                    </a:lnTo>
                    <a:lnTo>
                      <a:pt x="111" y="1243"/>
                    </a:lnTo>
                    <a:lnTo>
                      <a:pt x="108" y="1243"/>
                    </a:lnTo>
                    <a:lnTo>
                      <a:pt x="108" y="1220"/>
                    </a:lnTo>
                    <a:lnTo>
                      <a:pt x="98" y="1220"/>
                    </a:lnTo>
                    <a:lnTo>
                      <a:pt x="98" y="1243"/>
                    </a:lnTo>
                    <a:lnTo>
                      <a:pt x="11" y="1243"/>
                    </a:lnTo>
                    <a:lnTo>
                      <a:pt x="11" y="1220"/>
                    </a:lnTo>
                    <a:lnTo>
                      <a:pt x="0" y="1220"/>
                    </a:lnTo>
                    <a:lnTo>
                      <a:pt x="0" y="1291"/>
                    </a:lnTo>
                    <a:lnTo>
                      <a:pt x="1001" y="1291"/>
                    </a:lnTo>
                    <a:lnTo>
                      <a:pt x="1001" y="1220"/>
                    </a:lnTo>
                    <a:lnTo>
                      <a:pt x="989" y="1220"/>
                    </a:lnTo>
                    <a:close/>
                    <a:moveTo>
                      <a:pt x="723" y="619"/>
                    </a:moveTo>
                    <a:lnTo>
                      <a:pt x="723" y="619"/>
                    </a:lnTo>
                    <a:lnTo>
                      <a:pt x="723" y="624"/>
                    </a:lnTo>
                    <a:lnTo>
                      <a:pt x="723" y="624"/>
                    </a:lnTo>
                    <a:lnTo>
                      <a:pt x="723" y="619"/>
                    </a:lnTo>
                    <a:close/>
                    <a:moveTo>
                      <a:pt x="706" y="536"/>
                    </a:moveTo>
                    <a:lnTo>
                      <a:pt x="706" y="536"/>
                    </a:lnTo>
                    <a:lnTo>
                      <a:pt x="706" y="536"/>
                    </a:lnTo>
                    <a:lnTo>
                      <a:pt x="706" y="538"/>
                    </a:lnTo>
                    <a:lnTo>
                      <a:pt x="706" y="538"/>
                    </a:lnTo>
                    <a:lnTo>
                      <a:pt x="706" y="538"/>
                    </a:lnTo>
                    <a:lnTo>
                      <a:pt x="706" y="536"/>
                    </a:lnTo>
                    <a:close/>
                    <a:moveTo>
                      <a:pt x="706" y="363"/>
                    </a:moveTo>
                    <a:lnTo>
                      <a:pt x="706" y="363"/>
                    </a:lnTo>
                    <a:lnTo>
                      <a:pt x="706" y="363"/>
                    </a:lnTo>
                    <a:lnTo>
                      <a:pt x="706" y="366"/>
                    </a:lnTo>
                    <a:lnTo>
                      <a:pt x="706" y="366"/>
                    </a:lnTo>
                    <a:lnTo>
                      <a:pt x="706" y="366"/>
                    </a:lnTo>
                    <a:lnTo>
                      <a:pt x="706" y="363"/>
                    </a:lnTo>
                    <a:close/>
                    <a:moveTo>
                      <a:pt x="706" y="446"/>
                    </a:moveTo>
                    <a:lnTo>
                      <a:pt x="706" y="446"/>
                    </a:lnTo>
                    <a:lnTo>
                      <a:pt x="706" y="450"/>
                    </a:lnTo>
                    <a:lnTo>
                      <a:pt x="706" y="450"/>
                    </a:lnTo>
                    <a:lnTo>
                      <a:pt x="706" y="446"/>
                    </a:lnTo>
                    <a:close/>
                    <a:moveTo>
                      <a:pt x="392" y="106"/>
                    </a:moveTo>
                    <a:lnTo>
                      <a:pt x="392" y="106"/>
                    </a:lnTo>
                    <a:lnTo>
                      <a:pt x="390" y="104"/>
                    </a:lnTo>
                    <a:lnTo>
                      <a:pt x="390" y="104"/>
                    </a:lnTo>
                    <a:lnTo>
                      <a:pt x="392" y="106"/>
                    </a:lnTo>
                    <a:lnTo>
                      <a:pt x="392" y="106"/>
                    </a:lnTo>
                    <a:lnTo>
                      <a:pt x="392" y="106"/>
                    </a:lnTo>
                    <a:lnTo>
                      <a:pt x="392" y="106"/>
                    </a:lnTo>
                    <a:close/>
                    <a:moveTo>
                      <a:pt x="279" y="155"/>
                    </a:moveTo>
                    <a:lnTo>
                      <a:pt x="279" y="155"/>
                    </a:lnTo>
                    <a:lnTo>
                      <a:pt x="277" y="158"/>
                    </a:lnTo>
                    <a:lnTo>
                      <a:pt x="277" y="158"/>
                    </a:lnTo>
                    <a:lnTo>
                      <a:pt x="279" y="155"/>
                    </a:lnTo>
                    <a:lnTo>
                      <a:pt x="279" y="155"/>
                    </a:lnTo>
                    <a:close/>
                    <a:moveTo>
                      <a:pt x="277" y="158"/>
                    </a:moveTo>
                    <a:lnTo>
                      <a:pt x="277" y="158"/>
                    </a:lnTo>
                    <a:lnTo>
                      <a:pt x="274" y="164"/>
                    </a:lnTo>
                    <a:lnTo>
                      <a:pt x="274" y="169"/>
                    </a:lnTo>
                    <a:lnTo>
                      <a:pt x="274" y="169"/>
                    </a:lnTo>
                    <a:lnTo>
                      <a:pt x="274" y="164"/>
                    </a:lnTo>
                    <a:lnTo>
                      <a:pt x="277" y="158"/>
                    </a:lnTo>
                    <a:lnTo>
                      <a:pt x="277" y="158"/>
                    </a:lnTo>
                    <a:close/>
                    <a:moveTo>
                      <a:pt x="274" y="169"/>
                    </a:moveTo>
                    <a:lnTo>
                      <a:pt x="274" y="169"/>
                    </a:lnTo>
                    <a:lnTo>
                      <a:pt x="274" y="174"/>
                    </a:lnTo>
                    <a:lnTo>
                      <a:pt x="274" y="174"/>
                    </a:lnTo>
                    <a:lnTo>
                      <a:pt x="274" y="169"/>
                    </a:lnTo>
                    <a:lnTo>
                      <a:pt x="274" y="169"/>
                    </a:lnTo>
                    <a:close/>
                    <a:moveTo>
                      <a:pt x="277" y="185"/>
                    </a:moveTo>
                    <a:lnTo>
                      <a:pt x="277" y="185"/>
                    </a:lnTo>
                    <a:lnTo>
                      <a:pt x="277" y="184"/>
                    </a:lnTo>
                    <a:lnTo>
                      <a:pt x="277" y="184"/>
                    </a:lnTo>
                    <a:lnTo>
                      <a:pt x="279" y="187"/>
                    </a:lnTo>
                    <a:lnTo>
                      <a:pt x="279" y="187"/>
                    </a:lnTo>
                    <a:lnTo>
                      <a:pt x="277" y="185"/>
                    </a:lnTo>
                    <a:lnTo>
                      <a:pt x="277" y="185"/>
                    </a:lnTo>
                    <a:close/>
                    <a:moveTo>
                      <a:pt x="290" y="450"/>
                    </a:moveTo>
                    <a:lnTo>
                      <a:pt x="290" y="450"/>
                    </a:lnTo>
                    <a:lnTo>
                      <a:pt x="290" y="446"/>
                    </a:lnTo>
                    <a:lnTo>
                      <a:pt x="290" y="446"/>
                    </a:lnTo>
                    <a:lnTo>
                      <a:pt x="290" y="450"/>
                    </a:lnTo>
                    <a:close/>
                    <a:moveTo>
                      <a:pt x="290" y="366"/>
                    </a:moveTo>
                    <a:lnTo>
                      <a:pt x="290" y="366"/>
                    </a:lnTo>
                    <a:lnTo>
                      <a:pt x="290" y="366"/>
                    </a:lnTo>
                    <a:lnTo>
                      <a:pt x="290" y="363"/>
                    </a:lnTo>
                    <a:lnTo>
                      <a:pt x="290" y="363"/>
                    </a:lnTo>
                    <a:lnTo>
                      <a:pt x="290" y="363"/>
                    </a:lnTo>
                    <a:lnTo>
                      <a:pt x="290" y="366"/>
                    </a:lnTo>
                    <a:close/>
                    <a:moveTo>
                      <a:pt x="290" y="538"/>
                    </a:moveTo>
                    <a:lnTo>
                      <a:pt x="290" y="538"/>
                    </a:lnTo>
                    <a:lnTo>
                      <a:pt x="290" y="538"/>
                    </a:lnTo>
                    <a:lnTo>
                      <a:pt x="290" y="536"/>
                    </a:lnTo>
                    <a:lnTo>
                      <a:pt x="290" y="536"/>
                    </a:lnTo>
                    <a:lnTo>
                      <a:pt x="290" y="536"/>
                    </a:lnTo>
                    <a:lnTo>
                      <a:pt x="290" y="538"/>
                    </a:lnTo>
                    <a:close/>
                    <a:moveTo>
                      <a:pt x="337" y="624"/>
                    </a:moveTo>
                    <a:lnTo>
                      <a:pt x="337" y="624"/>
                    </a:lnTo>
                    <a:lnTo>
                      <a:pt x="337" y="622"/>
                    </a:lnTo>
                    <a:lnTo>
                      <a:pt x="337" y="621"/>
                    </a:lnTo>
                    <a:lnTo>
                      <a:pt x="337" y="621"/>
                    </a:lnTo>
                    <a:lnTo>
                      <a:pt x="338" y="624"/>
                    </a:lnTo>
                    <a:lnTo>
                      <a:pt x="337" y="624"/>
                    </a:lnTo>
                    <a:close/>
                    <a:moveTo>
                      <a:pt x="340" y="630"/>
                    </a:moveTo>
                    <a:lnTo>
                      <a:pt x="340" y="630"/>
                    </a:lnTo>
                    <a:lnTo>
                      <a:pt x="338" y="627"/>
                    </a:lnTo>
                    <a:lnTo>
                      <a:pt x="338" y="627"/>
                    </a:lnTo>
                    <a:lnTo>
                      <a:pt x="338" y="627"/>
                    </a:lnTo>
                    <a:lnTo>
                      <a:pt x="340" y="630"/>
                    </a:lnTo>
                    <a:lnTo>
                      <a:pt x="340" y="630"/>
                    </a:lnTo>
                    <a:close/>
                    <a:moveTo>
                      <a:pt x="179" y="939"/>
                    </a:moveTo>
                    <a:lnTo>
                      <a:pt x="179" y="939"/>
                    </a:lnTo>
                    <a:lnTo>
                      <a:pt x="167" y="938"/>
                    </a:lnTo>
                    <a:lnTo>
                      <a:pt x="156" y="934"/>
                    </a:lnTo>
                    <a:lnTo>
                      <a:pt x="143" y="929"/>
                    </a:lnTo>
                    <a:lnTo>
                      <a:pt x="128" y="921"/>
                    </a:lnTo>
                    <a:lnTo>
                      <a:pt x="121" y="916"/>
                    </a:lnTo>
                    <a:lnTo>
                      <a:pt x="114" y="909"/>
                    </a:lnTo>
                    <a:lnTo>
                      <a:pt x="108" y="902"/>
                    </a:lnTo>
                    <a:lnTo>
                      <a:pt x="102" y="894"/>
                    </a:lnTo>
                    <a:lnTo>
                      <a:pt x="98" y="884"/>
                    </a:lnTo>
                    <a:lnTo>
                      <a:pt x="95" y="874"/>
                    </a:lnTo>
                    <a:lnTo>
                      <a:pt x="95" y="874"/>
                    </a:lnTo>
                    <a:lnTo>
                      <a:pt x="101" y="889"/>
                    </a:lnTo>
                    <a:lnTo>
                      <a:pt x="105" y="897"/>
                    </a:lnTo>
                    <a:lnTo>
                      <a:pt x="111" y="906"/>
                    </a:lnTo>
                    <a:lnTo>
                      <a:pt x="118" y="913"/>
                    </a:lnTo>
                    <a:lnTo>
                      <a:pt x="128" y="921"/>
                    </a:lnTo>
                    <a:lnTo>
                      <a:pt x="141" y="928"/>
                    </a:lnTo>
                    <a:lnTo>
                      <a:pt x="156" y="934"/>
                    </a:lnTo>
                    <a:lnTo>
                      <a:pt x="156" y="934"/>
                    </a:lnTo>
                    <a:lnTo>
                      <a:pt x="162" y="935"/>
                    </a:lnTo>
                    <a:lnTo>
                      <a:pt x="180" y="939"/>
                    </a:lnTo>
                    <a:lnTo>
                      <a:pt x="179" y="939"/>
                    </a:lnTo>
                    <a:close/>
                    <a:moveTo>
                      <a:pt x="215" y="913"/>
                    </a:moveTo>
                    <a:lnTo>
                      <a:pt x="215" y="913"/>
                    </a:lnTo>
                    <a:lnTo>
                      <a:pt x="231" y="922"/>
                    </a:lnTo>
                    <a:lnTo>
                      <a:pt x="231" y="922"/>
                    </a:lnTo>
                    <a:lnTo>
                      <a:pt x="225" y="919"/>
                    </a:lnTo>
                    <a:lnTo>
                      <a:pt x="215" y="913"/>
                    </a:lnTo>
                    <a:lnTo>
                      <a:pt x="215" y="913"/>
                    </a:lnTo>
                    <a:close/>
                    <a:moveTo>
                      <a:pt x="98" y="1253"/>
                    </a:moveTo>
                    <a:lnTo>
                      <a:pt x="11" y="1253"/>
                    </a:lnTo>
                    <a:lnTo>
                      <a:pt x="11" y="1252"/>
                    </a:lnTo>
                    <a:lnTo>
                      <a:pt x="98" y="1252"/>
                    </a:lnTo>
                    <a:lnTo>
                      <a:pt x="98" y="1253"/>
                    </a:lnTo>
                    <a:close/>
                    <a:moveTo>
                      <a:pt x="111" y="1253"/>
                    </a:moveTo>
                    <a:lnTo>
                      <a:pt x="108" y="1253"/>
                    </a:lnTo>
                    <a:lnTo>
                      <a:pt x="108" y="1252"/>
                    </a:lnTo>
                    <a:lnTo>
                      <a:pt x="111" y="1252"/>
                    </a:lnTo>
                    <a:lnTo>
                      <a:pt x="111" y="1253"/>
                    </a:lnTo>
                    <a:close/>
                    <a:moveTo>
                      <a:pt x="824" y="1206"/>
                    </a:moveTo>
                    <a:lnTo>
                      <a:pt x="824" y="1206"/>
                    </a:lnTo>
                    <a:lnTo>
                      <a:pt x="824" y="1213"/>
                    </a:lnTo>
                    <a:lnTo>
                      <a:pt x="824" y="1213"/>
                    </a:lnTo>
                    <a:lnTo>
                      <a:pt x="824" y="1206"/>
                    </a:lnTo>
                    <a:close/>
                    <a:moveTo>
                      <a:pt x="804" y="1230"/>
                    </a:moveTo>
                    <a:lnTo>
                      <a:pt x="829" y="1243"/>
                    </a:lnTo>
                    <a:lnTo>
                      <a:pt x="804" y="1243"/>
                    </a:lnTo>
                    <a:lnTo>
                      <a:pt x="804" y="1230"/>
                    </a:lnTo>
                    <a:close/>
                    <a:moveTo>
                      <a:pt x="756" y="1168"/>
                    </a:moveTo>
                    <a:lnTo>
                      <a:pt x="769" y="1175"/>
                    </a:lnTo>
                    <a:lnTo>
                      <a:pt x="756" y="1168"/>
                    </a:lnTo>
                    <a:lnTo>
                      <a:pt x="756" y="1174"/>
                    </a:lnTo>
                    <a:lnTo>
                      <a:pt x="756" y="1174"/>
                    </a:lnTo>
                    <a:lnTo>
                      <a:pt x="756" y="1168"/>
                    </a:lnTo>
                    <a:close/>
                    <a:moveTo>
                      <a:pt x="749" y="918"/>
                    </a:moveTo>
                    <a:lnTo>
                      <a:pt x="749" y="918"/>
                    </a:lnTo>
                    <a:lnTo>
                      <a:pt x="733" y="921"/>
                    </a:lnTo>
                    <a:lnTo>
                      <a:pt x="733" y="921"/>
                    </a:lnTo>
                    <a:lnTo>
                      <a:pt x="733" y="921"/>
                    </a:lnTo>
                    <a:lnTo>
                      <a:pt x="749" y="918"/>
                    </a:lnTo>
                    <a:lnTo>
                      <a:pt x="749" y="918"/>
                    </a:lnTo>
                    <a:close/>
                    <a:moveTo>
                      <a:pt x="700" y="1129"/>
                    </a:moveTo>
                    <a:lnTo>
                      <a:pt x="706" y="1133"/>
                    </a:lnTo>
                    <a:lnTo>
                      <a:pt x="706" y="1133"/>
                    </a:lnTo>
                    <a:lnTo>
                      <a:pt x="706" y="1133"/>
                    </a:lnTo>
                    <a:lnTo>
                      <a:pt x="700" y="1129"/>
                    </a:lnTo>
                    <a:lnTo>
                      <a:pt x="700" y="1129"/>
                    </a:lnTo>
                    <a:close/>
                    <a:moveTo>
                      <a:pt x="672" y="893"/>
                    </a:moveTo>
                    <a:lnTo>
                      <a:pt x="672" y="893"/>
                    </a:lnTo>
                    <a:lnTo>
                      <a:pt x="658" y="894"/>
                    </a:lnTo>
                    <a:lnTo>
                      <a:pt x="648" y="896"/>
                    </a:lnTo>
                    <a:lnTo>
                      <a:pt x="638" y="897"/>
                    </a:lnTo>
                    <a:lnTo>
                      <a:pt x="629" y="897"/>
                    </a:lnTo>
                    <a:lnTo>
                      <a:pt x="629" y="897"/>
                    </a:lnTo>
                    <a:lnTo>
                      <a:pt x="652" y="896"/>
                    </a:lnTo>
                    <a:lnTo>
                      <a:pt x="672" y="893"/>
                    </a:lnTo>
                    <a:lnTo>
                      <a:pt x="672" y="893"/>
                    </a:lnTo>
                    <a:close/>
                    <a:moveTo>
                      <a:pt x="615" y="906"/>
                    </a:moveTo>
                    <a:lnTo>
                      <a:pt x="638" y="906"/>
                    </a:lnTo>
                    <a:lnTo>
                      <a:pt x="638" y="906"/>
                    </a:lnTo>
                    <a:lnTo>
                      <a:pt x="654" y="906"/>
                    </a:lnTo>
                    <a:lnTo>
                      <a:pt x="654" y="906"/>
                    </a:lnTo>
                    <a:lnTo>
                      <a:pt x="639" y="906"/>
                    </a:lnTo>
                    <a:lnTo>
                      <a:pt x="615" y="906"/>
                    </a:lnTo>
                    <a:close/>
                    <a:moveTo>
                      <a:pt x="631" y="1126"/>
                    </a:moveTo>
                    <a:lnTo>
                      <a:pt x="631" y="1126"/>
                    </a:lnTo>
                    <a:lnTo>
                      <a:pt x="628" y="1126"/>
                    </a:lnTo>
                    <a:lnTo>
                      <a:pt x="628" y="1126"/>
                    </a:lnTo>
                    <a:lnTo>
                      <a:pt x="631" y="1126"/>
                    </a:lnTo>
                    <a:close/>
                    <a:moveTo>
                      <a:pt x="584" y="763"/>
                    </a:moveTo>
                    <a:lnTo>
                      <a:pt x="589" y="763"/>
                    </a:lnTo>
                    <a:lnTo>
                      <a:pt x="589" y="763"/>
                    </a:lnTo>
                    <a:lnTo>
                      <a:pt x="584" y="763"/>
                    </a:lnTo>
                    <a:lnTo>
                      <a:pt x="584" y="763"/>
                    </a:lnTo>
                    <a:close/>
                    <a:moveTo>
                      <a:pt x="583" y="508"/>
                    </a:moveTo>
                    <a:lnTo>
                      <a:pt x="583" y="508"/>
                    </a:lnTo>
                    <a:lnTo>
                      <a:pt x="587" y="508"/>
                    </a:lnTo>
                    <a:lnTo>
                      <a:pt x="587" y="508"/>
                    </a:lnTo>
                    <a:lnTo>
                      <a:pt x="583" y="508"/>
                    </a:lnTo>
                    <a:close/>
                    <a:moveTo>
                      <a:pt x="581" y="498"/>
                    </a:moveTo>
                    <a:lnTo>
                      <a:pt x="413" y="498"/>
                    </a:lnTo>
                    <a:lnTo>
                      <a:pt x="413" y="498"/>
                    </a:lnTo>
                    <a:lnTo>
                      <a:pt x="408" y="498"/>
                    </a:lnTo>
                    <a:lnTo>
                      <a:pt x="393" y="498"/>
                    </a:lnTo>
                    <a:lnTo>
                      <a:pt x="393" y="498"/>
                    </a:lnTo>
                    <a:lnTo>
                      <a:pt x="403" y="498"/>
                    </a:lnTo>
                    <a:lnTo>
                      <a:pt x="497" y="498"/>
                    </a:lnTo>
                    <a:lnTo>
                      <a:pt x="497" y="476"/>
                    </a:lnTo>
                    <a:lnTo>
                      <a:pt x="497" y="476"/>
                    </a:lnTo>
                    <a:lnTo>
                      <a:pt x="497" y="498"/>
                    </a:lnTo>
                    <a:lnTo>
                      <a:pt x="591" y="498"/>
                    </a:lnTo>
                    <a:lnTo>
                      <a:pt x="591" y="498"/>
                    </a:lnTo>
                    <a:lnTo>
                      <a:pt x="600" y="498"/>
                    </a:lnTo>
                    <a:lnTo>
                      <a:pt x="600" y="498"/>
                    </a:lnTo>
                    <a:lnTo>
                      <a:pt x="586" y="498"/>
                    </a:lnTo>
                    <a:lnTo>
                      <a:pt x="581" y="498"/>
                    </a:lnTo>
                    <a:lnTo>
                      <a:pt x="581" y="498"/>
                    </a:lnTo>
                    <a:close/>
                    <a:moveTo>
                      <a:pt x="570" y="763"/>
                    </a:moveTo>
                    <a:lnTo>
                      <a:pt x="574" y="763"/>
                    </a:lnTo>
                    <a:lnTo>
                      <a:pt x="574" y="763"/>
                    </a:lnTo>
                    <a:lnTo>
                      <a:pt x="570" y="763"/>
                    </a:lnTo>
                    <a:lnTo>
                      <a:pt x="570" y="763"/>
                    </a:lnTo>
                    <a:close/>
                    <a:moveTo>
                      <a:pt x="567" y="508"/>
                    </a:moveTo>
                    <a:lnTo>
                      <a:pt x="567" y="508"/>
                    </a:lnTo>
                    <a:lnTo>
                      <a:pt x="571" y="508"/>
                    </a:lnTo>
                    <a:lnTo>
                      <a:pt x="571" y="508"/>
                    </a:lnTo>
                    <a:lnTo>
                      <a:pt x="567" y="508"/>
                    </a:lnTo>
                    <a:close/>
                    <a:moveTo>
                      <a:pt x="552" y="1126"/>
                    </a:moveTo>
                    <a:lnTo>
                      <a:pt x="552" y="1126"/>
                    </a:lnTo>
                    <a:lnTo>
                      <a:pt x="547" y="1126"/>
                    </a:lnTo>
                    <a:lnTo>
                      <a:pt x="547" y="1126"/>
                    </a:lnTo>
                    <a:lnTo>
                      <a:pt x="552" y="1126"/>
                    </a:lnTo>
                    <a:close/>
                    <a:moveTo>
                      <a:pt x="534" y="508"/>
                    </a:moveTo>
                    <a:lnTo>
                      <a:pt x="534" y="508"/>
                    </a:lnTo>
                    <a:lnTo>
                      <a:pt x="536" y="508"/>
                    </a:lnTo>
                    <a:lnTo>
                      <a:pt x="536" y="508"/>
                    </a:lnTo>
                    <a:lnTo>
                      <a:pt x="534" y="508"/>
                    </a:lnTo>
                    <a:close/>
                    <a:moveTo>
                      <a:pt x="534" y="1126"/>
                    </a:moveTo>
                    <a:lnTo>
                      <a:pt x="534" y="1126"/>
                    </a:lnTo>
                    <a:lnTo>
                      <a:pt x="529" y="1126"/>
                    </a:lnTo>
                    <a:lnTo>
                      <a:pt x="529" y="1126"/>
                    </a:lnTo>
                    <a:lnTo>
                      <a:pt x="534" y="1126"/>
                    </a:lnTo>
                    <a:close/>
                    <a:moveTo>
                      <a:pt x="535" y="763"/>
                    </a:moveTo>
                    <a:lnTo>
                      <a:pt x="539" y="763"/>
                    </a:lnTo>
                    <a:lnTo>
                      <a:pt x="539" y="763"/>
                    </a:lnTo>
                    <a:lnTo>
                      <a:pt x="535" y="763"/>
                    </a:lnTo>
                    <a:lnTo>
                      <a:pt x="535" y="763"/>
                    </a:lnTo>
                    <a:close/>
                    <a:moveTo>
                      <a:pt x="473" y="508"/>
                    </a:moveTo>
                    <a:lnTo>
                      <a:pt x="473" y="508"/>
                    </a:lnTo>
                    <a:lnTo>
                      <a:pt x="497" y="508"/>
                    </a:lnTo>
                    <a:lnTo>
                      <a:pt x="497" y="507"/>
                    </a:lnTo>
                    <a:lnTo>
                      <a:pt x="497" y="507"/>
                    </a:lnTo>
                    <a:lnTo>
                      <a:pt x="497" y="508"/>
                    </a:lnTo>
                    <a:lnTo>
                      <a:pt x="522" y="508"/>
                    </a:lnTo>
                    <a:lnTo>
                      <a:pt x="522" y="508"/>
                    </a:lnTo>
                    <a:lnTo>
                      <a:pt x="473" y="508"/>
                    </a:lnTo>
                    <a:close/>
                    <a:moveTo>
                      <a:pt x="499" y="673"/>
                    </a:moveTo>
                    <a:lnTo>
                      <a:pt x="499" y="676"/>
                    </a:lnTo>
                    <a:lnTo>
                      <a:pt x="499" y="676"/>
                    </a:lnTo>
                    <a:lnTo>
                      <a:pt x="499" y="673"/>
                    </a:lnTo>
                    <a:lnTo>
                      <a:pt x="499" y="673"/>
                    </a:lnTo>
                    <a:close/>
                    <a:moveTo>
                      <a:pt x="479" y="763"/>
                    </a:moveTo>
                    <a:lnTo>
                      <a:pt x="479" y="763"/>
                    </a:lnTo>
                    <a:lnTo>
                      <a:pt x="473" y="763"/>
                    </a:lnTo>
                    <a:lnTo>
                      <a:pt x="473" y="763"/>
                    </a:lnTo>
                    <a:lnTo>
                      <a:pt x="479" y="763"/>
                    </a:lnTo>
                    <a:close/>
                    <a:moveTo>
                      <a:pt x="519" y="763"/>
                    </a:moveTo>
                    <a:lnTo>
                      <a:pt x="525" y="763"/>
                    </a:lnTo>
                    <a:lnTo>
                      <a:pt x="525" y="763"/>
                    </a:lnTo>
                    <a:lnTo>
                      <a:pt x="519" y="763"/>
                    </a:lnTo>
                    <a:lnTo>
                      <a:pt x="519" y="763"/>
                    </a:lnTo>
                    <a:close/>
                    <a:moveTo>
                      <a:pt x="468" y="1126"/>
                    </a:moveTo>
                    <a:lnTo>
                      <a:pt x="468" y="1126"/>
                    </a:lnTo>
                    <a:lnTo>
                      <a:pt x="464" y="1126"/>
                    </a:lnTo>
                    <a:lnTo>
                      <a:pt x="464" y="1126"/>
                    </a:lnTo>
                    <a:lnTo>
                      <a:pt x="468" y="1126"/>
                    </a:lnTo>
                    <a:close/>
                    <a:moveTo>
                      <a:pt x="458" y="763"/>
                    </a:moveTo>
                    <a:lnTo>
                      <a:pt x="463" y="763"/>
                    </a:lnTo>
                    <a:lnTo>
                      <a:pt x="463" y="763"/>
                    </a:lnTo>
                    <a:lnTo>
                      <a:pt x="458" y="763"/>
                    </a:lnTo>
                    <a:lnTo>
                      <a:pt x="458" y="763"/>
                    </a:lnTo>
                    <a:close/>
                    <a:moveTo>
                      <a:pt x="457" y="508"/>
                    </a:moveTo>
                    <a:lnTo>
                      <a:pt x="457" y="508"/>
                    </a:lnTo>
                    <a:lnTo>
                      <a:pt x="461" y="508"/>
                    </a:lnTo>
                    <a:lnTo>
                      <a:pt x="461" y="508"/>
                    </a:lnTo>
                    <a:lnTo>
                      <a:pt x="457" y="508"/>
                    </a:lnTo>
                    <a:close/>
                    <a:moveTo>
                      <a:pt x="452" y="1126"/>
                    </a:moveTo>
                    <a:lnTo>
                      <a:pt x="452" y="1126"/>
                    </a:lnTo>
                    <a:lnTo>
                      <a:pt x="447" y="1126"/>
                    </a:lnTo>
                    <a:lnTo>
                      <a:pt x="447" y="1126"/>
                    </a:lnTo>
                    <a:lnTo>
                      <a:pt x="452" y="1126"/>
                    </a:lnTo>
                    <a:close/>
                    <a:moveTo>
                      <a:pt x="424" y="763"/>
                    </a:moveTo>
                    <a:lnTo>
                      <a:pt x="428" y="763"/>
                    </a:lnTo>
                    <a:lnTo>
                      <a:pt x="428" y="763"/>
                    </a:lnTo>
                    <a:lnTo>
                      <a:pt x="424" y="763"/>
                    </a:lnTo>
                    <a:lnTo>
                      <a:pt x="424" y="763"/>
                    </a:lnTo>
                    <a:close/>
                    <a:moveTo>
                      <a:pt x="424" y="508"/>
                    </a:moveTo>
                    <a:lnTo>
                      <a:pt x="424" y="508"/>
                    </a:lnTo>
                    <a:lnTo>
                      <a:pt x="426" y="508"/>
                    </a:lnTo>
                    <a:lnTo>
                      <a:pt x="426" y="508"/>
                    </a:lnTo>
                    <a:lnTo>
                      <a:pt x="424" y="508"/>
                    </a:lnTo>
                    <a:close/>
                    <a:moveTo>
                      <a:pt x="418" y="829"/>
                    </a:moveTo>
                    <a:lnTo>
                      <a:pt x="418" y="829"/>
                    </a:lnTo>
                    <a:lnTo>
                      <a:pt x="415" y="832"/>
                    </a:lnTo>
                    <a:lnTo>
                      <a:pt x="418" y="829"/>
                    </a:lnTo>
                    <a:lnTo>
                      <a:pt x="418" y="829"/>
                    </a:lnTo>
                    <a:close/>
                    <a:moveTo>
                      <a:pt x="408" y="763"/>
                    </a:moveTo>
                    <a:lnTo>
                      <a:pt x="412" y="763"/>
                    </a:lnTo>
                    <a:lnTo>
                      <a:pt x="412" y="763"/>
                    </a:lnTo>
                    <a:lnTo>
                      <a:pt x="408" y="763"/>
                    </a:lnTo>
                    <a:lnTo>
                      <a:pt x="408" y="763"/>
                    </a:lnTo>
                    <a:close/>
                    <a:moveTo>
                      <a:pt x="408" y="508"/>
                    </a:moveTo>
                    <a:lnTo>
                      <a:pt x="408" y="508"/>
                    </a:lnTo>
                    <a:lnTo>
                      <a:pt x="412" y="508"/>
                    </a:lnTo>
                    <a:lnTo>
                      <a:pt x="412" y="508"/>
                    </a:lnTo>
                    <a:lnTo>
                      <a:pt x="408" y="508"/>
                    </a:lnTo>
                    <a:close/>
                    <a:moveTo>
                      <a:pt x="360" y="663"/>
                    </a:moveTo>
                    <a:lnTo>
                      <a:pt x="360" y="663"/>
                    </a:lnTo>
                    <a:lnTo>
                      <a:pt x="369" y="667"/>
                    </a:lnTo>
                    <a:lnTo>
                      <a:pt x="369" y="667"/>
                    </a:lnTo>
                    <a:lnTo>
                      <a:pt x="377" y="670"/>
                    </a:lnTo>
                    <a:lnTo>
                      <a:pt x="387" y="672"/>
                    </a:lnTo>
                    <a:lnTo>
                      <a:pt x="400" y="673"/>
                    </a:lnTo>
                    <a:lnTo>
                      <a:pt x="400" y="673"/>
                    </a:lnTo>
                    <a:lnTo>
                      <a:pt x="392" y="673"/>
                    </a:lnTo>
                    <a:lnTo>
                      <a:pt x="382" y="672"/>
                    </a:lnTo>
                    <a:lnTo>
                      <a:pt x="371" y="669"/>
                    </a:lnTo>
                    <a:lnTo>
                      <a:pt x="360" y="663"/>
                    </a:lnTo>
                    <a:lnTo>
                      <a:pt x="360" y="663"/>
                    </a:lnTo>
                    <a:close/>
                    <a:moveTo>
                      <a:pt x="397" y="850"/>
                    </a:moveTo>
                    <a:lnTo>
                      <a:pt x="397" y="850"/>
                    </a:lnTo>
                    <a:lnTo>
                      <a:pt x="396" y="851"/>
                    </a:lnTo>
                    <a:lnTo>
                      <a:pt x="396" y="851"/>
                    </a:lnTo>
                    <a:lnTo>
                      <a:pt x="397" y="850"/>
                    </a:lnTo>
                    <a:lnTo>
                      <a:pt x="397" y="850"/>
                    </a:lnTo>
                    <a:close/>
                    <a:moveTo>
                      <a:pt x="395" y="852"/>
                    </a:moveTo>
                    <a:lnTo>
                      <a:pt x="395" y="852"/>
                    </a:lnTo>
                    <a:lnTo>
                      <a:pt x="383" y="861"/>
                    </a:lnTo>
                    <a:lnTo>
                      <a:pt x="383" y="861"/>
                    </a:lnTo>
                    <a:lnTo>
                      <a:pt x="395" y="852"/>
                    </a:lnTo>
                    <a:lnTo>
                      <a:pt x="395" y="852"/>
                    </a:lnTo>
                    <a:close/>
                    <a:moveTo>
                      <a:pt x="353" y="650"/>
                    </a:moveTo>
                    <a:lnTo>
                      <a:pt x="354" y="650"/>
                    </a:lnTo>
                    <a:lnTo>
                      <a:pt x="354" y="650"/>
                    </a:lnTo>
                    <a:lnTo>
                      <a:pt x="364" y="657"/>
                    </a:lnTo>
                    <a:lnTo>
                      <a:pt x="364" y="657"/>
                    </a:lnTo>
                    <a:lnTo>
                      <a:pt x="358" y="654"/>
                    </a:lnTo>
                    <a:lnTo>
                      <a:pt x="353" y="650"/>
                    </a:lnTo>
                    <a:lnTo>
                      <a:pt x="353" y="650"/>
                    </a:lnTo>
                    <a:close/>
                    <a:moveTo>
                      <a:pt x="354" y="450"/>
                    </a:moveTo>
                    <a:lnTo>
                      <a:pt x="354" y="446"/>
                    </a:lnTo>
                    <a:lnTo>
                      <a:pt x="356" y="446"/>
                    </a:lnTo>
                    <a:lnTo>
                      <a:pt x="356" y="450"/>
                    </a:lnTo>
                    <a:lnTo>
                      <a:pt x="354" y="450"/>
                    </a:lnTo>
                    <a:close/>
                    <a:moveTo>
                      <a:pt x="369" y="327"/>
                    </a:moveTo>
                    <a:lnTo>
                      <a:pt x="369" y="327"/>
                    </a:lnTo>
                    <a:lnTo>
                      <a:pt x="361" y="323"/>
                    </a:lnTo>
                    <a:lnTo>
                      <a:pt x="356" y="318"/>
                    </a:lnTo>
                    <a:lnTo>
                      <a:pt x="356" y="318"/>
                    </a:lnTo>
                    <a:lnTo>
                      <a:pt x="369" y="327"/>
                    </a:lnTo>
                    <a:lnTo>
                      <a:pt x="369" y="327"/>
                    </a:lnTo>
                    <a:close/>
                    <a:moveTo>
                      <a:pt x="356" y="291"/>
                    </a:moveTo>
                    <a:lnTo>
                      <a:pt x="356" y="290"/>
                    </a:lnTo>
                    <a:lnTo>
                      <a:pt x="356" y="290"/>
                    </a:lnTo>
                    <a:lnTo>
                      <a:pt x="356" y="290"/>
                    </a:lnTo>
                    <a:lnTo>
                      <a:pt x="357" y="292"/>
                    </a:lnTo>
                    <a:lnTo>
                      <a:pt x="357" y="292"/>
                    </a:lnTo>
                    <a:lnTo>
                      <a:pt x="356" y="291"/>
                    </a:lnTo>
                    <a:lnTo>
                      <a:pt x="356" y="291"/>
                    </a:lnTo>
                    <a:close/>
                    <a:moveTo>
                      <a:pt x="371" y="867"/>
                    </a:moveTo>
                    <a:lnTo>
                      <a:pt x="371" y="867"/>
                    </a:lnTo>
                    <a:lnTo>
                      <a:pt x="361" y="870"/>
                    </a:lnTo>
                    <a:lnTo>
                      <a:pt x="361" y="870"/>
                    </a:lnTo>
                    <a:lnTo>
                      <a:pt x="371" y="867"/>
                    </a:lnTo>
                    <a:lnTo>
                      <a:pt x="371" y="867"/>
                    </a:lnTo>
                    <a:close/>
                    <a:moveTo>
                      <a:pt x="386" y="619"/>
                    </a:moveTo>
                    <a:lnTo>
                      <a:pt x="386" y="624"/>
                    </a:lnTo>
                    <a:lnTo>
                      <a:pt x="386" y="624"/>
                    </a:lnTo>
                    <a:lnTo>
                      <a:pt x="386" y="619"/>
                    </a:lnTo>
                    <a:lnTo>
                      <a:pt x="386" y="619"/>
                    </a:lnTo>
                    <a:close/>
                    <a:moveTo>
                      <a:pt x="386" y="450"/>
                    </a:move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50"/>
                    </a:lnTo>
                    <a:lnTo>
                      <a:pt x="386" y="450"/>
                    </a:lnTo>
                    <a:close/>
                    <a:moveTo>
                      <a:pt x="408" y="336"/>
                    </a:moveTo>
                    <a:lnTo>
                      <a:pt x="408" y="336"/>
                    </a:lnTo>
                    <a:lnTo>
                      <a:pt x="408" y="336"/>
                    </a:lnTo>
                    <a:lnTo>
                      <a:pt x="409" y="336"/>
                    </a:lnTo>
                    <a:lnTo>
                      <a:pt x="412" y="336"/>
                    </a:lnTo>
                    <a:lnTo>
                      <a:pt x="412" y="336"/>
                    </a:lnTo>
                    <a:lnTo>
                      <a:pt x="408" y="336"/>
                    </a:lnTo>
                    <a:close/>
                    <a:moveTo>
                      <a:pt x="412" y="417"/>
                    </a:moveTo>
                    <a:lnTo>
                      <a:pt x="412" y="417"/>
                    </a:lnTo>
                    <a:lnTo>
                      <a:pt x="408" y="417"/>
                    </a:lnTo>
                    <a:lnTo>
                      <a:pt x="408" y="417"/>
                    </a:lnTo>
                    <a:lnTo>
                      <a:pt x="412" y="417"/>
                    </a:lnTo>
                    <a:close/>
                    <a:moveTo>
                      <a:pt x="406" y="326"/>
                    </a:moveTo>
                    <a:lnTo>
                      <a:pt x="413" y="326"/>
                    </a:lnTo>
                    <a:lnTo>
                      <a:pt x="413" y="326"/>
                    </a:lnTo>
                    <a:lnTo>
                      <a:pt x="406" y="326"/>
                    </a:lnTo>
                    <a:lnTo>
                      <a:pt x="406" y="326"/>
                    </a:lnTo>
                    <a:close/>
                    <a:moveTo>
                      <a:pt x="426" y="417"/>
                    </a:moveTo>
                    <a:lnTo>
                      <a:pt x="426" y="417"/>
                    </a:lnTo>
                    <a:lnTo>
                      <a:pt x="424" y="417"/>
                    </a:lnTo>
                    <a:lnTo>
                      <a:pt x="424" y="417"/>
                    </a:lnTo>
                    <a:lnTo>
                      <a:pt x="426" y="417"/>
                    </a:lnTo>
                    <a:close/>
                    <a:moveTo>
                      <a:pt x="424" y="336"/>
                    </a:moveTo>
                    <a:lnTo>
                      <a:pt x="424" y="336"/>
                    </a:lnTo>
                    <a:lnTo>
                      <a:pt x="426" y="336"/>
                    </a:lnTo>
                    <a:lnTo>
                      <a:pt x="426" y="336"/>
                    </a:lnTo>
                    <a:lnTo>
                      <a:pt x="424" y="336"/>
                    </a:lnTo>
                    <a:close/>
                    <a:moveTo>
                      <a:pt x="461" y="417"/>
                    </a:moveTo>
                    <a:lnTo>
                      <a:pt x="461" y="417"/>
                    </a:lnTo>
                    <a:lnTo>
                      <a:pt x="457" y="417"/>
                    </a:lnTo>
                    <a:lnTo>
                      <a:pt x="457" y="417"/>
                    </a:lnTo>
                    <a:lnTo>
                      <a:pt x="461" y="417"/>
                    </a:lnTo>
                    <a:close/>
                    <a:moveTo>
                      <a:pt x="457" y="336"/>
                    </a:moveTo>
                    <a:lnTo>
                      <a:pt x="457" y="336"/>
                    </a:lnTo>
                    <a:lnTo>
                      <a:pt x="461" y="336"/>
                    </a:lnTo>
                    <a:lnTo>
                      <a:pt x="461" y="336"/>
                    </a:lnTo>
                    <a:lnTo>
                      <a:pt x="457" y="336"/>
                    </a:lnTo>
                    <a:close/>
                    <a:moveTo>
                      <a:pt x="473" y="417"/>
                    </a:moveTo>
                    <a:lnTo>
                      <a:pt x="473" y="417"/>
                    </a:lnTo>
                    <a:lnTo>
                      <a:pt x="477" y="417"/>
                    </a:lnTo>
                    <a:lnTo>
                      <a:pt x="477" y="417"/>
                    </a:lnTo>
                    <a:lnTo>
                      <a:pt x="473" y="417"/>
                    </a:lnTo>
                    <a:close/>
                    <a:moveTo>
                      <a:pt x="516" y="417"/>
                    </a:moveTo>
                    <a:lnTo>
                      <a:pt x="516" y="417"/>
                    </a:lnTo>
                    <a:lnTo>
                      <a:pt x="522" y="417"/>
                    </a:lnTo>
                    <a:lnTo>
                      <a:pt x="522" y="417"/>
                    </a:lnTo>
                    <a:lnTo>
                      <a:pt x="516" y="417"/>
                    </a:lnTo>
                    <a:close/>
                    <a:moveTo>
                      <a:pt x="536" y="417"/>
                    </a:moveTo>
                    <a:lnTo>
                      <a:pt x="536" y="417"/>
                    </a:lnTo>
                    <a:lnTo>
                      <a:pt x="534" y="417"/>
                    </a:lnTo>
                    <a:lnTo>
                      <a:pt x="534" y="417"/>
                    </a:lnTo>
                    <a:lnTo>
                      <a:pt x="536" y="417"/>
                    </a:lnTo>
                    <a:close/>
                    <a:moveTo>
                      <a:pt x="534" y="336"/>
                    </a:moveTo>
                    <a:lnTo>
                      <a:pt x="534" y="336"/>
                    </a:lnTo>
                    <a:lnTo>
                      <a:pt x="536" y="336"/>
                    </a:lnTo>
                    <a:lnTo>
                      <a:pt x="536" y="336"/>
                    </a:lnTo>
                    <a:lnTo>
                      <a:pt x="534" y="336"/>
                    </a:lnTo>
                    <a:close/>
                    <a:moveTo>
                      <a:pt x="561" y="301"/>
                    </a:moveTo>
                    <a:lnTo>
                      <a:pt x="561" y="214"/>
                    </a:lnTo>
                    <a:lnTo>
                      <a:pt x="561" y="214"/>
                    </a:lnTo>
                    <a:lnTo>
                      <a:pt x="561" y="301"/>
                    </a:lnTo>
                    <a:lnTo>
                      <a:pt x="561" y="301"/>
                    </a:lnTo>
                    <a:close/>
                    <a:moveTo>
                      <a:pt x="571" y="417"/>
                    </a:moveTo>
                    <a:lnTo>
                      <a:pt x="571" y="417"/>
                    </a:lnTo>
                    <a:lnTo>
                      <a:pt x="567" y="417"/>
                    </a:lnTo>
                    <a:lnTo>
                      <a:pt x="567" y="417"/>
                    </a:lnTo>
                    <a:lnTo>
                      <a:pt x="571" y="417"/>
                    </a:lnTo>
                    <a:close/>
                    <a:moveTo>
                      <a:pt x="567" y="336"/>
                    </a:moveTo>
                    <a:lnTo>
                      <a:pt x="567" y="336"/>
                    </a:lnTo>
                    <a:lnTo>
                      <a:pt x="571" y="336"/>
                    </a:lnTo>
                    <a:lnTo>
                      <a:pt x="571" y="336"/>
                    </a:lnTo>
                    <a:lnTo>
                      <a:pt x="567" y="336"/>
                    </a:lnTo>
                    <a:close/>
                    <a:moveTo>
                      <a:pt x="583" y="336"/>
                    </a:moveTo>
                    <a:lnTo>
                      <a:pt x="583" y="336"/>
                    </a:lnTo>
                    <a:lnTo>
                      <a:pt x="586" y="336"/>
                    </a:lnTo>
                    <a:lnTo>
                      <a:pt x="586" y="336"/>
                    </a:lnTo>
                    <a:lnTo>
                      <a:pt x="587" y="336"/>
                    </a:lnTo>
                    <a:lnTo>
                      <a:pt x="587" y="336"/>
                    </a:lnTo>
                    <a:lnTo>
                      <a:pt x="583" y="336"/>
                    </a:lnTo>
                    <a:close/>
                    <a:moveTo>
                      <a:pt x="586" y="417"/>
                    </a:moveTo>
                    <a:lnTo>
                      <a:pt x="586" y="417"/>
                    </a:lnTo>
                    <a:lnTo>
                      <a:pt x="583" y="417"/>
                    </a:lnTo>
                    <a:lnTo>
                      <a:pt x="583" y="417"/>
                    </a:lnTo>
                    <a:lnTo>
                      <a:pt x="586" y="417"/>
                    </a:lnTo>
                    <a:close/>
                    <a:moveTo>
                      <a:pt x="581" y="326"/>
                    </a:moveTo>
                    <a:lnTo>
                      <a:pt x="589" y="326"/>
                    </a:lnTo>
                    <a:lnTo>
                      <a:pt x="589" y="326"/>
                    </a:lnTo>
                    <a:lnTo>
                      <a:pt x="581" y="326"/>
                    </a:lnTo>
                    <a:lnTo>
                      <a:pt x="581" y="326"/>
                    </a:lnTo>
                    <a:close/>
                    <a:moveTo>
                      <a:pt x="625" y="667"/>
                    </a:moveTo>
                    <a:lnTo>
                      <a:pt x="625" y="667"/>
                    </a:lnTo>
                    <a:lnTo>
                      <a:pt x="633" y="663"/>
                    </a:lnTo>
                    <a:lnTo>
                      <a:pt x="641" y="659"/>
                    </a:lnTo>
                    <a:lnTo>
                      <a:pt x="646" y="654"/>
                    </a:lnTo>
                    <a:lnTo>
                      <a:pt x="651" y="650"/>
                    </a:lnTo>
                    <a:lnTo>
                      <a:pt x="651" y="650"/>
                    </a:lnTo>
                    <a:lnTo>
                      <a:pt x="651" y="650"/>
                    </a:lnTo>
                    <a:lnTo>
                      <a:pt x="645" y="657"/>
                    </a:lnTo>
                    <a:lnTo>
                      <a:pt x="638" y="663"/>
                    </a:lnTo>
                    <a:lnTo>
                      <a:pt x="629" y="667"/>
                    </a:lnTo>
                    <a:lnTo>
                      <a:pt x="620" y="670"/>
                    </a:lnTo>
                    <a:lnTo>
                      <a:pt x="604" y="673"/>
                    </a:lnTo>
                    <a:lnTo>
                      <a:pt x="594" y="673"/>
                    </a:lnTo>
                    <a:lnTo>
                      <a:pt x="594" y="673"/>
                    </a:lnTo>
                    <a:lnTo>
                      <a:pt x="606" y="672"/>
                    </a:lnTo>
                    <a:lnTo>
                      <a:pt x="616" y="670"/>
                    </a:lnTo>
                    <a:lnTo>
                      <a:pt x="625" y="667"/>
                    </a:lnTo>
                    <a:lnTo>
                      <a:pt x="625" y="667"/>
                    </a:lnTo>
                    <a:close/>
                    <a:moveTo>
                      <a:pt x="610" y="624"/>
                    </a:moveTo>
                    <a:lnTo>
                      <a:pt x="610" y="619"/>
                    </a:lnTo>
                    <a:lnTo>
                      <a:pt x="610" y="619"/>
                    </a:lnTo>
                    <a:lnTo>
                      <a:pt x="610" y="624"/>
                    </a:lnTo>
                    <a:lnTo>
                      <a:pt x="610" y="624"/>
                    </a:lnTo>
                    <a:close/>
                    <a:moveTo>
                      <a:pt x="625" y="327"/>
                    </a:moveTo>
                    <a:lnTo>
                      <a:pt x="625" y="327"/>
                    </a:lnTo>
                    <a:lnTo>
                      <a:pt x="635" y="321"/>
                    </a:lnTo>
                    <a:lnTo>
                      <a:pt x="642" y="316"/>
                    </a:lnTo>
                    <a:lnTo>
                      <a:pt x="642" y="316"/>
                    </a:lnTo>
                    <a:lnTo>
                      <a:pt x="635" y="323"/>
                    </a:lnTo>
                    <a:lnTo>
                      <a:pt x="625" y="327"/>
                    </a:lnTo>
                    <a:lnTo>
                      <a:pt x="625" y="327"/>
                    </a:lnTo>
                    <a:close/>
                    <a:moveTo>
                      <a:pt x="623" y="327"/>
                    </a:moveTo>
                    <a:lnTo>
                      <a:pt x="623" y="327"/>
                    </a:lnTo>
                    <a:lnTo>
                      <a:pt x="612" y="330"/>
                    </a:lnTo>
                    <a:lnTo>
                      <a:pt x="612" y="330"/>
                    </a:lnTo>
                    <a:lnTo>
                      <a:pt x="623" y="327"/>
                    </a:lnTo>
                    <a:lnTo>
                      <a:pt x="623" y="327"/>
                    </a:lnTo>
                    <a:close/>
                    <a:moveTo>
                      <a:pt x="622" y="295"/>
                    </a:moveTo>
                    <a:lnTo>
                      <a:pt x="622" y="295"/>
                    </a:lnTo>
                    <a:lnTo>
                      <a:pt x="629" y="294"/>
                    </a:lnTo>
                    <a:lnTo>
                      <a:pt x="629" y="294"/>
                    </a:lnTo>
                    <a:lnTo>
                      <a:pt x="622" y="295"/>
                    </a:lnTo>
                    <a:lnTo>
                      <a:pt x="622" y="295"/>
                    </a:lnTo>
                    <a:close/>
                    <a:moveTo>
                      <a:pt x="622" y="340"/>
                    </a:moveTo>
                    <a:lnTo>
                      <a:pt x="622" y="342"/>
                    </a:lnTo>
                    <a:lnTo>
                      <a:pt x="620" y="342"/>
                    </a:lnTo>
                    <a:lnTo>
                      <a:pt x="620" y="340"/>
                    </a:lnTo>
                    <a:lnTo>
                      <a:pt x="622" y="340"/>
                    </a:lnTo>
                    <a:close/>
                    <a:moveTo>
                      <a:pt x="633" y="863"/>
                    </a:moveTo>
                    <a:lnTo>
                      <a:pt x="633" y="863"/>
                    </a:lnTo>
                    <a:lnTo>
                      <a:pt x="626" y="860"/>
                    </a:lnTo>
                    <a:lnTo>
                      <a:pt x="628" y="860"/>
                    </a:lnTo>
                    <a:lnTo>
                      <a:pt x="628" y="860"/>
                    </a:lnTo>
                    <a:lnTo>
                      <a:pt x="633" y="863"/>
                    </a:lnTo>
                    <a:lnTo>
                      <a:pt x="633" y="863"/>
                    </a:lnTo>
                    <a:close/>
                    <a:moveTo>
                      <a:pt x="651" y="926"/>
                    </a:moveTo>
                    <a:lnTo>
                      <a:pt x="651" y="929"/>
                    </a:lnTo>
                    <a:lnTo>
                      <a:pt x="649" y="929"/>
                    </a:lnTo>
                    <a:lnTo>
                      <a:pt x="649" y="926"/>
                    </a:lnTo>
                    <a:lnTo>
                      <a:pt x="651" y="926"/>
                    </a:lnTo>
                    <a:lnTo>
                      <a:pt x="651" y="926"/>
                    </a:lnTo>
                    <a:lnTo>
                      <a:pt x="651" y="926"/>
                    </a:lnTo>
                    <a:close/>
                    <a:moveTo>
                      <a:pt x="644" y="1126"/>
                    </a:moveTo>
                    <a:lnTo>
                      <a:pt x="662" y="1126"/>
                    </a:lnTo>
                    <a:lnTo>
                      <a:pt x="662" y="1122"/>
                    </a:lnTo>
                    <a:lnTo>
                      <a:pt x="662" y="1122"/>
                    </a:lnTo>
                    <a:lnTo>
                      <a:pt x="662" y="1126"/>
                    </a:lnTo>
                    <a:lnTo>
                      <a:pt x="644" y="1126"/>
                    </a:lnTo>
                    <a:lnTo>
                      <a:pt x="644" y="1126"/>
                    </a:lnTo>
                    <a:close/>
                    <a:moveTo>
                      <a:pt x="658" y="627"/>
                    </a:moveTo>
                    <a:lnTo>
                      <a:pt x="658" y="627"/>
                    </a:lnTo>
                    <a:lnTo>
                      <a:pt x="658" y="628"/>
                    </a:lnTo>
                    <a:lnTo>
                      <a:pt x="658" y="628"/>
                    </a:lnTo>
                    <a:lnTo>
                      <a:pt x="658" y="627"/>
                    </a:lnTo>
                    <a:lnTo>
                      <a:pt x="658" y="627"/>
                    </a:lnTo>
                    <a:close/>
                    <a:moveTo>
                      <a:pt x="657" y="619"/>
                    </a:moveTo>
                    <a:lnTo>
                      <a:pt x="657" y="619"/>
                    </a:lnTo>
                    <a:lnTo>
                      <a:pt x="657" y="619"/>
                    </a:lnTo>
                    <a:lnTo>
                      <a:pt x="657" y="619"/>
                    </a:lnTo>
                    <a:lnTo>
                      <a:pt x="657" y="619"/>
                    </a:lnTo>
                    <a:lnTo>
                      <a:pt x="657" y="619"/>
                    </a:lnTo>
                    <a:lnTo>
                      <a:pt x="657" y="619"/>
                    </a:lnTo>
                    <a:lnTo>
                      <a:pt x="657" y="619"/>
                    </a:lnTo>
                    <a:lnTo>
                      <a:pt x="654" y="624"/>
                    </a:lnTo>
                    <a:lnTo>
                      <a:pt x="645" y="624"/>
                    </a:lnTo>
                    <a:lnTo>
                      <a:pt x="645" y="619"/>
                    </a:lnTo>
                    <a:lnTo>
                      <a:pt x="657" y="619"/>
                    </a:lnTo>
                    <a:close/>
                    <a:moveTo>
                      <a:pt x="658" y="454"/>
                    </a:moveTo>
                    <a:lnTo>
                      <a:pt x="658" y="454"/>
                    </a:lnTo>
                    <a:lnTo>
                      <a:pt x="658" y="454"/>
                    </a:lnTo>
                    <a:lnTo>
                      <a:pt x="658" y="454"/>
                    </a:lnTo>
                    <a:lnTo>
                      <a:pt x="658" y="454"/>
                    </a:lnTo>
                    <a:close/>
                    <a:moveTo>
                      <a:pt x="659" y="446"/>
                    </a:moveTo>
                    <a:lnTo>
                      <a:pt x="659" y="450"/>
                    </a:lnTo>
                    <a:lnTo>
                      <a:pt x="658" y="450"/>
                    </a:lnTo>
                    <a:lnTo>
                      <a:pt x="658" y="450"/>
                    </a:lnTo>
                    <a:lnTo>
                      <a:pt x="657" y="446"/>
                    </a:lnTo>
                    <a:lnTo>
                      <a:pt x="659" y="446"/>
                    </a:lnTo>
                    <a:close/>
                    <a:moveTo>
                      <a:pt x="657" y="446"/>
                    </a:moveTo>
                    <a:lnTo>
                      <a:pt x="657" y="446"/>
                    </a:lnTo>
                    <a:lnTo>
                      <a:pt x="654" y="450"/>
                    </a:lnTo>
                    <a:lnTo>
                      <a:pt x="645" y="450"/>
                    </a:lnTo>
                    <a:lnTo>
                      <a:pt x="645" y="446"/>
                    </a:lnTo>
                    <a:lnTo>
                      <a:pt x="657" y="446"/>
                    </a:lnTo>
                    <a:close/>
                    <a:moveTo>
                      <a:pt x="581" y="136"/>
                    </a:moveTo>
                    <a:lnTo>
                      <a:pt x="581" y="136"/>
                    </a:lnTo>
                    <a:lnTo>
                      <a:pt x="576" y="139"/>
                    </a:lnTo>
                    <a:lnTo>
                      <a:pt x="576" y="139"/>
                    </a:lnTo>
                    <a:lnTo>
                      <a:pt x="581" y="136"/>
                    </a:lnTo>
                    <a:lnTo>
                      <a:pt x="581" y="136"/>
                    </a:lnTo>
                    <a:close/>
                    <a:moveTo>
                      <a:pt x="554" y="145"/>
                    </a:moveTo>
                    <a:lnTo>
                      <a:pt x="554" y="145"/>
                    </a:lnTo>
                    <a:lnTo>
                      <a:pt x="547" y="146"/>
                    </a:lnTo>
                    <a:lnTo>
                      <a:pt x="547" y="146"/>
                    </a:lnTo>
                    <a:lnTo>
                      <a:pt x="547" y="146"/>
                    </a:lnTo>
                    <a:lnTo>
                      <a:pt x="554" y="145"/>
                    </a:lnTo>
                    <a:lnTo>
                      <a:pt x="554" y="145"/>
                    </a:lnTo>
                    <a:close/>
                    <a:moveTo>
                      <a:pt x="516" y="210"/>
                    </a:moveTo>
                    <a:lnTo>
                      <a:pt x="665" y="210"/>
                    </a:lnTo>
                    <a:lnTo>
                      <a:pt x="665" y="210"/>
                    </a:lnTo>
                    <a:lnTo>
                      <a:pt x="667" y="210"/>
                    </a:lnTo>
                    <a:lnTo>
                      <a:pt x="516" y="210"/>
                    </a:lnTo>
                    <a:lnTo>
                      <a:pt x="516" y="210"/>
                    </a:lnTo>
                    <a:close/>
                    <a:moveTo>
                      <a:pt x="497" y="303"/>
                    </a:moveTo>
                    <a:lnTo>
                      <a:pt x="497" y="303"/>
                    </a:lnTo>
                    <a:lnTo>
                      <a:pt x="497" y="326"/>
                    </a:lnTo>
                    <a:lnTo>
                      <a:pt x="497" y="326"/>
                    </a:lnTo>
                    <a:lnTo>
                      <a:pt x="497" y="303"/>
                    </a:lnTo>
                    <a:close/>
                    <a:moveTo>
                      <a:pt x="497" y="336"/>
                    </a:moveTo>
                    <a:lnTo>
                      <a:pt x="497" y="333"/>
                    </a:lnTo>
                    <a:lnTo>
                      <a:pt x="497" y="333"/>
                    </a:lnTo>
                    <a:lnTo>
                      <a:pt x="497" y="336"/>
                    </a:lnTo>
                    <a:lnTo>
                      <a:pt x="522" y="336"/>
                    </a:lnTo>
                    <a:lnTo>
                      <a:pt x="522" y="336"/>
                    </a:lnTo>
                    <a:lnTo>
                      <a:pt x="473" y="336"/>
                    </a:lnTo>
                    <a:lnTo>
                      <a:pt x="473" y="336"/>
                    </a:lnTo>
                    <a:lnTo>
                      <a:pt x="497" y="336"/>
                    </a:lnTo>
                    <a:close/>
                    <a:moveTo>
                      <a:pt x="450" y="146"/>
                    </a:moveTo>
                    <a:lnTo>
                      <a:pt x="450" y="146"/>
                    </a:lnTo>
                    <a:lnTo>
                      <a:pt x="445" y="145"/>
                    </a:lnTo>
                    <a:lnTo>
                      <a:pt x="445" y="145"/>
                    </a:lnTo>
                    <a:lnTo>
                      <a:pt x="450" y="146"/>
                    </a:lnTo>
                    <a:lnTo>
                      <a:pt x="450" y="146"/>
                    </a:lnTo>
                    <a:close/>
                    <a:moveTo>
                      <a:pt x="439" y="152"/>
                    </a:moveTo>
                    <a:lnTo>
                      <a:pt x="439" y="152"/>
                    </a:lnTo>
                    <a:lnTo>
                      <a:pt x="439" y="152"/>
                    </a:lnTo>
                    <a:lnTo>
                      <a:pt x="438" y="152"/>
                    </a:lnTo>
                    <a:lnTo>
                      <a:pt x="438" y="152"/>
                    </a:lnTo>
                    <a:lnTo>
                      <a:pt x="439" y="152"/>
                    </a:lnTo>
                    <a:lnTo>
                      <a:pt x="439" y="152"/>
                    </a:lnTo>
                    <a:close/>
                    <a:moveTo>
                      <a:pt x="331" y="210"/>
                    </a:moveTo>
                    <a:lnTo>
                      <a:pt x="331" y="210"/>
                    </a:lnTo>
                    <a:lnTo>
                      <a:pt x="331" y="210"/>
                    </a:lnTo>
                    <a:lnTo>
                      <a:pt x="480" y="210"/>
                    </a:lnTo>
                    <a:lnTo>
                      <a:pt x="480" y="210"/>
                    </a:lnTo>
                    <a:lnTo>
                      <a:pt x="331" y="210"/>
                    </a:lnTo>
                    <a:close/>
                    <a:moveTo>
                      <a:pt x="340" y="450"/>
                    </a:moveTo>
                    <a:lnTo>
                      <a:pt x="340" y="450"/>
                    </a:lnTo>
                    <a:lnTo>
                      <a:pt x="337" y="446"/>
                    </a:lnTo>
                    <a:lnTo>
                      <a:pt x="350" y="446"/>
                    </a:lnTo>
                    <a:lnTo>
                      <a:pt x="350" y="450"/>
                    </a:lnTo>
                    <a:lnTo>
                      <a:pt x="340" y="450"/>
                    </a:lnTo>
                    <a:close/>
                    <a:moveTo>
                      <a:pt x="350" y="619"/>
                    </a:moveTo>
                    <a:lnTo>
                      <a:pt x="350" y="624"/>
                    </a:lnTo>
                    <a:lnTo>
                      <a:pt x="344" y="624"/>
                    </a:lnTo>
                    <a:lnTo>
                      <a:pt x="344" y="624"/>
                    </a:lnTo>
                    <a:lnTo>
                      <a:pt x="340" y="619"/>
                    </a:lnTo>
                    <a:lnTo>
                      <a:pt x="350" y="619"/>
                    </a:lnTo>
                    <a:close/>
                    <a:moveTo>
                      <a:pt x="340" y="633"/>
                    </a:moveTo>
                    <a:lnTo>
                      <a:pt x="340" y="631"/>
                    </a:lnTo>
                    <a:lnTo>
                      <a:pt x="340" y="631"/>
                    </a:lnTo>
                    <a:lnTo>
                      <a:pt x="340" y="631"/>
                    </a:lnTo>
                    <a:lnTo>
                      <a:pt x="340" y="633"/>
                    </a:lnTo>
                    <a:lnTo>
                      <a:pt x="340" y="633"/>
                    </a:lnTo>
                    <a:lnTo>
                      <a:pt x="340" y="633"/>
                    </a:lnTo>
                    <a:lnTo>
                      <a:pt x="340" y="633"/>
                    </a:lnTo>
                    <a:close/>
                    <a:moveTo>
                      <a:pt x="371" y="897"/>
                    </a:moveTo>
                    <a:lnTo>
                      <a:pt x="364" y="897"/>
                    </a:lnTo>
                    <a:lnTo>
                      <a:pt x="364" y="906"/>
                    </a:lnTo>
                    <a:lnTo>
                      <a:pt x="386" y="906"/>
                    </a:lnTo>
                    <a:lnTo>
                      <a:pt x="361" y="906"/>
                    </a:lnTo>
                    <a:lnTo>
                      <a:pt x="361" y="906"/>
                    </a:lnTo>
                    <a:lnTo>
                      <a:pt x="347" y="906"/>
                    </a:lnTo>
                    <a:lnTo>
                      <a:pt x="347" y="906"/>
                    </a:lnTo>
                    <a:lnTo>
                      <a:pt x="364" y="906"/>
                    </a:lnTo>
                    <a:lnTo>
                      <a:pt x="364" y="897"/>
                    </a:lnTo>
                    <a:lnTo>
                      <a:pt x="364" y="897"/>
                    </a:lnTo>
                    <a:lnTo>
                      <a:pt x="354" y="897"/>
                    </a:lnTo>
                    <a:lnTo>
                      <a:pt x="344" y="896"/>
                    </a:lnTo>
                    <a:lnTo>
                      <a:pt x="331" y="893"/>
                    </a:lnTo>
                    <a:lnTo>
                      <a:pt x="331" y="893"/>
                    </a:lnTo>
                    <a:lnTo>
                      <a:pt x="350" y="896"/>
                    </a:lnTo>
                    <a:lnTo>
                      <a:pt x="371" y="897"/>
                    </a:lnTo>
                    <a:lnTo>
                      <a:pt x="371" y="897"/>
                    </a:lnTo>
                    <a:close/>
                    <a:moveTo>
                      <a:pt x="371" y="1126"/>
                    </a:moveTo>
                    <a:lnTo>
                      <a:pt x="371" y="1126"/>
                    </a:lnTo>
                    <a:lnTo>
                      <a:pt x="369" y="1126"/>
                    </a:lnTo>
                    <a:lnTo>
                      <a:pt x="369" y="1126"/>
                    </a:lnTo>
                    <a:lnTo>
                      <a:pt x="371" y="1126"/>
                    </a:lnTo>
                    <a:close/>
                    <a:moveTo>
                      <a:pt x="356" y="1126"/>
                    </a:moveTo>
                    <a:lnTo>
                      <a:pt x="356" y="1126"/>
                    </a:lnTo>
                    <a:lnTo>
                      <a:pt x="337" y="1126"/>
                    </a:lnTo>
                    <a:lnTo>
                      <a:pt x="337" y="1126"/>
                    </a:lnTo>
                    <a:lnTo>
                      <a:pt x="356" y="1126"/>
                    </a:lnTo>
                    <a:close/>
                    <a:moveTo>
                      <a:pt x="312" y="871"/>
                    </a:moveTo>
                    <a:lnTo>
                      <a:pt x="312" y="871"/>
                    </a:lnTo>
                    <a:lnTo>
                      <a:pt x="315" y="871"/>
                    </a:lnTo>
                    <a:lnTo>
                      <a:pt x="315" y="871"/>
                    </a:lnTo>
                    <a:lnTo>
                      <a:pt x="312" y="871"/>
                    </a:lnTo>
                    <a:lnTo>
                      <a:pt x="312" y="871"/>
                    </a:lnTo>
                    <a:close/>
                    <a:moveTo>
                      <a:pt x="302" y="867"/>
                    </a:moveTo>
                    <a:lnTo>
                      <a:pt x="302" y="867"/>
                    </a:lnTo>
                    <a:lnTo>
                      <a:pt x="305" y="868"/>
                    </a:lnTo>
                    <a:lnTo>
                      <a:pt x="305" y="868"/>
                    </a:lnTo>
                    <a:lnTo>
                      <a:pt x="302" y="867"/>
                    </a:lnTo>
                    <a:lnTo>
                      <a:pt x="302" y="867"/>
                    </a:lnTo>
                    <a:close/>
                    <a:moveTo>
                      <a:pt x="301" y="1129"/>
                    </a:moveTo>
                    <a:lnTo>
                      <a:pt x="301" y="1129"/>
                    </a:lnTo>
                    <a:lnTo>
                      <a:pt x="295" y="1133"/>
                    </a:lnTo>
                    <a:lnTo>
                      <a:pt x="295" y="1133"/>
                    </a:lnTo>
                    <a:lnTo>
                      <a:pt x="301" y="1129"/>
                    </a:lnTo>
                    <a:close/>
                    <a:moveTo>
                      <a:pt x="327" y="874"/>
                    </a:moveTo>
                    <a:lnTo>
                      <a:pt x="327" y="874"/>
                    </a:lnTo>
                    <a:lnTo>
                      <a:pt x="322" y="873"/>
                    </a:lnTo>
                    <a:lnTo>
                      <a:pt x="322" y="873"/>
                    </a:lnTo>
                    <a:lnTo>
                      <a:pt x="327" y="874"/>
                    </a:lnTo>
                    <a:lnTo>
                      <a:pt x="327" y="874"/>
                    </a:lnTo>
                    <a:close/>
                    <a:moveTo>
                      <a:pt x="267" y="921"/>
                    </a:moveTo>
                    <a:lnTo>
                      <a:pt x="266" y="921"/>
                    </a:lnTo>
                    <a:lnTo>
                      <a:pt x="266" y="921"/>
                    </a:lnTo>
                    <a:lnTo>
                      <a:pt x="254" y="919"/>
                    </a:lnTo>
                    <a:lnTo>
                      <a:pt x="254" y="919"/>
                    </a:lnTo>
                    <a:lnTo>
                      <a:pt x="267" y="921"/>
                    </a:lnTo>
                    <a:lnTo>
                      <a:pt x="267" y="921"/>
                    </a:lnTo>
                    <a:close/>
                    <a:moveTo>
                      <a:pt x="244" y="1168"/>
                    </a:moveTo>
                    <a:lnTo>
                      <a:pt x="244" y="1174"/>
                    </a:lnTo>
                    <a:lnTo>
                      <a:pt x="244" y="1174"/>
                    </a:lnTo>
                    <a:lnTo>
                      <a:pt x="244" y="1168"/>
                    </a:lnTo>
                    <a:lnTo>
                      <a:pt x="230" y="1175"/>
                    </a:lnTo>
                    <a:lnTo>
                      <a:pt x="244" y="1168"/>
                    </a:lnTo>
                    <a:close/>
                    <a:moveTo>
                      <a:pt x="176" y="1206"/>
                    </a:moveTo>
                    <a:lnTo>
                      <a:pt x="176" y="1206"/>
                    </a:lnTo>
                    <a:lnTo>
                      <a:pt x="176" y="1213"/>
                    </a:lnTo>
                    <a:lnTo>
                      <a:pt x="176" y="1213"/>
                    </a:lnTo>
                    <a:lnTo>
                      <a:pt x="176" y="1206"/>
                    </a:lnTo>
                    <a:close/>
                    <a:moveTo>
                      <a:pt x="195" y="1253"/>
                    </a:moveTo>
                    <a:lnTo>
                      <a:pt x="154" y="1253"/>
                    </a:lnTo>
                    <a:lnTo>
                      <a:pt x="157" y="1252"/>
                    </a:lnTo>
                    <a:lnTo>
                      <a:pt x="195" y="1252"/>
                    </a:lnTo>
                    <a:lnTo>
                      <a:pt x="195" y="1253"/>
                    </a:lnTo>
                    <a:close/>
                    <a:moveTo>
                      <a:pt x="195" y="1243"/>
                    </a:moveTo>
                    <a:lnTo>
                      <a:pt x="172" y="1243"/>
                    </a:lnTo>
                    <a:lnTo>
                      <a:pt x="195" y="1230"/>
                    </a:lnTo>
                    <a:lnTo>
                      <a:pt x="195" y="1243"/>
                    </a:lnTo>
                    <a:close/>
                    <a:moveTo>
                      <a:pt x="293" y="1253"/>
                    </a:moveTo>
                    <a:lnTo>
                      <a:pt x="206" y="1253"/>
                    </a:lnTo>
                    <a:lnTo>
                      <a:pt x="206" y="1252"/>
                    </a:lnTo>
                    <a:lnTo>
                      <a:pt x="293" y="1252"/>
                    </a:lnTo>
                    <a:lnTo>
                      <a:pt x="293" y="1253"/>
                    </a:lnTo>
                    <a:close/>
                    <a:moveTo>
                      <a:pt x="392" y="1253"/>
                    </a:moveTo>
                    <a:lnTo>
                      <a:pt x="305" y="1253"/>
                    </a:lnTo>
                    <a:lnTo>
                      <a:pt x="305" y="1252"/>
                    </a:lnTo>
                    <a:lnTo>
                      <a:pt x="392" y="1252"/>
                    </a:lnTo>
                    <a:lnTo>
                      <a:pt x="392" y="1253"/>
                    </a:lnTo>
                    <a:close/>
                    <a:moveTo>
                      <a:pt x="494" y="1253"/>
                    </a:moveTo>
                    <a:lnTo>
                      <a:pt x="402" y="1253"/>
                    </a:lnTo>
                    <a:lnTo>
                      <a:pt x="402" y="1252"/>
                    </a:lnTo>
                    <a:lnTo>
                      <a:pt x="494" y="1252"/>
                    </a:lnTo>
                    <a:lnTo>
                      <a:pt x="494" y="1253"/>
                    </a:lnTo>
                    <a:close/>
                    <a:moveTo>
                      <a:pt x="597" y="1253"/>
                    </a:moveTo>
                    <a:lnTo>
                      <a:pt x="506" y="1253"/>
                    </a:lnTo>
                    <a:lnTo>
                      <a:pt x="506" y="1258"/>
                    </a:lnTo>
                    <a:lnTo>
                      <a:pt x="506" y="1258"/>
                    </a:lnTo>
                    <a:lnTo>
                      <a:pt x="506" y="1252"/>
                    </a:lnTo>
                    <a:lnTo>
                      <a:pt x="597" y="1252"/>
                    </a:lnTo>
                    <a:lnTo>
                      <a:pt x="597" y="1253"/>
                    </a:lnTo>
                    <a:close/>
                    <a:moveTo>
                      <a:pt x="696" y="1253"/>
                    </a:moveTo>
                    <a:lnTo>
                      <a:pt x="609" y="1253"/>
                    </a:lnTo>
                    <a:lnTo>
                      <a:pt x="609" y="1252"/>
                    </a:lnTo>
                    <a:lnTo>
                      <a:pt x="696" y="1252"/>
                    </a:lnTo>
                    <a:lnTo>
                      <a:pt x="696" y="1253"/>
                    </a:lnTo>
                    <a:close/>
                    <a:moveTo>
                      <a:pt x="794" y="1253"/>
                    </a:moveTo>
                    <a:lnTo>
                      <a:pt x="706" y="1253"/>
                    </a:lnTo>
                    <a:lnTo>
                      <a:pt x="706" y="1252"/>
                    </a:lnTo>
                    <a:lnTo>
                      <a:pt x="794" y="1252"/>
                    </a:lnTo>
                    <a:lnTo>
                      <a:pt x="794" y="1253"/>
                    </a:lnTo>
                    <a:close/>
                    <a:moveTo>
                      <a:pt x="794" y="1243"/>
                    </a:moveTo>
                    <a:lnTo>
                      <a:pt x="706" y="1243"/>
                    </a:lnTo>
                    <a:lnTo>
                      <a:pt x="706" y="1220"/>
                    </a:lnTo>
                    <a:lnTo>
                      <a:pt x="696" y="1220"/>
                    </a:lnTo>
                    <a:lnTo>
                      <a:pt x="696" y="1243"/>
                    </a:lnTo>
                    <a:lnTo>
                      <a:pt x="609" y="1243"/>
                    </a:lnTo>
                    <a:lnTo>
                      <a:pt x="609" y="1220"/>
                    </a:lnTo>
                    <a:lnTo>
                      <a:pt x="597" y="1220"/>
                    </a:lnTo>
                    <a:lnTo>
                      <a:pt x="597" y="1243"/>
                    </a:lnTo>
                    <a:lnTo>
                      <a:pt x="506" y="1243"/>
                    </a:lnTo>
                    <a:lnTo>
                      <a:pt x="506" y="1223"/>
                    </a:lnTo>
                    <a:lnTo>
                      <a:pt x="494" y="1223"/>
                    </a:lnTo>
                    <a:lnTo>
                      <a:pt x="494" y="1243"/>
                    </a:lnTo>
                    <a:lnTo>
                      <a:pt x="402" y="1243"/>
                    </a:lnTo>
                    <a:lnTo>
                      <a:pt x="402" y="1220"/>
                    </a:lnTo>
                    <a:lnTo>
                      <a:pt x="392" y="1220"/>
                    </a:lnTo>
                    <a:lnTo>
                      <a:pt x="392" y="1243"/>
                    </a:lnTo>
                    <a:lnTo>
                      <a:pt x="305" y="1243"/>
                    </a:lnTo>
                    <a:lnTo>
                      <a:pt x="305" y="1220"/>
                    </a:lnTo>
                    <a:lnTo>
                      <a:pt x="293" y="1220"/>
                    </a:lnTo>
                    <a:lnTo>
                      <a:pt x="293" y="1243"/>
                    </a:lnTo>
                    <a:lnTo>
                      <a:pt x="206" y="1243"/>
                    </a:lnTo>
                    <a:lnTo>
                      <a:pt x="206" y="1223"/>
                    </a:lnTo>
                    <a:lnTo>
                      <a:pt x="328" y="1155"/>
                    </a:lnTo>
                    <a:lnTo>
                      <a:pt x="672" y="1155"/>
                    </a:lnTo>
                    <a:lnTo>
                      <a:pt x="794" y="1223"/>
                    </a:lnTo>
                    <a:lnTo>
                      <a:pt x="794" y="1243"/>
                    </a:lnTo>
                    <a:close/>
                    <a:moveTo>
                      <a:pt x="804" y="1253"/>
                    </a:moveTo>
                    <a:lnTo>
                      <a:pt x="804" y="1252"/>
                    </a:lnTo>
                    <a:lnTo>
                      <a:pt x="843" y="1252"/>
                    </a:lnTo>
                    <a:lnTo>
                      <a:pt x="846" y="1253"/>
                    </a:lnTo>
                    <a:lnTo>
                      <a:pt x="804" y="1253"/>
                    </a:lnTo>
                    <a:close/>
                    <a:moveTo>
                      <a:pt x="891" y="1253"/>
                    </a:moveTo>
                    <a:lnTo>
                      <a:pt x="888" y="1253"/>
                    </a:lnTo>
                    <a:lnTo>
                      <a:pt x="888" y="1252"/>
                    </a:lnTo>
                    <a:lnTo>
                      <a:pt x="891" y="1252"/>
                    </a:lnTo>
                    <a:lnTo>
                      <a:pt x="891" y="1253"/>
                    </a:lnTo>
                    <a:close/>
                    <a:moveTo>
                      <a:pt x="989" y="1253"/>
                    </a:moveTo>
                    <a:lnTo>
                      <a:pt x="903" y="1253"/>
                    </a:lnTo>
                    <a:lnTo>
                      <a:pt x="903" y="1252"/>
                    </a:lnTo>
                    <a:lnTo>
                      <a:pt x="989" y="1252"/>
                    </a:lnTo>
                    <a:lnTo>
                      <a:pt x="989" y="1253"/>
                    </a:lnTo>
                    <a:close/>
                    <a:moveTo>
                      <a:pt x="273" y="184"/>
                    </a:moveTo>
                    <a:lnTo>
                      <a:pt x="273" y="184"/>
                    </a:lnTo>
                    <a:lnTo>
                      <a:pt x="273" y="180"/>
                    </a:lnTo>
                    <a:lnTo>
                      <a:pt x="273" y="180"/>
                    </a:lnTo>
                    <a:lnTo>
                      <a:pt x="273" y="184"/>
                    </a:lnTo>
                    <a:lnTo>
                      <a:pt x="273" y="184"/>
                    </a:lnTo>
                    <a:close/>
                    <a:moveTo>
                      <a:pt x="499" y="15"/>
                    </a:moveTo>
                    <a:lnTo>
                      <a:pt x="499" y="15"/>
                    </a:lnTo>
                    <a:lnTo>
                      <a:pt x="502" y="15"/>
                    </a:lnTo>
                    <a:lnTo>
                      <a:pt x="505" y="12"/>
                    </a:lnTo>
                    <a:lnTo>
                      <a:pt x="507" y="10"/>
                    </a:lnTo>
                    <a:lnTo>
                      <a:pt x="507" y="7"/>
                    </a:lnTo>
                    <a:lnTo>
                      <a:pt x="507" y="7"/>
                    </a:lnTo>
                    <a:lnTo>
                      <a:pt x="507" y="4"/>
                    </a:lnTo>
                    <a:lnTo>
                      <a:pt x="505" y="2"/>
                    </a:lnTo>
                    <a:lnTo>
                      <a:pt x="502" y="0"/>
                    </a:lnTo>
                    <a:lnTo>
                      <a:pt x="499" y="0"/>
                    </a:lnTo>
                    <a:lnTo>
                      <a:pt x="499" y="0"/>
                    </a:lnTo>
                    <a:lnTo>
                      <a:pt x="494" y="0"/>
                    </a:lnTo>
                    <a:lnTo>
                      <a:pt x="492" y="2"/>
                    </a:lnTo>
                    <a:lnTo>
                      <a:pt x="490" y="4"/>
                    </a:lnTo>
                    <a:lnTo>
                      <a:pt x="490" y="7"/>
                    </a:lnTo>
                    <a:lnTo>
                      <a:pt x="490" y="7"/>
                    </a:lnTo>
                    <a:lnTo>
                      <a:pt x="490" y="10"/>
                    </a:lnTo>
                    <a:lnTo>
                      <a:pt x="492" y="12"/>
                    </a:lnTo>
                    <a:lnTo>
                      <a:pt x="494" y="15"/>
                    </a:lnTo>
                    <a:lnTo>
                      <a:pt x="499" y="15"/>
                    </a:lnTo>
                    <a:lnTo>
                      <a:pt x="499" y="15"/>
                    </a:lnTo>
                    <a:close/>
                    <a:moveTo>
                      <a:pt x="499" y="43"/>
                    </a:moveTo>
                    <a:lnTo>
                      <a:pt x="499" y="43"/>
                    </a:lnTo>
                    <a:lnTo>
                      <a:pt x="503" y="42"/>
                    </a:lnTo>
                    <a:lnTo>
                      <a:pt x="506" y="41"/>
                    </a:lnTo>
                    <a:lnTo>
                      <a:pt x="509" y="36"/>
                    </a:lnTo>
                    <a:lnTo>
                      <a:pt x="509" y="33"/>
                    </a:lnTo>
                    <a:lnTo>
                      <a:pt x="509" y="33"/>
                    </a:lnTo>
                    <a:lnTo>
                      <a:pt x="509" y="29"/>
                    </a:lnTo>
                    <a:lnTo>
                      <a:pt x="506" y="26"/>
                    </a:lnTo>
                    <a:lnTo>
                      <a:pt x="503" y="25"/>
                    </a:lnTo>
                    <a:lnTo>
                      <a:pt x="499" y="23"/>
                    </a:lnTo>
                    <a:lnTo>
                      <a:pt x="499" y="23"/>
                    </a:lnTo>
                    <a:lnTo>
                      <a:pt x="494" y="25"/>
                    </a:lnTo>
                    <a:lnTo>
                      <a:pt x="492" y="26"/>
                    </a:lnTo>
                    <a:lnTo>
                      <a:pt x="489" y="29"/>
                    </a:lnTo>
                    <a:lnTo>
                      <a:pt x="487" y="33"/>
                    </a:lnTo>
                    <a:lnTo>
                      <a:pt x="487" y="33"/>
                    </a:lnTo>
                    <a:lnTo>
                      <a:pt x="489" y="36"/>
                    </a:lnTo>
                    <a:lnTo>
                      <a:pt x="492" y="41"/>
                    </a:lnTo>
                    <a:lnTo>
                      <a:pt x="494" y="42"/>
                    </a:lnTo>
                    <a:lnTo>
                      <a:pt x="499" y="43"/>
                    </a:lnTo>
                    <a:lnTo>
                      <a:pt x="499" y="43"/>
                    </a:lnTo>
                    <a:close/>
                    <a:moveTo>
                      <a:pt x="499" y="80"/>
                    </a:moveTo>
                    <a:lnTo>
                      <a:pt x="499" y="80"/>
                    </a:lnTo>
                    <a:lnTo>
                      <a:pt x="506" y="80"/>
                    </a:lnTo>
                    <a:lnTo>
                      <a:pt x="512" y="77"/>
                    </a:lnTo>
                    <a:lnTo>
                      <a:pt x="516" y="71"/>
                    </a:lnTo>
                    <a:lnTo>
                      <a:pt x="518" y="67"/>
                    </a:lnTo>
                    <a:lnTo>
                      <a:pt x="518" y="67"/>
                    </a:lnTo>
                    <a:lnTo>
                      <a:pt x="516" y="61"/>
                    </a:lnTo>
                    <a:lnTo>
                      <a:pt x="512" y="56"/>
                    </a:lnTo>
                    <a:lnTo>
                      <a:pt x="506" y="54"/>
                    </a:lnTo>
                    <a:lnTo>
                      <a:pt x="499" y="52"/>
                    </a:lnTo>
                    <a:lnTo>
                      <a:pt x="499" y="52"/>
                    </a:lnTo>
                    <a:lnTo>
                      <a:pt x="492" y="54"/>
                    </a:lnTo>
                    <a:lnTo>
                      <a:pt x="486" y="56"/>
                    </a:lnTo>
                    <a:lnTo>
                      <a:pt x="481" y="61"/>
                    </a:lnTo>
                    <a:lnTo>
                      <a:pt x="480" y="67"/>
                    </a:lnTo>
                    <a:lnTo>
                      <a:pt x="480" y="67"/>
                    </a:lnTo>
                    <a:lnTo>
                      <a:pt x="481" y="71"/>
                    </a:lnTo>
                    <a:lnTo>
                      <a:pt x="486" y="77"/>
                    </a:lnTo>
                    <a:lnTo>
                      <a:pt x="492" y="80"/>
                    </a:lnTo>
                    <a:lnTo>
                      <a:pt x="499" y="80"/>
                    </a:lnTo>
                    <a:lnTo>
                      <a:pt x="499" y="80"/>
                    </a:lnTo>
                    <a:close/>
                  </a:path>
                </a:pathLst>
              </a:custGeom>
              <a:solidFill>
                <a:srgbClr val="00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7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16" name="组合 215">
              <a:extLst>
                <a:ext uri="{FF2B5EF4-FFF2-40B4-BE49-F238E27FC236}">
                  <a16:creationId xmlns="" xmlns:a16="http://schemas.microsoft.com/office/drawing/2014/main" id="{2C678701-BB30-4270-9F9B-6A72B561CE46}"/>
                </a:ext>
              </a:extLst>
            </p:cNvPr>
            <p:cNvGrpSpPr/>
            <p:nvPr/>
          </p:nvGrpSpPr>
          <p:grpSpPr>
            <a:xfrm>
              <a:off x="8377781" y="1506326"/>
              <a:ext cx="2102587" cy="684630"/>
              <a:chOff x="8861183" y="1309595"/>
              <a:chExt cx="2103393" cy="684892"/>
            </a:xfrm>
          </p:grpSpPr>
          <p:pic>
            <p:nvPicPr>
              <p:cNvPr id="217" name="Picture 2" descr="C:\Users\Administrator\Documents\Tencent Files\415628334\FileRecv\11.png">
                <a:extLst>
                  <a:ext uri="{FF2B5EF4-FFF2-40B4-BE49-F238E27FC236}">
                    <a16:creationId xmlns="" xmlns:a16="http://schemas.microsoft.com/office/drawing/2014/main" id="{27C140AA-9BC2-4AB4-A00A-0EE91A908A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l="12645" t="13780" r="13005" b="5742"/>
              <a:stretch>
                <a:fillRect/>
              </a:stretch>
            </p:blipFill>
            <p:spPr bwMode="auto">
              <a:xfrm>
                <a:off x="8861183" y="1309595"/>
                <a:ext cx="711233" cy="6848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218" name="组合 3">
                <a:extLst>
                  <a:ext uri="{FF2B5EF4-FFF2-40B4-BE49-F238E27FC236}">
                    <a16:creationId xmlns="" xmlns:a16="http://schemas.microsoft.com/office/drawing/2014/main" id="{69366F93-CB68-4792-BB75-A640FFE29BEA}"/>
                  </a:ext>
                </a:extLst>
              </p:cNvPr>
              <p:cNvGrpSpPr/>
              <p:nvPr/>
            </p:nvGrpSpPr>
            <p:grpSpPr>
              <a:xfrm>
                <a:off x="8998646" y="1448762"/>
                <a:ext cx="1965930" cy="406558"/>
                <a:chOff x="8998646" y="1448762"/>
                <a:chExt cx="1965930" cy="406558"/>
              </a:xfrm>
            </p:grpSpPr>
            <p:sp>
              <p:nvSpPr>
                <p:cNvPr id="219" name="矩形 218">
                  <a:extLst>
                    <a:ext uri="{FF2B5EF4-FFF2-40B4-BE49-F238E27FC236}">
                      <a16:creationId xmlns="" xmlns:a16="http://schemas.microsoft.com/office/drawing/2014/main" id="{F129DAAC-CF69-4E2B-ACA1-D5E30464CF35}"/>
                    </a:ext>
                  </a:extLst>
                </p:cNvPr>
                <p:cNvSpPr/>
                <p:nvPr/>
              </p:nvSpPr>
              <p:spPr>
                <a:xfrm>
                  <a:off x="9529355" y="1532669"/>
                  <a:ext cx="1435221" cy="315316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fontAlgn="ctr"/>
                  <a:r>
                    <a:rPr lang="en-US" sz="1000" b="1" dirty="0" smtClean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panose="020B0604020202020204" pitchFamily="34" charset="0"/>
                    </a:rPr>
                    <a:t>Facial recognition</a:t>
                  </a:r>
                  <a:endParaRPr lang="en-US" sz="1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220" name="组合 164">
                  <a:extLst>
                    <a:ext uri="{FF2B5EF4-FFF2-40B4-BE49-F238E27FC236}">
                      <a16:creationId xmlns="" xmlns:a16="http://schemas.microsoft.com/office/drawing/2014/main" id="{3D8CC73D-BAF5-437C-A317-7F70AC86C6F6}"/>
                    </a:ext>
                  </a:extLst>
                </p:cNvPr>
                <p:cNvGrpSpPr/>
                <p:nvPr/>
              </p:nvGrpSpPr>
              <p:grpSpPr>
                <a:xfrm>
                  <a:off x="8998646" y="1448762"/>
                  <a:ext cx="431513" cy="406558"/>
                  <a:chOff x="10264776" y="-4470400"/>
                  <a:chExt cx="3294063" cy="3103563"/>
                </a:xfrm>
                <a:solidFill>
                  <a:srgbClr val="00FFFF"/>
                </a:solidFill>
              </p:grpSpPr>
              <p:sp>
                <p:nvSpPr>
                  <p:cNvPr id="221" name="Freeform 14">
                    <a:extLst>
                      <a:ext uri="{FF2B5EF4-FFF2-40B4-BE49-F238E27FC236}">
                        <a16:creationId xmlns="" xmlns:a16="http://schemas.microsoft.com/office/drawing/2014/main" id="{EA5532DD-FE6B-4C9C-B7D2-6BC01D2057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315826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1" y="110"/>
                      </a:cxn>
                      <a:cxn ang="0">
                        <a:pos x="464" y="152"/>
                      </a:cxn>
                      <a:cxn ang="0">
                        <a:pos x="479" y="200"/>
                      </a:cxn>
                      <a:cxn ang="0">
                        <a:pos x="483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4" y="372"/>
                      </a:cxn>
                      <a:cxn ang="0">
                        <a:pos x="428" y="411"/>
                      </a:cxn>
                      <a:cxn ang="0">
                        <a:pos x="395" y="446"/>
                      </a:cxn>
                      <a:cxn ang="0">
                        <a:pos x="357" y="474"/>
                      </a:cxn>
                      <a:cxn ang="0">
                        <a:pos x="314" y="492"/>
                      </a:cxn>
                      <a:cxn ang="0">
                        <a:pos x="266" y="503"/>
                      </a:cxn>
                      <a:cxn ang="0">
                        <a:pos x="241" y="504"/>
                      </a:cxn>
                      <a:cxn ang="0">
                        <a:pos x="194" y="498"/>
                      </a:cxn>
                      <a:cxn ang="0">
                        <a:pos x="147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6" y="303"/>
                      </a:cxn>
                      <a:cxn ang="0">
                        <a:pos x="0" y="252"/>
                      </a:cxn>
                      <a:cxn ang="0">
                        <a:pos x="1" y="226"/>
                      </a:cxn>
                      <a:cxn ang="0">
                        <a:pos x="11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7" y="31"/>
                      </a:cxn>
                      <a:cxn ang="0">
                        <a:pos x="171" y="12"/>
                      </a:cxn>
                      <a:cxn ang="0">
                        <a:pos x="217" y="2"/>
                      </a:cxn>
                      <a:cxn ang="0">
                        <a:pos x="241" y="0"/>
                      </a:cxn>
                      <a:cxn ang="0">
                        <a:pos x="289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3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1" y="110"/>
                        </a:lnTo>
                        <a:lnTo>
                          <a:pt x="453" y="131"/>
                        </a:lnTo>
                        <a:lnTo>
                          <a:pt x="464" y="152"/>
                        </a:lnTo>
                        <a:lnTo>
                          <a:pt x="472" y="176"/>
                        </a:lnTo>
                        <a:lnTo>
                          <a:pt x="479" y="200"/>
                        </a:lnTo>
                        <a:lnTo>
                          <a:pt x="482" y="226"/>
                        </a:lnTo>
                        <a:lnTo>
                          <a:pt x="483" y="252"/>
                        </a:lnTo>
                        <a:lnTo>
                          <a:pt x="483" y="252"/>
                        </a:lnTo>
                        <a:lnTo>
                          <a:pt x="482" y="278"/>
                        </a:lnTo>
                        <a:lnTo>
                          <a:pt x="479" y="303"/>
                        </a:lnTo>
                        <a:lnTo>
                          <a:pt x="472" y="327"/>
                        </a:lnTo>
                        <a:lnTo>
                          <a:pt x="464" y="349"/>
                        </a:lnTo>
                        <a:lnTo>
                          <a:pt x="454" y="372"/>
                        </a:lnTo>
                        <a:lnTo>
                          <a:pt x="441" y="393"/>
                        </a:lnTo>
                        <a:lnTo>
                          <a:pt x="428" y="411"/>
                        </a:lnTo>
                        <a:lnTo>
                          <a:pt x="412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7" y="474"/>
                        </a:lnTo>
                        <a:lnTo>
                          <a:pt x="335" y="484"/>
                        </a:lnTo>
                        <a:lnTo>
                          <a:pt x="314" y="492"/>
                        </a:lnTo>
                        <a:lnTo>
                          <a:pt x="291" y="498"/>
                        </a:lnTo>
                        <a:lnTo>
                          <a:pt x="266" y="503"/>
                        </a:lnTo>
                        <a:lnTo>
                          <a:pt x="241" y="504"/>
                        </a:lnTo>
                        <a:lnTo>
                          <a:pt x="241" y="504"/>
                        </a:lnTo>
                        <a:lnTo>
                          <a:pt x="217" y="503"/>
                        </a:lnTo>
                        <a:lnTo>
                          <a:pt x="194" y="498"/>
                        </a:lnTo>
                        <a:lnTo>
                          <a:pt x="171" y="492"/>
                        </a:lnTo>
                        <a:lnTo>
                          <a:pt x="147" y="484"/>
                        </a:lnTo>
                        <a:lnTo>
                          <a:pt x="127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1" y="327"/>
                        </a:lnTo>
                        <a:lnTo>
                          <a:pt x="6" y="303"/>
                        </a:lnTo>
                        <a:lnTo>
                          <a:pt x="1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1" y="226"/>
                        </a:lnTo>
                        <a:lnTo>
                          <a:pt x="6" y="202"/>
                        </a:lnTo>
                        <a:lnTo>
                          <a:pt x="11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7" y="31"/>
                        </a:lnTo>
                        <a:lnTo>
                          <a:pt x="147" y="21"/>
                        </a:lnTo>
                        <a:lnTo>
                          <a:pt x="171" y="12"/>
                        </a:lnTo>
                        <a:lnTo>
                          <a:pt x="194" y="5"/>
                        </a:lnTo>
                        <a:lnTo>
                          <a:pt x="217" y="2"/>
                        </a:lnTo>
                        <a:lnTo>
                          <a:pt x="241" y="0"/>
                        </a:lnTo>
                        <a:lnTo>
                          <a:pt x="241" y="0"/>
                        </a:lnTo>
                        <a:lnTo>
                          <a:pt x="266" y="2"/>
                        </a:lnTo>
                        <a:lnTo>
                          <a:pt x="289" y="5"/>
                        </a:lnTo>
                        <a:lnTo>
                          <a:pt x="312" y="11"/>
                        </a:lnTo>
                        <a:lnTo>
                          <a:pt x="334" y="19"/>
                        </a:lnTo>
                        <a:lnTo>
                          <a:pt x="356" y="29"/>
                        </a:lnTo>
                        <a:lnTo>
                          <a:pt x="375" y="42"/>
                        </a:lnTo>
                        <a:lnTo>
                          <a:pt x="393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2" name="Line 15">
                    <a:extLst>
                      <a:ext uri="{FF2B5EF4-FFF2-40B4-BE49-F238E27FC236}">
                        <a16:creationId xmlns="" xmlns:a16="http://schemas.microsoft.com/office/drawing/2014/main" id="{5606E2C6-626F-4F0C-B387-6B2A680D4D5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642851" y="-2984500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3" name="Freeform 17">
                    <a:extLst>
                      <a:ext uri="{FF2B5EF4-FFF2-40B4-BE49-F238E27FC236}">
                        <a16:creationId xmlns="" xmlns:a16="http://schemas.microsoft.com/office/drawing/2014/main" id="{08990AAD-4B16-47E3-87F8-273000D2E8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174413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2" y="110"/>
                      </a:cxn>
                      <a:cxn ang="0">
                        <a:pos x="463" y="152"/>
                      </a:cxn>
                      <a:cxn ang="0">
                        <a:pos x="478" y="200"/>
                      </a:cxn>
                      <a:cxn ang="0">
                        <a:pos x="484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5" y="372"/>
                      </a:cxn>
                      <a:cxn ang="0">
                        <a:pos x="429" y="411"/>
                      </a:cxn>
                      <a:cxn ang="0">
                        <a:pos x="395" y="446"/>
                      </a:cxn>
                      <a:cxn ang="0">
                        <a:pos x="356" y="474"/>
                      </a:cxn>
                      <a:cxn ang="0">
                        <a:pos x="313" y="492"/>
                      </a:cxn>
                      <a:cxn ang="0">
                        <a:pos x="266" y="503"/>
                      </a:cxn>
                      <a:cxn ang="0">
                        <a:pos x="242" y="504"/>
                      </a:cxn>
                      <a:cxn ang="0">
                        <a:pos x="193" y="498"/>
                      </a:cxn>
                      <a:cxn ang="0">
                        <a:pos x="148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5" y="303"/>
                      </a:cxn>
                      <a:cxn ang="0">
                        <a:pos x="0" y="252"/>
                      </a:cxn>
                      <a:cxn ang="0">
                        <a:pos x="2" y="226"/>
                      </a:cxn>
                      <a:cxn ang="0">
                        <a:pos x="12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6" y="31"/>
                      </a:cxn>
                      <a:cxn ang="0">
                        <a:pos x="169" y="12"/>
                      </a:cxn>
                      <a:cxn ang="0">
                        <a:pos x="217" y="2"/>
                      </a:cxn>
                      <a:cxn ang="0">
                        <a:pos x="242" y="0"/>
                      </a:cxn>
                      <a:cxn ang="0">
                        <a:pos x="290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4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2" y="110"/>
                        </a:lnTo>
                        <a:lnTo>
                          <a:pt x="453" y="131"/>
                        </a:lnTo>
                        <a:lnTo>
                          <a:pt x="463" y="152"/>
                        </a:lnTo>
                        <a:lnTo>
                          <a:pt x="472" y="176"/>
                        </a:lnTo>
                        <a:lnTo>
                          <a:pt x="478" y="200"/>
                        </a:lnTo>
                        <a:lnTo>
                          <a:pt x="482" y="226"/>
                        </a:lnTo>
                        <a:lnTo>
                          <a:pt x="484" y="252"/>
                        </a:lnTo>
                        <a:lnTo>
                          <a:pt x="484" y="252"/>
                        </a:lnTo>
                        <a:lnTo>
                          <a:pt x="482" y="278"/>
                        </a:lnTo>
                        <a:lnTo>
                          <a:pt x="478" y="303"/>
                        </a:lnTo>
                        <a:lnTo>
                          <a:pt x="472" y="327"/>
                        </a:lnTo>
                        <a:lnTo>
                          <a:pt x="465" y="349"/>
                        </a:lnTo>
                        <a:lnTo>
                          <a:pt x="455" y="372"/>
                        </a:lnTo>
                        <a:lnTo>
                          <a:pt x="442" y="393"/>
                        </a:lnTo>
                        <a:lnTo>
                          <a:pt x="429" y="411"/>
                        </a:lnTo>
                        <a:lnTo>
                          <a:pt x="413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6" y="474"/>
                        </a:lnTo>
                        <a:lnTo>
                          <a:pt x="336" y="484"/>
                        </a:lnTo>
                        <a:lnTo>
                          <a:pt x="313" y="492"/>
                        </a:lnTo>
                        <a:lnTo>
                          <a:pt x="290" y="498"/>
                        </a:lnTo>
                        <a:lnTo>
                          <a:pt x="266" y="503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17" y="503"/>
                        </a:lnTo>
                        <a:lnTo>
                          <a:pt x="193" y="498"/>
                        </a:lnTo>
                        <a:lnTo>
                          <a:pt x="169" y="492"/>
                        </a:lnTo>
                        <a:lnTo>
                          <a:pt x="148" y="484"/>
                        </a:lnTo>
                        <a:lnTo>
                          <a:pt x="126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2" y="327"/>
                        </a:lnTo>
                        <a:lnTo>
                          <a:pt x="5" y="303"/>
                        </a:lnTo>
                        <a:lnTo>
                          <a:pt x="2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2" y="226"/>
                        </a:lnTo>
                        <a:lnTo>
                          <a:pt x="5" y="202"/>
                        </a:lnTo>
                        <a:lnTo>
                          <a:pt x="12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6" y="31"/>
                        </a:lnTo>
                        <a:lnTo>
                          <a:pt x="148" y="21"/>
                        </a:lnTo>
                        <a:lnTo>
                          <a:pt x="169" y="12"/>
                        </a:lnTo>
                        <a:lnTo>
                          <a:pt x="193" y="5"/>
                        </a:lnTo>
                        <a:lnTo>
                          <a:pt x="217" y="2"/>
                        </a:lnTo>
                        <a:lnTo>
                          <a:pt x="242" y="0"/>
                        </a:lnTo>
                        <a:lnTo>
                          <a:pt x="242" y="0"/>
                        </a:lnTo>
                        <a:lnTo>
                          <a:pt x="266" y="2"/>
                        </a:lnTo>
                        <a:lnTo>
                          <a:pt x="290" y="5"/>
                        </a:lnTo>
                        <a:lnTo>
                          <a:pt x="313" y="11"/>
                        </a:lnTo>
                        <a:lnTo>
                          <a:pt x="334" y="19"/>
                        </a:lnTo>
                        <a:lnTo>
                          <a:pt x="355" y="29"/>
                        </a:lnTo>
                        <a:lnTo>
                          <a:pt x="375" y="42"/>
                        </a:lnTo>
                        <a:lnTo>
                          <a:pt x="394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4" name="Line 18">
                    <a:extLst>
                      <a:ext uri="{FF2B5EF4-FFF2-40B4-BE49-F238E27FC236}">
                        <a16:creationId xmlns="" xmlns:a16="http://schemas.microsoft.com/office/drawing/2014/main" id="{E07B2115-527A-4B95-BAC7-9148886FB3E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1501438" y="-2984500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5" name="Freeform 20">
                    <a:extLst>
                      <a:ext uri="{FF2B5EF4-FFF2-40B4-BE49-F238E27FC236}">
                        <a16:creationId xmlns="" xmlns:a16="http://schemas.microsoft.com/office/drawing/2014/main" id="{A757402D-D1F0-44B8-A28A-5025CED274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264776" y="-4238624"/>
                    <a:ext cx="3294063" cy="2871787"/>
                  </a:xfrm>
                  <a:custGeom>
                    <a:avLst/>
                    <a:gdLst/>
                    <a:ahLst/>
                    <a:cxnLst>
                      <a:cxn ang="0">
                        <a:pos x="3835" y="1280"/>
                      </a:cxn>
                      <a:cxn ang="0">
                        <a:pos x="3569" y="747"/>
                      </a:cxn>
                      <a:cxn ang="0">
                        <a:pos x="3475" y="712"/>
                      </a:cxn>
                      <a:cxn ang="0">
                        <a:pos x="3418" y="753"/>
                      </a:cxn>
                      <a:cxn ang="0">
                        <a:pos x="3423" y="853"/>
                      </a:cxn>
                      <a:cxn ang="0">
                        <a:pos x="3669" y="1356"/>
                      </a:cxn>
                      <a:cxn ang="0">
                        <a:pos x="3779" y="1866"/>
                      </a:cxn>
                      <a:cxn ang="0">
                        <a:pos x="3918" y="2003"/>
                      </a:cxn>
                      <a:cxn ang="0">
                        <a:pos x="3970" y="2192"/>
                      </a:cxn>
                      <a:cxn ang="0">
                        <a:pos x="3935" y="2351"/>
                      </a:cxn>
                      <a:cxn ang="0">
                        <a:pos x="3848" y="2466"/>
                      </a:cxn>
                      <a:cxn ang="0">
                        <a:pos x="3708" y="2548"/>
                      </a:cxn>
                      <a:cxn ang="0">
                        <a:pos x="3523" y="2611"/>
                      </a:cxn>
                      <a:cxn ang="0">
                        <a:pos x="3230" y="2985"/>
                      </a:cxn>
                      <a:cxn ang="0">
                        <a:pos x="2889" y="3236"/>
                      </a:cxn>
                      <a:cxn ang="0">
                        <a:pos x="2430" y="3404"/>
                      </a:cxn>
                      <a:cxn ang="0">
                        <a:pos x="1991" y="3433"/>
                      </a:cxn>
                      <a:cxn ang="0">
                        <a:pos x="1514" y="3328"/>
                      </a:cxn>
                      <a:cxn ang="0">
                        <a:pos x="1094" y="3089"/>
                      </a:cxn>
                      <a:cxn ang="0">
                        <a:pos x="760" y="2733"/>
                      </a:cxn>
                      <a:cxn ang="0">
                        <a:pos x="535" y="2546"/>
                      </a:cxn>
                      <a:cxn ang="0">
                        <a:pos x="376" y="2501"/>
                      </a:cxn>
                      <a:cxn ang="0">
                        <a:pos x="218" y="2335"/>
                      </a:cxn>
                      <a:cxn ang="0">
                        <a:pos x="181" y="2173"/>
                      </a:cxn>
                      <a:cxn ang="0">
                        <a:pos x="245" y="1963"/>
                      </a:cxn>
                      <a:cxn ang="0">
                        <a:pos x="472" y="1805"/>
                      </a:cxn>
                      <a:cxn ang="0">
                        <a:pos x="506" y="1474"/>
                      </a:cxn>
                      <a:cxn ang="0">
                        <a:pos x="615" y="1144"/>
                      </a:cxn>
                      <a:cxn ang="0">
                        <a:pos x="790" y="844"/>
                      </a:cxn>
                      <a:cxn ang="0">
                        <a:pos x="1000" y="611"/>
                      </a:cxn>
                      <a:cxn ang="0">
                        <a:pos x="1284" y="401"/>
                      </a:cxn>
                      <a:cxn ang="0">
                        <a:pos x="1602" y="259"/>
                      </a:cxn>
                      <a:cxn ang="0">
                        <a:pos x="1945" y="189"/>
                      </a:cxn>
                      <a:cxn ang="0">
                        <a:pos x="2284" y="191"/>
                      </a:cxn>
                      <a:cxn ang="0">
                        <a:pos x="2373" y="145"/>
                      </a:cxn>
                      <a:cxn ang="0">
                        <a:pos x="2381" y="76"/>
                      </a:cxn>
                      <a:cxn ang="0">
                        <a:pos x="2304" y="12"/>
                      </a:cxn>
                      <a:cxn ang="0">
                        <a:pos x="1928" y="9"/>
                      </a:cxn>
                      <a:cxn ang="0">
                        <a:pos x="1546" y="87"/>
                      </a:cxn>
                      <a:cxn ang="0">
                        <a:pos x="1192" y="245"/>
                      </a:cxn>
                      <a:cxn ang="0">
                        <a:pos x="877" y="477"/>
                      </a:cxn>
                      <a:cxn ang="0">
                        <a:pos x="651" y="727"/>
                      </a:cxn>
                      <a:cxn ang="0">
                        <a:pos x="460" y="1045"/>
                      </a:cxn>
                      <a:cxn ang="0">
                        <a:pos x="339" y="1396"/>
                      </a:cxn>
                      <a:cxn ang="0">
                        <a:pos x="266" y="1699"/>
                      </a:cxn>
                      <a:cxn ang="0">
                        <a:pos x="75" y="1895"/>
                      </a:cxn>
                      <a:cxn ang="0">
                        <a:pos x="0" y="2202"/>
                      </a:cxn>
                      <a:cxn ang="0">
                        <a:pos x="65" y="2433"/>
                      </a:cxn>
                      <a:cxn ang="0">
                        <a:pos x="217" y="2613"/>
                      </a:cxn>
                      <a:cxn ang="0">
                        <a:pos x="433" y="2714"/>
                      </a:cxn>
                      <a:cxn ang="0">
                        <a:pos x="676" y="2924"/>
                      </a:cxn>
                      <a:cxn ang="0">
                        <a:pos x="1056" y="3286"/>
                      </a:cxn>
                      <a:cxn ang="0">
                        <a:pos x="1521" y="3523"/>
                      </a:cxn>
                      <a:cxn ang="0">
                        <a:pos x="2042" y="3617"/>
                      </a:cxn>
                      <a:cxn ang="0">
                        <a:pos x="2524" y="3569"/>
                      </a:cxn>
                      <a:cxn ang="0">
                        <a:pos x="3029" y="3365"/>
                      </a:cxn>
                      <a:cxn ang="0">
                        <a:pos x="3381" y="3092"/>
                      </a:cxn>
                      <a:cxn ang="0">
                        <a:pos x="3654" y="2743"/>
                      </a:cxn>
                      <a:cxn ang="0">
                        <a:pos x="3857" y="2681"/>
                      </a:cxn>
                      <a:cxn ang="0">
                        <a:pos x="4009" y="2562"/>
                      </a:cxn>
                      <a:cxn ang="0">
                        <a:pos x="4127" y="2352"/>
                      </a:cxn>
                      <a:cxn ang="0">
                        <a:pos x="4146" y="2123"/>
                      </a:cxn>
                      <a:cxn ang="0">
                        <a:pos x="4033" y="1851"/>
                      </a:cxn>
                    </a:cxnLst>
                    <a:rect l="0" t="0" r="r" b="b"/>
                    <a:pathLst>
                      <a:path w="4151" h="3619">
                        <a:moveTo>
                          <a:pt x="3913" y="1737"/>
                        </a:moveTo>
                        <a:lnTo>
                          <a:pt x="3913" y="1737"/>
                        </a:lnTo>
                        <a:lnTo>
                          <a:pt x="3909" y="1669"/>
                        </a:lnTo>
                        <a:lnTo>
                          <a:pt x="3903" y="1602"/>
                        </a:lnTo>
                        <a:lnTo>
                          <a:pt x="3894" y="1537"/>
                        </a:lnTo>
                        <a:lnTo>
                          <a:pt x="3883" y="1472"/>
                        </a:lnTo>
                        <a:lnTo>
                          <a:pt x="3870" y="1407"/>
                        </a:lnTo>
                        <a:lnTo>
                          <a:pt x="3854" y="1342"/>
                        </a:lnTo>
                        <a:lnTo>
                          <a:pt x="3835" y="1280"/>
                        </a:lnTo>
                        <a:lnTo>
                          <a:pt x="3815" y="1216"/>
                        </a:lnTo>
                        <a:lnTo>
                          <a:pt x="3792" y="1154"/>
                        </a:lnTo>
                        <a:lnTo>
                          <a:pt x="3767" y="1093"/>
                        </a:lnTo>
                        <a:lnTo>
                          <a:pt x="3740" y="1032"/>
                        </a:lnTo>
                        <a:lnTo>
                          <a:pt x="3709" y="974"/>
                        </a:lnTo>
                        <a:lnTo>
                          <a:pt x="3677" y="915"/>
                        </a:lnTo>
                        <a:lnTo>
                          <a:pt x="3644" y="859"/>
                        </a:lnTo>
                        <a:lnTo>
                          <a:pt x="3608" y="802"/>
                        </a:lnTo>
                        <a:lnTo>
                          <a:pt x="3569" y="747"/>
                        </a:lnTo>
                        <a:lnTo>
                          <a:pt x="3569" y="747"/>
                        </a:lnTo>
                        <a:lnTo>
                          <a:pt x="3563" y="740"/>
                        </a:lnTo>
                        <a:lnTo>
                          <a:pt x="3557" y="733"/>
                        </a:lnTo>
                        <a:lnTo>
                          <a:pt x="3550" y="728"/>
                        </a:lnTo>
                        <a:lnTo>
                          <a:pt x="3543" y="723"/>
                        </a:lnTo>
                        <a:lnTo>
                          <a:pt x="3527" y="715"/>
                        </a:lnTo>
                        <a:lnTo>
                          <a:pt x="3510" y="711"/>
                        </a:lnTo>
                        <a:lnTo>
                          <a:pt x="3492" y="710"/>
                        </a:lnTo>
                        <a:lnTo>
                          <a:pt x="3475" y="712"/>
                        </a:lnTo>
                        <a:lnTo>
                          <a:pt x="3466" y="714"/>
                        </a:lnTo>
                        <a:lnTo>
                          <a:pt x="3459" y="718"/>
                        </a:lnTo>
                        <a:lnTo>
                          <a:pt x="3450" y="723"/>
                        </a:lnTo>
                        <a:lnTo>
                          <a:pt x="3443" y="727"/>
                        </a:lnTo>
                        <a:lnTo>
                          <a:pt x="3443" y="727"/>
                        </a:lnTo>
                        <a:lnTo>
                          <a:pt x="3436" y="733"/>
                        </a:lnTo>
                        <a:lnTo>
                          <a:pt x="3428" y="740"/>
                        </a:lnTo>
                        <a:lnTo>
                          <a:pt x="3423" y="746"/>
                        </a:lnTo>
                        <a:lnTo>
                          <a:pt x="3418" y="753"/>
                        </a:lnTo>
                        <a:lnTo>
                          <a:pt x="3411" y="769"/>
                        </a:lnTo>
                        <a:lnTo>
                          <a:pt x="3407" y="786"/>
                        </a:lnTo>
                        <a:lnTo>
                          <a:pt x="3405" y="804"/>
                        </a:lnTo>
                        <a:lnTo>
                          <a:pt x="3407" y="821"/>
                        </a:lnTo>
                        <a:lnTo>
                          <a:pt x="3410" y="830"/>
                        </a:lnTo>
                        <a:lnTo>
                          <a:pt x="3413" y="838"/>
                        </a:lnTo>
                        <a:lnTo>
                          <a:pt x="3417" y="846"/>
                        </a:lnTo>
                        <a:lnTo>
                          <a:pt x="3423" y="853"/>
                        </a:lnTo>
                        <a:lnTo>
                          <a:pt x="3423" y="853"/>
                        </a:lnTo>
                        <a:lnTo>
                          <a:pt x="3459" y="905"/>
                        </a:lnTo>
                        <a:lnTo>
                          <a:pt x="3492" y="958"/>
                        </a:lnTo>
                        <a:lnTo>
                          <a:pt x="3524" y="1012"/>
                        </a:lnTo>
                        <a:lnTo>
                          <a:pt x="3554" y="1067"/>
                        </a:lnTo>
                        <a:lnTo>
                          <a:pt x="3582" y="1123"/>
                        </a:lnTo>
                        <a:lnTo>
                          <a:pt x="3606" y="1180"/>
                        </a:lnTo>
                        <a:lnTo>
                          <a:pt x="3630" y="1238"/>
                        </a:lnTo>
                        <a:lnTo>
                          <a:pt x="3650" y="1297"/>
                        </a:lnTo>
                        <a:lnTo>
                          <a:pt x="3669" y="1356"/>
                        </a:lnTo>
                        <a:lnTo>
                          <a:pt x="3685" y="1416"/>
                        </a:lnTo>
                        <a:lnTo>
                          <a:pt x="3699" y="1477"/>
                        </a:lnTo>
                        <a:lnTo>
                          <a:pt x="3711" y="1537"/>
                        </a:lnTo>
                        <a:lnTo>
                          <a:pt x="3719" y="1600"/>
                        </a:lnTo>
                        <a:lnTo>
                          <a:pt x="3727" y="1662"/>
                        </a:lnTo>
                        <a:lnTo>
                          <a:pt x="3731" y="1725"/>
                        </a:lnTo>
                        <a:lnTo>
                          <a:pt x="3732" y="1788"/>
                        </a:lnTo>
                        <a:lnTo>
                          <a:pt x="3734" y="1840"/>
                        </a:lnTo>
                        <a:lnTo>
                          <a:pt x="3779" y="1866"/>
                        </a:lnTo>
                        <a:lnTo>
                          <a:pt x="3779" y="1866"/>
                        </a:lnTo>
                        <a:lnTo>
                          <a:pt x="3800" y="1879"/>
                        </a:lnTo>
                        <a:lnTo>
                          <a:pt x="3821" y="1893"/>
                        </a:lnTo>
                        <a:lnTo>
                          <a:pt x="3839" y="1909"/>
                        </a:lnTo>
                        <a:lnTo>
                          <a:pt x="3858" y="1925"/>
                        </a:lnTo>
                        <a:lnTo>
                          <a:pt x="3876" y="1944"/>
                        </a:lnTo>
                        <a:lnTo>
                          <a:pt x="3892" y="1963"/>
                        </a:lnTo>
                        <a:lnTo>
                          <a:pt x="3905" y="1983"/>
                        </a:lnTo>
                        <a:lnTo>
                          <a:pt x="3918" y="2003"/>
                        </a:lnTo>
                        <a:lnTo>
                          <a:pt x="3931" y="2025"/>
                        </a:lnTo>
                        <a:lnTo>
                          <a:pt x="3941" y="2047"/>
                        </a:lnTo>
                        <a:lnTo>
                          <a:pt x="3949" y="2070"/>
                        </a:lnTo>
                        <a:lnTo>
                          <a:pt x="3957" y="2093"/>
                        </a:lnTo>
                        <a:lnTo>
                          <a:pt x="3963" y="2118"/>
                        </a:lnTo>
                        <a:lnTo>
                          <a:pt x="3967" y="2142"/>
                        </a:lnTo>
                        <a:lnTo>
                          <a:pt x="3968" y="2167"/>
                        </a:lnTo>
                        <a:lnTo>
                          <a:pt x="3970" y="2192"/>
                        </a:lnTo>
                        <a:lnTo>
                          <a:pt x="3970" y="2192"/>
                        </a:lnTo>
                        <a:lnTo>
                          <a:pt x="3970" y="2210"/>
                        </a:lnTo>
                        <a:lnTo>
                          <a:pt x="3968" y="2228"/>
                        </a:lnTo>
                        <a:lnTo>
                          <a:pt x="3965" y="2247"/>
                        </a:lnTo>
                        <a:lnTo>
                          <a:pt x="3963" y="2264"/>
                        </a:lnTo>
                        <a:lnTo>
                          <a:pt x="3958" y="2283"/>
                        </a:lnTo>
                        <a:lnTo>
                          <a:pt x="3954" y="2300"/>
                        </a:lnTo>
                        <a:lnTo>
                          <a:pt x="3948" y="2316"/>
                        </a:lnTo>
                        <a:lnTo>
                          <a:pt x="3942" y="2333"/>
                        </a:lnTo>
                        <a:lnTo>
                          <a:pt x="3935" y="2351"/>
                        </a:lnTo>
                        <a:lnTo>
                          <a:pt x="3926" y="2367"/>
                        </a:lnTo>
                        <a:lnTo>
                          <a:pt x="3918" y="2383"/>
                        </a:lnTo>
                        <a:lnTo>
                          <a:pt x="3908" y="2397"/>
                        </a:lnTo>
                        <a:lnTo>
                          <a:pt x="3897" y="2411"/>
                        </a:lnTo>
                        <a:lnTo>
                          <a:pt x="3886" y="2426"/>
                        </a:lnTo>
                        <a:lnTo>
                          <a:pt x="3874" y="2440"/>
                        </a:lnTo>
                        <a:lnTo>
                          <a:pt x="3861" y="2453"/>
                        </a:lnTo>
                        <a:lnTo>
                          <a:pt x="3861" y="2453"/>
                        </a:lnTo>
                        <a:lnTo>
                          <a:pt x="3848" y="2466"/>
                        </a:lnTo>
                        <a:lnTo>
                          <a:pt x="3834" y="2480"/>
                        </a:lnTo>
                        <a:lnTo>
                          <a:pt x="3821" y="2490"/>
                        </a:lnTo>
                        <a:lnTo>
                          <a:pt x="3805" y="2501"/>
                        </a:lnTo>
                        <a:lnTo>
                          <a:pt x="3790" y="2510"/>
                        </a:lnTo>
                        <a:lnTo>
                          <a:pt x="3774" y="2520"/>
                        </a:lnTo>
                        <a:lnTo>
                          <a:pt x="3758" y="2527"/>
                        </a:lnTo>
                        <a:lnTo>
                          <a:pt x="3741" y="2536"/>
                        </a:lnTo>
                        <a:lnTo>
                          <a:pt x="3725" y="2542"/>
                        </a:lnTo>
                        <a:lnTo>
                          <a:pt x="3708" y="2548"/>
                        </a:lnTo>
                        <a:lnTo>
                          <a:pt x="3690" y="2553"/>
                        </a:lnTo>
                        <a:lnTo>
                          <a:pt x="3673" y="2556"/>
                        </a:lnTo>
                        <a:lnTo>
                          <a:pt x="3656" y="2561"/>
                        </a:lnTo>
                        <a:lnTo>
                          <a:pt x="3637" y="2562"/>
                        </a:lnTo>
                        <a:lnTo>
                          <a:pt x="3618" y="2563"/>
                        </a:lnTo>
                        <a:lnTo>
                          <a:pt x="3601" y="2565"/>
                        </a:lnTo>
                        <a:lnTo>
                          <a:pt x="3549" y="2565"/>
                        </a:lnTo>
                        <a:lnTo>
                          <a:pt x="3523" y="2611"/>
                        </a:lnTo>
                        <a:lnTo>
                          <a:pt x="3523" y="2611"/>
                        </a:lnTo>
                        <a:lnTo>
                          <a:pt x="3495" y="2656"/>
                        </a:lnTo>
                        <a:lnTo>
                          <a:pt x="3468" y="2701"/>
                        </a:lnTo>
                        <a:lnTo>
                          <a:pt x="3437" y="2744"/>
                        </a:lnTo>
                        <a:lnTo>
                          <a:pt x="3405" y="2788"/>
                        </a:lnTo>
                        <a:lnTo>
                          <a:pt x="3373" y="2830"/>
                        </a:lnTo>
                        <a:lnTo>
                          <a:pt x="3340" y="2870"/>
                        </a:lnTo>
                        <a:lnTo>
                          <a:pt x="3304" y="2909"/>
                        </a:lnTo>
                        <a:lnTo>
                          <a:pt x="3268" y="2948"/>
                        </a:lnTo>
                        <a:lnTo>
                          <a:pt x="3230" y="2985"/>
                        </a:lnTo>
                        <a:lnTo>
                          <a:pt x="3191" y="3021"/>
                        </a:lnTo>
                        <a:lnTo>
                          <a:pt x="3152" y="3056"/>
                        </a:lnTo>
                        <a:lnTo>
                          <a:pt x="3110" y="3089"/>
                        </a:lnTo>
                        <a:lnTo>
                          <a:pt x="3068" y="3122"/>
                        </a:lnTo>
                        <a:lnTo>
                          <a:pt x="3025" y="3152"/>
                        </a:lnTo>
                        <a:lnTo>
                          <a:pt x="2981" y="3181"/>
                        </a:lnTo>
                        <a:lnTo>
                          <a:pt x="2935" y="3209"/>
                        </a:lnTo>
                        <a:lnTo>
                          <a:pt x="2935" y="3209"/>
                        </a:lnTo>
                        <a:lnTo>
                          <a:pt x="2889" y="3236"/>
                        </a:lnTo>
                        <a:lnTo>
                          <a:pt x="2839" y="3262"/>
                        </a:lnTo>
                        <a:lnTo>
                          <a:pt x="2790" y="3286"/>
                        </a:lnTo>
                        <a:lnTo>
                          <a:pt x="2741" y="3309"/>
                        </a:lnTo>
                        <a:lnTo>
                          <a:pt x="2690" y="3329"/>
                        </a:lnTo>
                        <a:lnTo>
                          <a:pt x="2640" y="3348"/>
                        </a:lnTo>
                        <a:lnTo>
                          <a:pt x="2588" y="3364"/>
                        </a:lnTo>
                        <a:lnTo>
                          <a:pt x="2536" y="3380"/>
                        </a:lnTo>
                        <a:lnTo>
                          <a:pt x="2482" y="3393"/>
                        </a:lnTo>
                        <a:lnTo>
                          <a:pt x="2430" y="3404"/>
                        </a:lnTo>
                        <a:lnTo>
                          <a:pt x="2375" y="3414"/>
                        </a:lnTo>
                        <a:lnTo>
                          <a:pt x="2321" y="3423"/>
                        </a:lnTo>
                        <a:lnTo>
                          <a:pt x="2268" y="3429"/>
                        </a:lnTo>
                        <a:lnTo>
                          <a:pt x="2213" y="3435"/>
                        </a:lnTo>
                        <a:lnTo>
                          <a:pt x="2158" y="3436"/>
                        </a:lnTo>
                        <a:lnTo>
                          <a:pt x="2103" y="3438"/>
                        </a:lnTo>
                        <a:lnTo>
                          <a:pt x="2103" y="3438"/>
                        </a:lnTo>
                        <a:lnTo>
                          <a:pt x="2046" y="3436"/>
                        </a:lnTo>
                        <a:lnTo>
                          <a:pt x="1991" y="3433"/>
                        </a:lnTo>
                        <a:lnTo>
                          <a:pt x="1936" y="3429"/>
                        </a:lnTo>
                        <a:lnTo>
                          <a:pt x="1881" y="3423"/>
                        </a:lnTo>
                        <a:lnTo>
                          <a:pt x="1828" y="3414"/>
                        </a:lnTo>
                        <a:lnTo>
                          <a:pt x="1774" y="3404"/>
                        </a:lnTo>
                        <a:lnTo>
                          <a:pt x="1721" y="3393"/>
                        </a:lnTo>
                        <a:lnTo>
                          <a:pt x="1669" y="3378"/>
                        </a:lnTo>
                        <a:lnTo>
                          <a:pt x="1617" y="3364"/>
                        </a:lnTo>
                        <a:lnTo>
                          <a:pt x="1564" y="3346"/>
                        </a:lnTo>
                        <a:lnTo>
                          <a:pt x="1514" y="3328"/>
                        </a:lnTo>
                        <a:lnTo>
                          <a:pt x="1465" y="3307"/>
                        </a:lnTo>
                        <a:lnTo>
                          <a:pt x="1415" y="3286"/>
                        </a:lnTo>
                        <a:lnTo>
                          <a:pt x="1366" y="3262"/>
                        </a:lnTo>
                        <a:lnTo>
                          <a:pt x="1318" y="3236"/>
                        </a:lnTo>
                        <a:lnTo>
                          <a:pt x="1272" y="3210"/>
                        </a:lnTo>
                        <a:lnTo>
                          <a:pt x="1226" y="3183"/>
                        </a:lnTo>
                        <a:lnTo>
                          <a:pt x="1181" y="3152"/>
                        </a:lnTo>
                        <a:lnTo>
                          <a:pt x="1137" y="3122"/>
                        </a:lnTo>
                        <a:lnTo>
                          <a:pt x="1094" y="3089"/>
                        </a:lnTo>
                        <a:lnTo>
                          <a:pt x="1052" y="3054"/>
                        </a:lnTo>
                        <a:lnTo>
                          <a:pt x="1012" y="3019"/>
                        </a:lnTo>
                        <a:lnTo>
                          <a:pt x="972" y="2982"/>
                        </a:lnTo>
                        <a:lnTo>
                          <a:pt x="933" y="2944"/>
                        </a:lnTo>
                        <a:lnTo>
                          <a:pt x="896" y="2905"/>
                        </a:lnTo>
                        <a:lnTo>
                          <a:pt x="860" y="2863"/>
                        </a:lnTo>
                        <a:lnTo>
                          <a:pt x="825" y="2821"/>
                        </a:lnTo>
                        <a:lnTo>
                          <a:pt x="792" y="2778"/>
                        </a:lnTo>
                        <a:lnTo>
                          <a:pt x="760" y="2733"/>
                        </a:lnTo>
                        <a:lnTo>
                          <a:pt x="729" y="2688"/>
                        </a:lnTo>
                        <a:lnTo>
                          <a:pt x="700" y="2640"/>
                        </a:lnTo>
                        <a:lnTo>
                          <a:pt x="673" y="2592"/>
                        </a:lnTo>
                        <a:lnTo>
                          <a:pt x="644" y="2540"/>
                        </a:lnTo>
                        <a:lnTo>
                          <a:pt x="586" y="2545"/>
                        </a:lnTo>
                        <a:lnTo>
                          <a:pt x="586" y="2545"/>
                        </a:lnTo>
                        <a:lnTo>
                          <a:pt x="554" y="2546"/>
                        </a:lnTo>
                        <a:lnTo>
                          <a:pt x="554" y="2546"/>
                        </a:lnTo>
                        <a:lnTo>
                          <a:pt x="535" y="2546"/>
                        </a:lnTo>
                        <a:lnTo>
                          <a:pt x="517" y="2545"/>
                        </a:lnTo>
                        <a:lnTo>
                          <a:pt x="498" y="2542"/>
                        </a:lnTo>
                        <a:lnTo>
                          <a:pt x="479" y="2539"/>
                        </a:lnTo>
                        <a:lnTo>
                          <a:pt x="462" y="2535"/>
                        </a:lnTo>
                        <a:lnTo>
                          <a:pt x="444" y="2530"/>
                        </a:lnTo>
                        <a:lnTo>
                          <a:pt x="427" y="2524"/>
                        </a:lnTo>
                        <a:lnTo>
                          <a:pt x="410" y="2517"/>
                        </a:lnTo>
                        <a:lnTo>
                          <a:pt x="394" y="2510"/>
                        </a:lnTo>
                        <a:lnTo>
                          <a:pt x="376" y="2501"/>
                        </a:lnTo>
                        <a:lnTo>
                          <a:pt x="362" y="2493"/>
                        </a:lnTo>
                        <a:lnTo>
                          <a:pt x="346" y="2482"/>
                        </a:lnTo>
                        <a:lnTo>
                          <a:pt x="317" y="2461"/>
                        </a:lnTo>
                        <a:lnTo>
                          <a:pt x="291" y="2438"/>
                        </a:lnTo>
                        <a:lnTo>
                          <a:pt x="266" y="2410"/>
                        </a:lnTo>
                        <a:lnTo>
                          <a:pt x="245" y="2383"/>
                        </a:lnTo>
                        <a:lnTo>
                          <a:pt x="236" y="2367"/>
                        </a:lnTo>
                        <a:lnTo>
                          <a:pt x="226" y="2351"/>
                        </a:lnTo>
                        <a:lnTo>
                          <a:pt x="218" y="2335"/>
                        </a:lnTo>
                        <a:lnTo>
                          <a:pt x="211" y="2319"/>
                        </a:lnTo>
                        <a:lnTo>
                          <a:pt x="204" y="2302"/>
                        </a:lnTo>
                        <a:lnTo>
                          <a:pt x="198" y="2284"/>
                        </a:lnTo>
                        <a:lnTo>
                          <a:pt x="192" y="2267"/>
                        </a:lnTo>
                        <a:lnTo>
                          <a:pt x="188" y="2248"/>
                        </a:lnTo>
                        <a:lnTo>
                          <a:pt x="185" y="2231"/>
                        </a:lnTo>
                        <a:lnTo>
                          <a:pt x="184" y="2212"/>
                        </a:lnTo>
                        <a:lnTo>
                          <a:pt x="182" y="2193"/>
                        </a:lnTo>
                        <a:lnTo>
                          <a:pt x="181" y="2173"/>
                        </a:lnTo>
                        <a:lnTo>
                          <a:pt x="181" y="2173"/>
                        </a:lnTo>
                        <a:lnTo>
                          <a:pt x="182" y="2145"/>
                        </a:lnTo>
                        <a:lnTo>
                          <a:pt x="185" y="2116"/>
                        </a:lnTo>
                        <a:lnTo>
                          <a:pt x="191" y="2089"/>
                        </a:lnTo>
                        <a:lnTo>
                          <a:pt x="198" y="2063"/>
                        </a:lnTo>
                        <a:lnTo>
                          <a:pt x="207" y="2037"/>
                        </a:lnTo>
                        <a:lnTo>
                          <a:pt x="218" y="2011"/>
                        </a:lnTo>
                        <a:lnTo>
                          <a:pt x="230" y="1987"/>
                        </a:lnTo>
                        <a:lnTo>
                          <a:pt x="245" y="1963"/>
                        </a:lnTo>
                        <a:lnTo>
                          <a:pt x="262" y="1941"/>
                        </a:lnTo>
                        <a:lnTo>
                          <a:pt x="279" y="1921"/>
                        </a:lnTo>
                        <a:lnTo>
                          <a:pt x="298" y="1901"/>
                        </a:lnTo>
                        <a:lnTo>
                          <a:pt x="320" y="1883"/>
                        </a:lnTo>
                        <a:lnTo>
                          <a:pt x="341" y="1866"/>
                        </a:lnTo>
                        <a:lnTo>
                          <a:pt x="366" y="1851"/>
                        </a:lnTo>
                        <a:lnTo>
                          <a:pt x="391" y="1838"/>
                        </a:lnTo>
                        <a:lnTo>
                          <a:pt x="417" y="1827"/>
                        </a:lnTo>
                        <a:lnTo>
                          <a:pt x="472" y="1805"/>
                        </a:lnTo>
                        <a:lnTo>
                          <a:pt x="473" y="1746"/>
                        </a:lnTo>
                        <a:lnTo>
                          <a:pt x="473" y="1746"/>
                        </a:lnTo>
                        <a:lnTo>
                          <a:pt x="476" y="1707"/>
                        </a:lnTo>
                        <a:lnTo>
                          <a:pt x="479" y="1668"/>
                        </a:lnTo>
                        <a:lnTo>
                          <a:pt x="482" y="1629"/>
                        </a:lnTo>
                        <a:lnTo>
                          <a:pt x="488" y="1589"/>
                        </a:lnTo>
                        <a:lnTo>
                          <a:pt x="493" y="1550"/>
                        </a:lnTo>
                        <a:lnTo>
                          <a:pt x="499" y="1513"/>
                        </a:lnTo>
                        <a:lnTo>
                          <a:pt x="506" y="1474"/>
                        </a:lnTo>
                        <a:lnTo>
                          <a:pt x="515" y="1436"/>
                        </a:lnTo>
                        <a:lnTo>
                          <a:pt x="525" y="1398"/>
                        </a:lnTo>
                        <a:lnTo>
                          <a:pt x="535" y="1361"/>
                        </a:lnTo>
                        <a:lnTo>
                          <a:pt x="546" y="1325"/>
                        </a:lnTo>
                        <a:lnTo>
                          <a:pt x="559" y="1287"/>
                        </a:lnTo>
                        <a:lnTo>
                          <a:pt x="570" y="1251"/>
                        </a:lnTo>
                        <a:lnTo>
                          <a:pt x="585" y="1215"/>
                        </a:lnTo>
                        <a:lnTo>
                          <a:pt x="599" y="1178"/>
                        </a:lnTo>
                        <a:lnTo>
                          <a:pt x="615" y="1144"/>
                        </a:lnTo>
                        <a:lnTo>
                          <a:pt x="631" y="1109"/>
                        </a:lnTo>
                        <a:lnTo>
                          <a:pt x="648" y="1074"/>
                        </a:lnTo>
                        <a:lnTo>
                          <a:pt x="666" y="1040"/>
                        </a:lnTo>
                        <a:lnTo>
                          <a:pt x="684" y="1006"/>
                        </a:lnTo>
                        <a:lnTo>
                          <a:pt x="703" y="973"/>
                        </a:lnTo>
                        <a:lnTo>
                          <a:pt x="724" y="940"/>
                        </a:lnTo>
                        <a:lnTo>
                          <a:pt x="745" y="908"/>
                        </a:lnTo>
                        <a:lnTo>
                          <a:pt x="767" y="876"/>
                        </a:lnTo>
                        <a:lnTo>
                          <a:pt x="790" y="844"/>
                        </a:lnTo>
                        <a:lnTo>
                          <a:pt x="813" y="812"/>
                        </a:lnTo>
                        <a:lnTo>
                          <a:pt x="838" y="782"/>
                        </a:lnTo>
                        <a:lnTo>
                          <a:pt x="863" y="751"/>
                        </a:lnTo>
                        <a:lnTo>
                          <a:pt x="889" y="723"/>
                        </a:lnTo>
                        <a:lnTo>
                          <a:pt x="916" y="694"/>
                        </a:lnTo>
                        <a:lnTo>
                          <a:pt x="944" y="665"/>
                        </a:lnTo>
                        <a:lnTo>
                          <a:pt x="971" y="637"/>
                        </a:lnTo>
                        <a:lnTo>
                          <a:pt x="971" y="637"/>
                        </a:lnTo>
                        <a:lnTo>
                          <a:pt x="1000" y="611"/>
                        </a:lnTo>
                        <a:lnTo>
                          <a:pt x="1029" y="584"/>
                        </a:lnTo>
                        <a:lnTo>
                          <a:pt x="1059" y="559"/>
                        </a:lnTo>
                        <a:lnTo>
                          <a:pt x="1090" y="533"/>
                        </a:lnTo>
                        <a:lnTo>
                          <a:pt x="1122" y="510"/>
                        </a:lnTo>
                        <a:lnTo>
                          <a:pt x="1152" y="487"/>
                        </a:lnTo>
                        <a:lnTo>
                          <a:pt x="1185" y="463"/>
                        </a:lnTo>
                        <a:lnTo>
                          <a:pt x="1217" y="442"/>
                        </a:lnTo>
                        <a:lnTo>
                          <a:pt x="1250" y="422"/>
                        </a:lnTo>
                        <a:lnTo>
                          <a:pt x="1284" y="401"/>
                        </a:lnTo>
                        <a:lnTo>
                          <a:pt x="1317" y="382"/>
                        </a:lnTo>
                        <a:lnTo>
                          <a:pt x="1352" y="364"/>
                        </a:lnTo>
                        <a:lnTo>
                          <a:pt x="1386" y="346"/>
                        </a:lnTo>
                        <a:lnTo>
                          <a:pt x="1421" y="330"/>
                        </a:lnTo>
                        <a:lnTo>
                          <a:pt x="1456" y="314"/>
                        </a:lnTo>
                        <a:lnTo>
                          <a:pt x="1492" y="300"/>
                        </a:lnTo>
                        <a:lnTo>
                          <a:pt x="1528" y="285"/>
                        </a:lnTo>
                        <a:lnTo>
                          <a:pt x="1564" y="272"/>
                        </a:lnTo>
                        <a:lnTo>
                          <a:pt x="1602" y="259"/>
                        </a:lnTo>
                        <a:lnTo>
                          <a:pt x="1638" y="248"/>
                        </a:lnTo>
                        <a:lnTo>
                          <a:pt x="1676" y="238"/>
                        </a:lnTo>
                        <a:lnTo>
                          <a:pt x="1713" y="228"/>
                        </a:lnTo>
                        <a:lnTo>
                          <a:pt x="1751" y="219"/>
                        </a:lnTo>
                        <a:lnTo>
                          <a:pt x="1790" y="212"/>
                        </a:lnTo>
                        <a:lnTo>
                          <a:pt x="1828" y="204"/>
                        </a:lnTo>
                        <a:lnTo>
                          <a:pt x="1867" y="199"/>
                        </a:lnTo>
                        <a:lnTo>
                          <a:pt x="1906" y="193"/>
                        </a:lnTo>
                        <a:lnTo>
                          <a:pt x="1945" y="189"/>
                        </a:lnTo>
                        <a:lnTo>
                          <a:pt x="1984" y="186"/>
                        </a:lnTo>
                        <a:lnTo>
                          <a:pt x="2023" y="183"/>
                        </a:lnTo>
                        <a:lnTo>
                          <a:pt x="2062" y="183"/>
                        </a:lnTo>
                        <a:lnTo>
                          <a:pt x="2103" y="181"/>
                        </a:lnTo>
                        <a:lnTo>
                          <a:pt x="2103" y="181"/>
                        </a:lnTo>
                        <a:lnTo>
                          <a:pt x="2148" y="183"/>
                        </a:lnTo>
                        <a:lnTo>
                          <a:pt x="2194" y="184"/>
                        </a:lnTo>
                        <a:lnTo>
                          <a:pt x="2239" y="187"/>
                        </a:lnTo>
                        <a:lnTo>
                          <a:pt x="2284" y="191"/>
                        </a:lnTo>
                        <a:lnTo>
                          <a:pt x="2284" y="191"/>
                        </a:lnTo>
                        <a:lnTo>
                          <a:pt x="2294" y="191"/>
                        </a:lnTo>
                        <a:lnTo>
                          <a:pt x="2303" y="191"/>
                        </a:lnTo>
                        <a:lnTo>
                          <a:pt x="2311" y="190"/>
                        </a:lnTo>
                        <a:lnTo>
                          <a:pt x="2320" y="189"/>
                        </a:lnTo>
                        <a:lnTo>
                          <a:pt x="2336" y="181"/>
                        </a:lnTo>
                        <a:lnTo>
                          <a:pt x="2350" y="173"/>
                        </a:lnTo>
                        <a:lnTo>
                          <a:pt x="2363" y="160"/>
                        </a:lnTo>
                        <a:lnTo>
                          <a:pt x="2373" y="145"/>
                        </a:lnTo>
                        <a:lnTo>
                          <a:pt x="2376" y="138"/>
                        </a:lnTo>
                        <a:lnTo>
                          <a:pt x="2381" y="129"/>
                        </a:lnTo>
                        <a:lnTo>
                          <a:pt x="2382" y="120"/>
                        </a:lnTo>
                        <a:lnTo>
                          <a:pt x="2384" y="112"/>
                        </a:lnTo>
                        <a:lnTo>
                          <a:pt x="2384" y="112"/>
                        </a:lnTo>
                        <a:lnTo>
                          <a:pt x="2385" y="102"/>
                        </a:lnTo>
                        <a:lnTo>
                          <a:pt x="2384" y="93"/>
                        </a:lnTo>
                        <a:lnTo>
                          <a:pt x="2384" y="84"/>
                        </a:lnTo>
                        <a:lnTo>
                          <a:pt x="2381" y="76"/>
                        </a:lnTo>
                        <a:lnTo>
                          <a:pt x="2373" y="60"/>
                        </a:lnTo>
                        <a:lnTo>
                          <a:pt x="2365" y="45"/>
                        </a:lnTo>
                        <a:lnTo>
                          <a:pt x="2353" y="32"/>
                        </a:lnTo>
                        <a:lnTo>
                          <a:pt x="2339" y="22"/>
                        </a:lnTo>
                        <a:lnTo>
                          <a:pt x="2330" y="19"/>
                        </a:lnTo>
                        <a:lnTo>
                          <a:pt x="2321" y="15"/>
                        </a:lnTo>
                        <a:lnTo>
                          <a:pt x="2313" y="13"/>
                        </a:lnTo>
                        <a:lnTo>
                          <a:pt x="2304" y="12"/>
                        </a:lnTo>
                        <a:lnTo>
                          <a:pt x="2304" y="12"/>
                        </a:lnTo>
                        <a:lnTo>
                          <a:pt x="2253" y="6"/>
                        </a:lnTo>
                        <a:lnTo>
                          <a:pt x="2204" y="3"/>
                        </a:lnTo>
                        <a:lnTo>
                          <a:pt x="2153" y="2"/>
                        </a:lnTo>
                        <a:lnTo>
                          <a:pt x="2103" y="0"/>
                        </a:lnTo>
                        <a:lnTo>
                          <a:pt x="2103" y="0"/>
                        </a:lnTo>
                        <a:lnTo>
                          <a:pt x="2058" y="0"/>
                        </a:lnTo>
                        <a:lnTo>
                          <a:pt x="2015" y="3"/>
                        </a:lnTo>
                        <a:lnTo>
                          <a:pt x="1971" y="5"/>
                        </a:lnTo>
                        <a:lnTo>
                          <a:pt x="1928" y="9"/>
                        </a:lnTo>
                        <a:lnTo>
                          <a:pt x="1884" y="13"/>
                        </a:lnTo>
                        <a:lnTo>
                          <a:pt x="1841" y="19"/>
                        </a:lnTo>
                        <a:lnTo>
                          <a:pt x="1797" y="26"/>
                        </a:lnTo>
                        <a:lnTo>
                          <a:pt x="1755" y="34"/>
                        </a:lnTo>
                        <a:lnTo>
                          <a:pt x="1712" y="42"/>
                        </a:lnTo>
                        <a:lnTo>
                          <a:pt x="1670" y="52"/>
                        </a:lnTo>
                        <a:lnTo>
                          <a:pt x="1628" y="63"/>
                        </a:lnTo>
                        <a:lnTo>
                          <a:pt x="1588" y="74"/>
                        </a:lnTo>
                        <a:lnTo>
                          <a:pt x="1546" y="87"/>
                        </a:lnTo>
                        <a:lnTo>
                          <a:pt x="1505" y="102"/>
                        </a:lnTo>
                        <a:lnTo>
                          <a:pt x="1465" y="116"/>
                        </a:lnTo>
                        <a:lnTo>
                          <a:pt x="1424" y="131"/>
                        </a:lnTo>
                        <a:lnTo>
                          <a:pt x="1385" y="148"/>
                        </a:lnTo>
                        <a:lnTo>
                          <a:pt x="1346" y="165"/>
                        </a:lnTo>
                        <a:lnTo>
                          <a:pt x="1307" y="184"/>
                        </a:lnTo>
                        <a:lnTo>
                          <a:pt x="1268" y="203"/>
                        </a:lnTo>
                        <a:lnTo>
                          <a:pt x="1230" y="223"/>
                        </a:lnTo>
                        <a:lnTo>
                          <a:pt x="1192" y="245"/>
                        </a:lnTo>
                        <a:lnTo>
                          <a:pt x="1155" y="267"/>
                        </a:lnTo>
                        <a:lnTo>
                          <a:pt x="1119" y="290"/>
                        </a:lnTo>
                        <a:lnTo>
                          <a:pt x="1082" y="314"/>
                        </a:lnTo>
                        <a:lnTo>
                          <a:pt x="1046" y="339"/>
                        </a:lnTo>
                        <a:lnTo>
                          <a:pt x="1012" y="365"/>
                        </a:lnTo>
                        <a:lnTo>
                          <a:pt x="977" y="391"/>
                        </a:lnTo>
                        <a:lnTo>
                          <a:pt x="944" y="419"/>
                        </a:lnTo>
                        <a:lnTo>
                          <a:pt x="910" y="448"/>
                        </a:lnTo>
                        <a:lnTo>
                          <a:pt x="877" y="477"/>
                        </a:lnTo>
                        <a:lnTo>
                          <a:pt x="845" y="507"/>
                        </a:lnTo>
                        <a:lnTo>
                          <a:pt x="845" y="507"/>
                        </a:lnTo>
                        <a:lnTo>
                          <a:pt x="815" y="537"/>
                        </a:lnTo>
                        <a:lnTo>
                          <a:pt x="786" y="568"/>
                        </a:lnTo>
                        <a:lnTo>
                          <a:pt x="757" y="598"/>
                        </a:lnTo>
                        <a:lnTo>
                          <a:pt x="729" y="630"/>
                        </a:lnTo>
                        <a:lnTo>
                          <a:pt x="703" y="662"/>
                        </a:lnTo>
                        <a:lnTo>
                          <a:pt x="677" y="694"/>
                        </a:lnTo>
                        <a:lnTo>
                          <a:pt x="651" y="727"/>
                        </a:lnTo>
                        <a:lnTo>
                          <a:pt x="627" y="760"/>
                        </a:lnTo>
                        <a:lnTo>
                          <a:pt x="603" y="793"/>
                        </a:lnTo>
                        <a:lnTo>
                          <a:pt x="580" y="828"/>
                        </a:lnTo>
                        <a:lnTo>
                          <a:pt x="559" y="863"/>
                        </a:lnTo>
                        <a:lnTo>
                          <a:pt x="537" y="899"/>
                        </a:lnTo>
                        <a:lnTo>
                          <a:pt x="517" y="935"/>
                        </a:lnTo>
                        <a:lnTo>
                          <a:pt x="496" y="971"/>
                        </a:lnTo>
                        <a:lnTo>
                          <a:pt x="478" y="1008"/>
                        </a:lnTo>
                        <a:lnTo>
                          <a:pt x="460" y="1045"/>
                        </a:lnTo>
                        <a:lnTo>
                          <a:pt x="443" y="1083"/>
                        </a:lnTo>
                        <a:lnTo>
                          <a:pt x="427" y="1121"/>
                        </a:lnTo>
                        <a:lnTo>
                          <a:pt x="412" y="1158"/>
                        </a:lnTo>
                        <a:lnTo>
                          <a:pt x="398" y="1197"/>
                        </a:lnTo>
                        <a:lnTo>
                          <a:pt x="383" y="1236"/>
                        </a:lnTo>
                        <a:lnTo>
                          <a:pt x="372" y="1275"/>
                        </a:lnTo>
                        <a:lnTo>
                          <a:pt x="360" y="1314"/>
                        </a:lnTo>
                        <a:lnTo>
                          <a:pt x="349" y="1355"/>
                        </a:lnTo>
                        <a:lnTo>
                          <a:pt x="339" y="1396"/>
                        </a:lnTo>
                        <a:lnTo>
                          <a:pt x="330" y="1436"/>
                        </a:lnTo>
                        <a:lnTo>
                          <a:pt x="321" y="1477"/>
                        </a:lnTo>
                        <a:lnTo>
                          <a:pt x="315" y="1517"/>
                        </a:lnTo>
                        <a:lnTo>
                          <a:pt x="308" y="1558"/>
                        </a:lnTo>
                        <a:lnTo>
                          <a:pt x="304" y="1600"/>
                        </a:lnTo>
                        <a:lnTo>
                          <a:pt x="300" y="1642"/>
                        </a:lnTo>
                        <a:lnTo>
                          <a:pt x="295" y="1684"/>
                        </a:lnTo>
                        <a:lnTo>
                          <a:pt x="295" y="1684"/>
                        </a:lnTo>
                        <a:lnTo>
                          <a:pt x="266" y="1699"/>
                        </a:lnTo>
                        <a:lnTo>
                          <a:pt x="239" y="1718"/>
                        </a:lnTo>
                        <a:lnTo>
                          <a:pt x="211" y="1737"/>
                        </a:lnTo>
                        <a:lnTo>
                          <a:pt x="187" y="1759"/>
                        </a:lnTo>
                        <a:lnTo>
                          <a:pt x="162" y="1782"/>
                        </a:lnTo>
                        <a:lnTo>
                          <a:pt x="139" y="1805"/>
                        </a:lnTo>
                        <a:lnTo>
                          <a:pt x="119" y="1831"/>
                        </a:lnTo>
                        <a:lnTo>
                          <a:pt x="98" y="1859"/>
                        </a:lnTo>
                        <a:lnTo>
                          <a:pt x="98" y="1859"/>
                        </a:lnTo>
                        <a:lnTo>
                          <a:pt x="75" y="1895"/>
                        </a:lnTo>
                        <a:lnTo>
                          <a:pt x="55" y="1931"/>
                        </a:lnTo>
                        <a:lnTo>
                          <a:pt x="39" y="1969"/>
                        </a:lnTo>
                        <a:lnTo>
                          <a:pt x="25" y="2008"/>
                        </a:lnTo>
                        <a:lnTo>
                          <a:pt x="14" y="2048"/>
                        </a:lnTo>
                        <a:lnTo>
                          <a:pt x="6" y="2090"/>
                        </a:lnTo>
                        <a:lnTo>
                          <a:pt x="1" y="2131"/>
                        </a:lnTo>
                        <a:lnTo>
                          <a:pt x="0" y="2173"/>
                        </a:lnTo>
                        <a:lnTo>
                          <a:pt x="0" y="2173"/>
                        </a:lnTo>
                        <a:lnTo>
                          <a:pt x="0" y="2202"/>
                        </a:lnTo>
                        <a:lnTo>
                          <a:pt x="3" y="2229"/>
                        </a:lnTo>
                        <a:lnTo>
                          <a:pt x="6" y="2257"/>
                        </a:lnTo>
                        <a:lnTo>
                          <a:pt x="12" y="2283"/>
                        </a:lnTo>
                        <a:lnTo>
                          <a:pt x="17" y="2310"/>
                        </a:lnTo>
                        <a:lnTo>
                          <a:pt x="25" y="2336"/>
                        </a:lnTo>
                        <a:lnTo>
                          <a:pt x="33" y="2361"/>
                        </a:lnTo>
                        <a:lnTo>
                          <a:pt x="42" y="2385"/>
                        </a:lnTo>
                        <a:lnTo>
                          <a:pt x="53" y="2410"/>
                        </a:lnTo>
                        <a:lnTo>
                          <a:pt x="65" y="2433"/>
                        </a:lnTo>
                        <a:lnTo>
                          <a:pt x="78" y="2456"/>
                        </a:lnTo>
                        <a:lnTo>
                          <a:pt x="93" y="2480"/>
                        </a:lnTo>
                        <a:lnTo>
                          <a:pt x="107" y="2501"/>
                        </a:lnTo>
                        <a:lnTo>
                          <a:pt x="123" y="2521"/>
                        </a:lnTo>
                        <a:lnTo>
                          <a:pt x="140" y="2542"/>
                        </a:lnTo>
                        <a:lnTo>
                          <a:pt x="158" y="2561"/>
                        </a:lnTo>
                        <a:lnTo>
                          <a:pt x="177" y="2579"/>
                        </a:lnTo>
                        <a:lnTo>
                          <a:pt x="197" y="2597"/>
                        </a:lnTo>
                        <a:lnTo>
                          <a:pt x="217" y="2613"/>
                        </a:lnTo>
                        <a:lnTo>
                          <a:pt x="239" y="2629"/>
                        </a:lnTo>
                        <a:lnTo>
                          <a:pt x="260" y="2643"/>
                        </a:lnTo>
                        <a:lnTo>
                          <a:pt x="284" y="2656"/>
                        </a:lnTo>
                        <a:lnTo>
                          <a:pt x="307" y="2669"/>
                        </a:lnTo>
                        <a:lnTo>
                          <a:pt x="330" y="2681"/>
                        </a:lnTo>
                        <a:lnTo>
                          <a:pt x="355" y="2691"/>
                        </a:lnTo>
                        <a:lnTo>
                          <a:pt x="381" y="2700"/>
                        </a:lnTo>
                        <a:lnTo>
                          <a:pt x="405" y="2707"/>
                        </a:lnTo>
                        <a:lnTo>
                          <a:pt x="433" y="2714"/>
                        </a:lnTo>
                        <a:lnTo>
                          <a:pt x="459" y="2720"/>
                        </a:lnTo>
                        <a:lnTo>
                          <a:pt x="486" y="2724"/>
                        </a:lnTo>
                        <a:lnTo>
                          <a:pt x="514" y="2726"/>
                        </a:lnTo>
                        <a:lnTo>
                          <a:pt x="541" y="2727"/>
                        </a:lnTo>
                        <a:lnTo>
                          <a:pt x="541" y="2727"/>
                        </a:lnTo>
                        <a:lnTo>
                          <a:pt x="573" y="2779"/>
                        </a:lnTo>
                        <a:lnTo>
                          <a:pt x="605" y="2828"/>
                        </a:lnTo>
                        <a:lnTo>
                          <a:pt x="640" y="2878"/>
                        </a:lnTo>
                        <a:lnTo>
                          <a:pt x="676" y="2924"/>
                        </a:lnTo>
                        <a:lnTo>
                          <a:pt x="712" y="2970"/>
                        </a:lnTo>
                        <a:lnTo>
                          <a:pt x="751" y="3015"/>
                        </a:lnTo>
                        <a:lnTo>
                          <a:pt x="792" y="3057"/>
                        </a:lnTo>
                        <a:lnTo>
                          <a:pt x="832" y="3099"/>
                        </a:lnTo>
                        <a:lnTo>
                          <a:pt x="874" y="3139"/>
                        </a:lnTo>
                        <a:lnTo>
                          <a:pt x="917" y="3179"/>
                        </a:lnTo>
                        <a:lnTo>
                          <a:pt x="962" y="3216"/>
                        </a:lnTo>
                        <a:lnTo>
                          <a:pt x="1009" y="3252"/>
                        </a:lnTo>
                        <a:lnTo>
                          <a:pt x="1056" y="3286"/>
                        </a:lnTo>
                        <a:lnTo>
                          <a:pt x="1104" y="3319"/>
                        </a:lnTo>
                        <a:lnTo>
                          <a:pt x="1153" y="3351"/>
                        </a:lnTo>
                        <a:lnTo>
                          <a:pt x="1203" y="3380"/>
                        </a:lnTo>
                        <a:lnTo>
                          <a:pt x="1253" y="3407"/>
                        </a:lnTo>
                        <a:lnTo>
                          <a:pt x="1305" y="3435"/>
                        </a:lnTo>
                        <a:lnTo>
                          <a:pt x="1359" y="3459"/>
                        </a:lnTo>
                        <a:lnTo>
                          <a:pt x="1412" y="3482"/>
                        </a:lnTo>
                        <a:lnTo>
                          <a:pt x="1466" y="3503"/>
                        </a:lnTo>
                        <a:lnTo>
                          <a:pt x="1521" y="3523"/>
                        </a:lnTo>
                        <a:lnTo>
                          <a:pt x="1577" y="3540"/>
                        </a:lnTo>
                        <a:lnTo>
                          <a:pt x="1634" y="3558"/>
                        </a:lnTo>
                        <a:lnTo>
                          <a:pt x="1690" y="3571"/>
                        </a:lnTo>
                        <a:lnTo>
                          <a:pt x="1748" y="3584"/>
                        </a:lnTo>
                        <a:lnTo>
                          <a:pt x="1806" y="3594"/>
                        </a:lnTo>
                        <a:lnTo>
                          <a:pt x="1864" y="3603"/>
                        </a:lnTo>
                        <a:lnTo>
                          <a:pt x="1923" y="3610"/>
                        </a:lnTo>
                        <a:lnTo>
                          <a:pt x="1983" y="3614"/>
                        </a:lnTo>
                        <a:lnTo>
                          <a:pt x="2042" y="3617"/>
                        </a:lnTo>
                        <a:lnTo>
                          <a:pt x="2103" y="3619"/>
                        </a:lnTo>
                        <a:lnTo>
                          <a:pt x="2103" y="3619"/>
                        </a:lnTo>
                        <a:lnTo>
                          <a:pt x="2164" y="3617"/>
                        </a:lnTo>
                        <a:lnTo>
                          <a:pt x="2224" y="3614"/>
                        </a:lnTo>
                        <a:lnTo>
                          <a:pt x="2285" y="3610"/>
                        </a:lnTo>
                        <a:lnTo>
                          <a:pt x="2346" y="3603"/>
                        </a:lnTo>
                        <a:lnTo>
                          <a:pt x="2405" y="3594"/>
                        </a:lnTo>
                        <a:lnTo>
                          <a:pt x="2466" y="3582"/>
                        </a:lnTo>
                        <a:lnTo>
                          <a:pt x="2524" y="3569"/>
                        </a:lnTo>
                        <a:lnTo>
                          <a:pt x="2583" y="3555"/>
                        </a:lnTo>
                        <a:lnTo>
                          <a:pt x="2641" y="3537"/>
                        </a:lnTo>
                        <a:lnTo>
                          <a:pt x="2699" y="3519"/>
                        </a:lnTo>
                        <a:lnTo>
                          <a:pt x="2756" y="3497"/>
                        </a:lnTo>
                        <a:lnTo>
                          <a:pt x="2812" y="3475"/>
                        </a:lnTo>
                        <a:lnTo>
                          <a:pt x="2867" y="3451"/>
                        </a:lnTo>
                        <a:lnTo>
                          <a:pt x="2922" y="3423"/>
                        </a:lnTo>
                        <a:lnTo>
                          <a:pt x="2975" y="3396"/>
                        </a:lnTo>
                        <a:lnTo>
                          <a:pt x="3029" y="3365"/>
                        </a:lnTo>
                        <a:lnTo>
                          <a:pt x="3029" y="3365"/>
                        </a:lnTo>
                        <a:lnTo>
                          <a:pt x="3075" y="3336"/>
                        </a:lnTo>
                        <a:lnTo>
                          <a:pt x="3123" y="3304"/>
                        </a:lnTo>
                        <a:lnTo>
                          <a:pt x="3168" y="3273"/>
                        </a:lnTo>
                        <a:lnTo>
                          <a:pt x="3213" y="3239"/>
                        </a:lnTo>
                        <a:lnTo>
                          <a:pt x="3256" y="3205"/>
                        </a:lnTo>
                        <a:lnTo>
                          <a:pt x="3298" y="3168"/>
                        </a:lnTo>
                        <a:lnTo>
                          <a:pt x="3340" y="3131"/>
                        </a:lnTo>
                        <a:lnTo>
                          <a:pt x="3381" y="3092"/>
                        </a:lnTo>
                        <a:lnTo>
                          <a:pt x="3418" y="3053"/>
                        </a:lnTo>
                        <a:lnTo>
                          <a:pt x="3456" y="3012"/>
                        </a:lnTo>
                        <a:lnTo>
                          <a:pt x="3494" y="2969"/>
                        </a:lnTo>
                        <a:lnTo>
                          <a:pt x="3528" y="2927"/>
                        </a:lnTo>
                        <a:lnTo>
                          <a:pt x="3562" y="2882"/>
                        </a:lnTo>
                        <a:lnTo>
                          <a:pt x="3595" y="2837"/>
                        </a:lnTo>
                        <a:lnTo>
                          <a:pt x="3625" y="2791"/>
                        </a:lnTo>
                        <a:lnTo>
                          <a:pt x="3654" y="2743"/>
                        </a:lnTo>
                        <a:lnTo>
                          <a:pt x="3654" y="2743"/>
                        </a:lnTo>
                        <a:lnTo>
                          <a:pt x="3679" y="2740"/>
                        </a:lnTo>
                        <a:lnTo>
                          <a:pt x="3702" y="2736"/>
                        </a:lnTo>
                        <a:lnTo>
                          <a:pt x="3725" y="2731"/>
                        </a:lnTo>
                        <a:lnTo>
                          <a:pt x="3748" y="2724"/>
                        </a:lnTo>
                        <a:lnTo>
                          <a:pt x="3770" y="2718"/>
                        </a:lnTo>
                        <a:lnTo>
                          <a:pt x="3793" y="2710"/>
                        </a:lnTo>
                        <a:lnTo>
                          <a:pt x="3815" y="2701"/>
                        </a:lnTo>
                        <a:lnTo>
                          <a:pt x="3837" y="2691"/>
                        </a:lnTo>
                        <a:lnTo>
                          <a:pt x="3857" y="2681"/>
                        </a:lnTo>
                        <a:lnTo>
                          <a:pt x="3877" y="2669"/>
                        </a:lnTo>
                        <a:lnTo>
                          <a:pt x="3897" y="2656"/>
                        </a:lnTo>
                        <a:lnTo>
                          <a:pt x="3918" y="2643"/>
                        </a:lnTo>
                        <a:lnTo>
                          <a:pt x="3936" y="2629"/>
                        </a:lnTo>
                        <a:lnTo>
                          <a:pt x="3955" y="2614"/>
                        </a:lnTo>
                        <a:lnTo>
                          <a:pt x="3973" y="2598"/>
                        </a:lnTo>
                        <a:lnTo>
                          <a:pt x="3990" y="2581"/>
                        </a:lnTo>
                        <a:lnTo>
                          <a:pt x="3990" y="2581"/>
                        </a:lnTo>
                        <a:lnTo>
                          <a:pt x="4009" y="2562"/>
                        </a:lnTo>
                        <a:lnTo>
                          <a:pt x="4028" y="2540"/>
                        </a:lnTo>
                        <a:lnTo>
                          <a:pt x="4044" y="2519"/>
                        </a:lnTo>
                        <a:lnTo>
                          <a:pt x="4059" y="2497"/>
                        </a:lnTo>
                        <a:lnTo>
                          <a:pt x="4074" y="2474"/>
                        </a:lnTo>
                        <a:lnTo>
                          <a:pt x="4087" y="2451"/>
                        </a:lnTo>
                        <a:lnTo>
                          <a:pt x="4099" y="2427"/>
                        </a:lnTo>
                        <a:lnTo>
                          <a:pt x="4110" y="2403"/>
                        </a:lnTo>
                        <a:lnTo>
                          <a:pt x="4119" y="2377"/>
                        </a:lnTo>
                        <a:lnTo>
                          <a:pt x="4127" y="2352"/>
                        </a:lnTo>
                        <a:lnTo>
                          <a:pt x="4135" y="2326"/>
                        </a:lnTo>
                        <a:lnTo>
                          <a:pt x="4141" y="2300"/>
                        </a:lnTo>
                        <a:lnTo>
                          <a:pt x="4145" y="2273"/>
                        </a:lnTo>
                        <a:lnTo>
                          <a:pt x="4148" y="2247"/>
                        </a:lnTo>
                        <a:lnTo>
                          <a:pt x="4151" y="2219"/>
                        </a:lnTo>
                        <a:lnTo>
                          <a:pt x="4151" y="2192"/>
                        </a:lnTo>
                        <a:lnTo>
                          <a:pt x="4151" y="2192"/>
                        </a:lnTo>
                        <a:lnTo>
                          <a:pt x="4149" y="2158"/>
                        </a:lnTo>
                        <a:lnTo>
                          <a:pt x="4146" y="2123"/>
                        </a:lnTo>
                        <a:lnTo>
                          <a:pt x="4142" y="2090"/>
                        </a:lnTo>
                        <a:lnTo>
                          <a:pt x="4135" y="2058"/>
                        </a:lnTo>
                        <a:lnTo>
                          <a:pt x="4126" y="2027"/>
                        </a:lnTo>
                        <a:lnTo>
                          <a:pt x="4114" y="1995"/>
                        </a:lnTo>
                        <a:lnTo>
                          <a:pt x="4101" y="1964"/>
                        </a:lnTo>
                        <a:lnTo>
                          <a:pt x="4087" y="1934"/>
                        </a:lnTo>
                        <a:lnTo>
                          <a:pt x="4071" y="1905"/>
                        </a:lnTo>
                        <a:lnTo>
                          <a:pt x="4054" y="1877"/>
                        </a:lnTo>
                        <a:lnTo>
                          <a:pt x="4033" y="1851"/>
                        </a:lnTo>
                        <a:lnTo>
                          <a:pt x="4012" y="1825"/>
                        </a:lnTo>
                        <a:lnTo>
                          <a:pt x="3990" y="1801"/>
                        </a:lnTo>
                        <a:lnTo>
                          <a:pt x="3965" y="1778"/>
                        </a:lnTo>
                        <a:lnTo>
                          <a:pt x="3939" y="1756"/>
                        </a:lnTo>
                        <a:lnTo>
                          <a:pt x="3913" y="1737"/>
                        </a:lnTo>
                        <a:lnTo>
                          <a:pt x="3913" y="1737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6" name="Line 21">
                    <a:extLst>
                      <a:ext uri="{FF2B5EF4-FFF2-40B4-BE49-F238E27FC236}">
                        <a16:creationId xmlns="" xmlns:a16="http://schemas.microsoft.com/office/drawing/2014/main" id="{112EBCD0-1350-40ED-A7A2-4055A067CD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371513" y="-286067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7" name="Freeform 22">
                    <a:extLst>
                      <a:ext uri="{FF2B5EF4-FFF2-40B4-BE49-F238E27FC236}">
                        <a16:creationId xmlns="" xmlns:a16="http://schemas.microsoft.com/office/drawing/2014/main" id="{B6827ECD-1C24-4DEC-9AD2-40B9A91946C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10800000">
                    <a:off x="11295063" y="-2433638"/>
                    <a:ext cx="1336675" cy="487363"/>
                  </a:xfrm>
                  <a:custGeom>
                    <a:avLst/>
                    <a:gdLst/>
                    <a:ahLst/>
                    <a:cxnLst>
                      <a:cxn ang="0">
                        <a:pos x="1657" y="601"/>
                      </a:cxn>
                      <a:cxn ang="0">
                        <a:pos x="1680" y="569"/>
                      </a:cxn>
                      <a:cxn ang="0">
                        <a:pos x="1682" y="528"/>
                      </a:cxn>
                      <a:cxn ang="0">
                        <a:pos x="1662" y="486"/>
                      </a:cxn>
                      <a:cxn ang="0">
                        <a:pos x="1612" y="405"/>
                      </a:cxn>
                      <a:cxn ang="0">
                        <a:pos x="1554" y="330"/>
                      </a:cxn>
                      <a:cxn ang="0">
                        <a:pos x="1489" y="261"/>
                      </a:cxn>
                      <a:cxn ang="0">
                        <a:pos x="1417" y="198"/>
                      </a:cxn>
                      <a:cxn ang="0">
                        <a:pos x="1339" y="143"/>
                      </a:cxn>
                      <a:cxn ang="0">
                        <a:pos x="1282" y="110"/>
                      </a:cxn>
                      <a:cxn ang="0">
                        <a:pos x="1194" y="68"/>
                      </a:cxn>
                      <a:cxn ang="0">
                        <a:pos x="1101" y="36"/>
                      </a:cxn>
                      <a:cxn ang="0">
                        <a:pos x="1006" y="14"/>
                      </a:cxn>
                      <a:cxn ang="0">
                        <a:pos x="908" y="1"/>
                      </a:cxn>
                      <a:cxn ang="0">
                        <a:pos x="842" y="0"/>
                      </a:cxn>
                      <a:cxn ang="0">
                        <a:pos x="748" y="4"/>
                      </a:cxn>
                      <a:cxn ang="0">
                        <a:pos x="656" y="19"/>
                      </a:cxn>
                      <a:cxn ang="0">
                        <a:pos x="566" y="42"/>
                      </a:cxn>
                      <a:cxn ang="0">
                        <a:pos x="478" y="74"/>
                      </a:cxn>
                      <a:cxn ang="0">
                        <a:pos x="394" y="114"/>
                      </a:cxn>
                      <a:cxn ang="0">
                        <a:pos x="342" y="145"/>
                      </a:cxn>
                      <a:cxn ang="0">
                        <a:pos x="268" y="198"/>
                      </a:cxn>
                      <a:cxn ang="0">
                        <a:pos x="198" y="256"/>
                      </a:cxn>
                      <a:cxn ang="0">
                        <a:pos x="136" y="321"/>
                      </a:cxn>
                      <a:cxn ang="0">
                        <a:pos x="81" y="394"/>
                      </a:cxn>
                      <a:cxn ang="0">
                        <a:pos x="32" y="469"/>
                      </a:cxn>
                      <a:cxn ang="0">
                        <a:pos x="7" y="515"/>
                      </a:cxn>
                      <a:cxn ang="0">
                        <a:pos x="0" y="556"/>
                      </a:cxn>
                      <a:cxn ang="0">
                        <a:pos x="16" y="592"/>
                      </a:cxn>
                      <a:cxn ang="0">
                        <a:pos x="39" y="608"/>
                      </a:cxn>
                      <a:cxn ang="0">
                        <a:pos x="78" y="615"/>
                      </a:cxn>
                      <a:cxn ang="0">
                        <a:pos x="116" y="599"/>
                      </a:cxn>
                      <a:cxn ang="0">
                        <a:pos x="132" y="577"/>
                      </a:cxn>
                      <a:cxn ang="0">
                        <a:pos x="180" y="495"/>
                      </a:cxn>
                      <a:cxn ang="0">
                        <a:pos x="277" y="376"/>
                      </a:cxn>
                      <a:cxn ang="0">
                        <a:pos x="395" y="276"/>
                      </a:cxn>
                      <a:cxn ang="0">
                        <a:pos x="462" y="236"/>
                      </a:cxn>
                      <a:cxn ang="0">
                        <a:pos x="533" y="201"/>
                      </a:cxn>
                      <a:cxn ang="0">
                        <a:pos x="607" y="175"/>
                      </a:cxn>
                      <a:cxn ang="0">
                        <a:pos x="685" y="155"/>
                      </a:cxn>
                      <a:cxn ang="0">
                        <a:pos x="763" y="143"/>
                      </a:cxn>
                      <a:cxn ang="0">
                        <a:pos x="842" y="139"/>
                      </a:cxn>
                      <a:cxn ang="0">
                        <a:pos x="899" y="142"/>
                      </a:cxn>
                      <a:cxn ang="0">
                        <a:pos x="981" y="152"/>
                      </a:cxn>
                      <a:cxn ang="0">
                        <a:pos x="1062" y="171"/>
                      </a:cxn>
                      <a:cxn ang="0">
                        <a:pos x="1141" y="197"/>
                      </a:cxn>
                      <a:cxn ang="0">
                        <a:pos x="1216" y="233"/>
                      </a:cxn>
                      <a:cxn ang="0">
                        <a:pos x="1265" y="261"/>
                      </a:cxn>
                      <a:cxn ang="0">
                        <a:pos x="1332" y="308"/>
                      </a:cxn>
                      <a:cxn ang="0">
                        <a:pos x="1392" y="360"/>
                      </a:cxn>
                      <a:cxn ang="0">
                        <a:pos x="1447" y="420"/>
                      </a:cxn>
                      <a:cxn ang="0">
                        <a:pos x="1497" y="485"/>
                      </a:cxn>
                      <a:cxn ang="0">
                        <a:pos x="1540" y="553"/>
                      </a:cxn>
                      <a:cxn ang="0">
                        <a:pos x="1560" y="589"/>
                      </a:cxn>
                      <a:cxn ang="0">
                        <a:pos x="1592" y="612"/>
                      </a:cxn>
                      <a:cxn ang="0">
                        <a:pos x="1633" y="614"/>
                      </a:cxn>
                      <a:cxn ang="0">
                        <a:pos x="1646" y="608"/>
                      </a:cxn>
                    </a:cxnLst>
                    <a:rect l="0" t="0" r="r" b="b"/>
                    <a:pathLst>
                      <a:path w="1685" h="615">
                        <a:moveTo>
                          <a:pt x="1646" y="608"/>
                        </a:moveTo>
                        <a:lnTo>
                          <a:pt x="1646" y="608"/>
                        </a:lnTo>
                        <a:lnTo>
                          <a:pt x="1657" y="601"/>
                        </a:lnTo>
                        <a:lnTo>
                          <a:pt x="1667" y="592"/>
                        </a:lnTo>
                        <a:lnTo>
                          <a:pt x="1676" y="580"/>
                        </a:lnTo>
                        <a:lnTo>
                          <a:pt x="1680" y="569"/>
                        </a:lnTo>
                        <a:lnTo>
                          <a:pt x="1683" y="556"/>
                        </a:lnTo>
                        <a:lnTo>
                          <a:pt x="1685" y="541"/>
                        </a:lnTo>
                        <a:lnTo>
                          <a:pt x="1682" y="528"/>
                        </a:lnTo>
                        <a:lnTo>
                          <a:pt x="1677" y="515"/>
                        </a:lnTo>
                        <a:lnTo>
                          <a:pt x="1677" y="515"/>
                        </a:lnTo>
                        <a:lnTo>
                          <a:pt x="1662" y="486"/>
                        </a:lnTo>
                        <a:lnTo>
                          <a:pt x="1647" y="459"/>
                        </a:lnTo>
                        <a:lnTo>
                          <a:pt x="1630" y="431"/>
                        </a:lnTo>
                        <a:lnTo>
                          <a:pt x="1612" y="405"/>
                        </a:lnTo>
                        <a:lnTo>
                          <a:pt x="1594" y="379"/>
                        </a:lnTo>
                        <a:lnTo>
                          <a:pt x="1575" y="355"/>
                        </a:lnTo>
                        <a:lnTo>
                          <a:pt x="1554" y="330"/>
                        </a:lnTo>
                        <a:lnTo>
                          <a:pt x="1534" y="305"/>
                        </a:lnTo>
                        <a:lnTo>
                          <a:pt x="1512" y="282"/>
                        </a:lnTo>
                        <a:lnTo>
                          <a:pt x="1489" y="261"/>
                        </a:lnTo>
                        <a:lnTo>
                          <a:pt x="1466" y="239"/>
                        </a:lnTo>
                        <a:lnTo>
                          <a:pt x="1442" y="219"/>
                        </a:lnTo>
                        <a:lnTo>
                          <a:pt x="1417" y="198"/>
                        </a:lnTo>
                        <a:lnTo>
                          <a:pt x="1392" y="178"/>
                        </a:lnTo>
                        <a:lnTo>
                          <a:pt x="1366" y="161"/>
                        </a:lnTo>
                        <a:lnTo>
                          <a:pt x="1339" y="143"/>
                        </a:lnTo>
                        <a:lnTo>
                          <a:pt x="1339" y="143"/>
                        </a:lnTo>
                        <a:lnTo>
                          <a:pt x="1311" y="126"/>
                        </a:lnTo>
                        <a:lnTo>
                          <a:pt x="1282" y="110"/>
                        </a:lnTo>
                        <a:lnTo>
                          <a:pt x="1253" y="96"/>
                        </a:lnTo>
                        <a:lnTo>
                          <a:pt x="1223" y="81"/>
                        </a:lnTo>
                        <a:lnTo>
                          <a:pt x="1194" y="68"/>
                        </a:lnTo>
                        <a:lnTo>
                          <a:pt x="1164" y="56"/>
                        </a:lnTo>
                        <a:lnTo>
                          <a:pt x="1132" y="46"/>
                        </a:lnTo>
                        <a:lnTo>
                          <a:pt x="1101" y="36"/>
                        </a:lnTo>
                        <a:lnTo>
                          <a:pt x="1070" y="28"/>
                        </a:lnTo>
                        <a:lnTo>
                          <a:pt x="1038" y="20"/>
                        </a:lnTo>
                        <a:lnTo>
                          <a:pt x="1006" y="14"/>
                        </a:lnTo>
                        <a:lnTo>
                          <a:pt x="974" y="9"/>
                        </a:lnTo>
                        <a:lnTo>
                          <a:pt x="941" y="4"/>
                        </a:lnTo>
                        <a:lnTo>
                          <a:pt x="908" y="1"/>
                        </a:lnTo>
                        <a:lnTo>
                          <a:pt x="876" y="0"/>
                        </a:lnTo>
                        <a:lnTo>
                          <a:pt x="842" y="0"/>
                        </a:lnTo>
                        <a:lnTo>
                          <a:pt x="842" y="0"/>
                        </a:lnTo>
                        <a:lnTo>
                          <a:pt x="811" y="0"/>
                        </a:lnTo>
                        <a:lnTo>
                          <a:pt x="780" y="1"/>
                        </a:lnTo>
                        <a:lnTo>
                          <a:pt x="748" y="4"/>
                        </a:lnTo>
                        <a:lnTo>
                          <a:pt x="718" y="9"/>
                        </a:lnTo>
                        <a:lnTo>
                          <a:pt x="686" y="13"/>
                        </a:lnTo>
                        <a:lnTo>
                          <a:pt x="656" y="19"/>
                        </a:lnTo>
                        <a:lnTo>
                          <a:pt x="625" y="25"/>
                        </a:lnTo>
                        <a:lnTo>
                          <a:pt x="595" y="33"/>
                        </a:lnTo>
                        <a:lnTo>
                          <a:pt x="566" y="42"/>
                        </a:lnTo>
                        <a:lnTo>
                          <a:pt x="536" y="51"/>
                        </a:lnTo>
                        <a:lnTo>
                          <a:pt x="507" y="62"/>
                        </a:lnTo>
                        <a:lnTo>
                          <a:pt x="478" y="74"/>
                        </a:lnTo>
                        <a:lnTo>
                          <a:pt x="450" y="85"/>
                        </a:lnTo>
                        <a:lnTo>
                          <a:pt x="421" y="100"/>
                        </a:lnTo>
                        <a:lnTo>
                          <a:pt x="394" y="114"/>
                        </a:lnTo>
                        <a:lnTo>
                          <a:pt x="368" y="129"/>
                        </a:lnTo>
                        <a:lnTo>
                          <a:pt x="368" y="129"/>
                        </a:lnTo>
                        <a:lnTo>
                          <a:pt x="342" y="145"/>
                        </a:lnTo>
                        <a:lnTo>
                          <a:pt x="316" y="162"/>
                        </a:lnTo>
                        <a:lnTo>
                          <a:pt x="291" y="179"/>
                        </a:lnTo>
                        <a:lnTo>
                          <a:pt x="268" y="198"/>
                        </a:lnTo>
                        <a:lnTo>
                          <a:pt x="243" y="217"/>
                        </a:lnTo>
                        <a:lnTo>
                          <a:pt x="222" y="236"/>
                        </a:lnTo>
                        <a:lnTo>
                          <a:pt x="198" y="256"/>
                        </a:lnTo>
                        <a:lnTo>
                          <a:pt x="178" y="278"/>
                        </a:lnTo>
                        <a:lnTo>
                          <a:pt x="156" y="300"/>
                        </a:lnTo>
                        <a:lnTo>
                          <a:pt x="136" y="321"/>
                        </a:lnTo>
                        <a:lnTo>
                          <a:pt x="117" y="344"/>
                        </a:lnTo>
                        <a:lnTo>
                          <a:pt x="99" y="369"/>
                        </a:lnTo>
                        <a:lnTo>
                          <a:pt x="81" y="394"/>
                        </a:lnTo>
                        <a:lnTo>
                          <a:pt x="64" y="418"/>
                        </a:lnTo>
                        <a:lnTo>
                          <a:pt x="48" y="443"/>
                        </a:lnTo>
                        <a:lnTo>
                          <a:pt x="32" y="469"/>
                        </a:lnTo>
                        <a:lnTo>
                          <a:pt x="32" y="469"/>
                        </a:lnTo>
                        <a:lnTo>
                          <a:pt x="7" y="515"/>
                        </a:lnTo>
                        <a:lnTo>
                          <a:pt x="7" y="515"/>
                        </a:lnTo>
                        <a:lnTo>
                          <a:pt x="3" y="528"/>
                        </a:lnTo>
                        <a:lnTo>
                          <a:pt x="0" y="541"/>
                        </a:lnTo>
                        <a:lnTo>
                          <a:pt x="0" y="556"/>
                        </a:lnTo>
                        <a:lnTo>
                          <a:pt x="3" y="569"/>
                        </a:lnTo>
                        <a:lnTo>
                          <a:pt x="9" y="580"/>
                        </a:lnTo>
                        <a:lnTo>
                          <a:pt x="16" y="592"/>
                        </a:lnTo>
                        <a:lnTo>
                          <a:pt x="26" y="601"/>
                        </a:lnTo>
                        <a:lnTo>
                          <a:pt x="39" y="608"/>
                        </a:lnTo>
                        <a:lnTo>
                          <a:pt x="39" y="608"/>
                        </a:lnTo>
                        <a:lnTo>
                          <a:pt x="52" y="614"/>
                        </a:lnTo>
                        <a:lnTo>
                          <a:pt x="65" y="615"/>
                        </a:lnTo>
                        <a:lnTo>
                          <a:pt x="78" y="615"/>
                        </a:lnTo>
                        <a:lnTo>
                          <a:pt x="91" y="612"/>
                        </a:lnTo>
                        <a:lnTo>
                          <a:pt x="104" y="606"/>
                        </a:lnTo>
                        <a:lnTo>
                          <a:pt x="116" y="599"/>
                        </a:lnTo>
                        <a:lnTo>
                          <a:pt x="125" y="589"/>
                        </a:lnTo>
                        <a:lnTo>
                          <a:pt x="132" y="577"/>
                        </a:lnTo>
                        <a:lnTo>
                          <a:pt x="132" y="577"/>
                        </a:lnTo>
                        <a:lnTo>
                          <a:pt x="154" y="538"/>
                        </a:lnTo>
                        <a:lnTo>
                          <a:pt x="154" y="538"/>
                        </a:lnTo>
                        <a:lnTo>
                          <a:pt x="180" y="495"/>
                        </a:lnTo>
                        <a:lnTo>
                          <a:pt x="210" y="453"/>
                        </a:lnTo>
                        <a:lnTo>
                          <a:pt x="242" y="414"/>
                        </a:lnTo>
                        <a:lnTo>
                          <a:pt x="277" y="376"/>
                        </a:lnTo>
                        <a:lnTo>
                          <a:pt x="314" y="340"/>
                        </a:lnTo>
                        <a:lnTo>
                          <a:pt x="353" y="307"/>
                        </a:lnTo>
                        <a:lnTo>
                          <a:pt x="395" y="276"/>
                        </a:lnTo>
                        <a:lnTo>
                          <a:pt x="439" y="249"/>
                        </a:lnTo>
                        <a:lnTo>
                          <a:pt x="439" y="249"/>
                        </a:lnTo>
                        <a:lnTo>
                          <a:pt x="462" y="236"/>
                        </a:lnTo>
                        <a:lnTo>
                          <a:pt x="485" y="224"/>
                        </a:lnTo>
                        <a:lnTo>
                          <a:pt x="508" y="213"/>
                        </a:lnTo>
                        <a:lnTo>
                          <a:pt x="533" y="201"/>
                        </a:lnTo>
                        <a:lnTo>
                          <a:pt x="557" y="192"/>
                        </a:lnTo>
                        <a:lnTo>
                          <a:pt x="582" y="182"/>
                        </a:lnTo>
                        <a:lnTo>
                          <a:pt x="607" y="175"/>
                        </a:lnTo>
                        <a:lnTo>
                          <a:pt x="633" y="168"/>
                        </a:lnTo>
                        <a:lnTo>
                          <a:pt x="659" y="161"/>
                        </a:lnTo>
                        <a:lnTo>
                          <a:pt x="685" y="155"/>
                        </a:lnTo>
                        <a:lnTo>
                          <a:pt x="709" y="151"/>
                        </a:lnTo>
                        <a:lnTo>
                          <a:pt x="737" y="146"/>
                        </a:lnTo>
                        <a:lnTo>
                          <a:pt x="763" y="143"/>
                        </a:lnTo>
                        <a:lnTo>
                          <a:pt x="789" y="140"/>
                        </a:lnTo>
                        <a:lnTo>
                          <a:pt x="815" y="140"/>
                        </a:lnTo>
                        <a:lnTo>
                          <a:pt x="842" y="139"/>
                        </a:lnTo>
                        <a:lnTo>
                          <a:pt x="842" y="139"/>
                        </a:lnTo>
                        <a:lnTo>
                          <a:pt x="870" y="140"/>
                        </a:lnTo>
                        <a:lnTo>
                          <a:pt x="899" y="142"/>
                        </a:lnTo>
                        <a:lnTo>
                          <a:pt x="926" y="143"/>
                        </a:lnTo>
                        <a:lnTo>
                          <a:pt x="954" y="148"/>
                        </a:lnTo>
                        <a:lnTo>
                          <a:pt x="981" y="152"/>
                        </a:lnTo>
                        <a:lnTo>
                          <a:pt x="1009" y="156"/>
                        </a:lnTo>
                        <a:lnTo>
                          <a:pt x="1035" y="164"/>
                        </a:lnTo>
                        <a:lnTo>
                          <a:pt x="1062" y="171"/>
                        </a:lnTo>
                        <a:lnTo>
                          <a:pt x="1088" y="178"/>
                        </a:lnTo>
                        <a:lnTo>
                          <a:pt x="1115" y="188"/>
                        </a:lnTo>
                        <a:lnTo>
                          <a:pt x="1141" y="197"/>
                        </a:lnTo>
                        <a:lnTo>
                          <a:pt x="1167" y="208"/>
                        </a:lnTo>
                        <a:lnTo>
                          <a:pt x="1191" y="220"/>
                        </a:lnTo>
                        <a:lnTo>
                          <a:pt x="1216" y="233"/>
                        </a:lnTo>
                        <a:lnTo>
                          <a:pt x="1240" y="246"/>
                        </a:lnTo>
                        <a:lnTo>
                          <a:pt x="1265" y="261"/>
                        </a:lnTo>
                        <a:lnTo>
                          <a:pt x="1265" y="261"/>
                        </a:lnTo>
                        <a:lnTo>
                          <a:pt x="1288" y="276"/>
                        </a:lnTo>
                        <a:lnTo>
                          <a:pt x="1310" y="291"/>
                        </a:lnTo>
                        <a:lnTo>
                          <a:pt x="1332" y="308"/>
                        </a:lnTo>
                        <a:lnTo>
                          <a:pt x="1352" y="324"/>
                        </a:lnTo>
                        <a:lnTo>
                          <a:pt x="1372" y="343"/>
                        </a:lnTo>
                        <a:lnTo>
                          <a:pt x="1392" y="360"/>
                        </a:lnTo>
                        <a:lnTo>
                          <a:pt x="1411" y="381"/>
                        </a:lnTo>
                        <a:lnTo>
                          <a:pt x="1430" y="399"/>
                        </a:lnTo>
                        <a:lnTo>
                          <a:pt x="1447" y="420"/>
                        </a:lnTo>
                        <a:lnTo>
                          <a:pt x="1465" y="441"/>
                        </a:lnTo>
                        <a:lnTo>
                          <a:pt x="1482" y="462"/>
                        </a:lnTo>
                        <a:lnTo>
                          <a:pt x="1497" y="485"/>
                        </a:lnTo>
                        <a:lnTo>
                          <a:pt x="1512" y="507"/>
                        </a:lnTo>
                        <a:lnTo>
                          <a:pt x="1526" y="530"/>
                        </a:lnTo>
                        <a:lnTo>
                          <a:pt x="1540" y="553"/>
                        </a:lnTo>
                        <a:lnTo>
                          <a:pt x="1552" y="577"/>
                        </a:lnTo>
                        <a:lnTo>
                          <a:pt x="1552" y="577"/>
                        </a:lnTo>
                        <a:lnTo>
                          <a:pt x="1560" y="589"/>
                        </a:lnTo>
                        <a:lnTo>
                          <a:pt x="1569" y="599"/>
                        </a:lnTo>
                        <a:lnTo>
                          <a:pt x="1581" y="606"/>
                        </a:lnTo>
                        <a:lnTo>
                          <a:pt x="1592" y="612"/>
                        </a:lnTo>
                        <a:lnTo>
                          <a:pt x="1605" y="615"/>
                        </a:lnTo>
                        <a:lnTo>
                          <a:pt x="1620" y="615"/>
                        </a:lnTo>
                        <a:lnTo>
                          <a:pt x="1633" y="614"/>
                        </a:lnTo>
                        <a:lnTo>
                          <a:pt x="1646" y="608"/>
                        </a:lnTo>
                        <a:lnTo>
                          <a:pt x="1646" y="608"/>
                        </a:lnTo>
                        <a:close/>
                        <a:moveTo>
                          <a:pt x="1646" y="608"/>
                        </a:moveTo>
                        <a:lnTo>
                          <a:pt x="1646" y="60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8" name="Line 24">
                    <a:extLst>
                      <a:ext uri="{FF2B5EF4-FFF2-40B4-BE49-F238E27FC236}">
                        <a16:creationId xmlns="" xmlns:a16="http://schemas.microsoft.com/office/drawing/2014/main" id="{CF0AB5C6-09D1-48BD-8C8F-27DB865533E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601576" y="-195262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29" name="Freeform 13">
                    <a:extLst>
                      <a:ext uri="{FF2B5EF4-FFF2-40B4-BE49-F238E27FC236}">
                        <a16:creationId xmlns="" xmlns:a16="http://schemas.microsoft.com/office/drawing/2014/main" id="{7BDD9A55-C4F7-4456-BE8E-E746C74F9AC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2315826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1" y="110"/>
                      </a:cxn>
                      <a:cxn ang="0">
                        <a:pos x="464" y="152"/>
                      </a:cxn>
                      <a:cxn ang="0">
                        <a:pos x="479" y="200"/>
                      </a:cxn>
                      <a:cxn ang="0">
                        <a:pos x="483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4" y="372"/>
                      </a:cxn>
                      <a:cxn ang="0">
                        <a:pos x="428" y="411"/>
                      </a:cxn>
                      <a:cxn ang="0">
                        <a:pos x="395" y="446"/>
                      </a:cxn>
                      <a:cxn ang="0">
                        <a:pos x="357" y="474"/>
                      </a:cxn>
                      <a:cxn ang="0">
                        <a:pos x="314" y="492"/>
                      </a:cxn>
                      <a:cxn ang="0">
                        <a:pos x="266" y="503"/>
                      </a:cxn>
                      <a:cxn ang="0">
                        <a:pos x="241" y="504"/>
                      </a:cxn>
                      <a:cxn ang="0">
                        <a:pos x="194" y="498"/>
                      </a:cxn>
                      <a:cxn ang="0">
                        <a:pos x="147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6" y="303"/>
                      </a:cxn>
                      <a:cxn ang="0">
                        <a:pos x="0" y="252"/>
                      </a:cxn>
                      <a:cxn ang="0">
                        <a:pos x="1" y="226"/>
                      </a:cxn>
                      <a:cxn ang="0">
                        <a:pos x="11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7" y="31"/>
                      </a:cxn>
                      <a:cxn ang="0">
                        <a:pos x="171" y="12"/>
                      </a:cxn>
                      <a:cxn ang="0">
                        <a:pos x="217" y="2"/>
                      </a:cxn>
                      <a:cxn ang="0">
                        <a:pos x="241" y="0"/>
                      </a:cxn>
                      <a:cxn ang="0">
                        <a:pos x="289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3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1" y="110"/>
                        </a:lnTo>
                        <a:lnTo>
                          <a:pt x="453" y="131"/>
                        </a:lnTo>
                        <a:lnTo>
                          <a:pt x="464" y="152"/>
                        </a:lnTo>
                        <a:lnTo>
                          <a:pt x="472" y="176"/>
                        </a:lnTo>
                        <a:lnTo>
                          <a:pt x="479" y="200"/>
                        </a:lnTo>
                        <a:lnTo>
                          <a:pt x="482" y="226"/>
                        </a:lnTo>
                        <a:lnTo>
                          <a:pt x="483" y="252"/>
                        </a:lnTo>
                        <a:lnTo>
                          <a:pt x="483" y="252"/>
                        </a:lnTo>
                        <a:lnTo>
                          <a:pt x="482" y="278"/>
                        </a:lnTo>
                        <a:lnTo>
                          <a:pt x="479" y="303"/>
                        </a:lnTo>
                        <a:lnTo>
                          <a:pt x="472" y="327"/>
                        </a:lnTo>
                        <a:lnTo>
                          <a:pt x="464" y="349"/>
                        </a:lnTo>
                        <a:lnTo>
                          <a:pt x="454" y="372"/>
                        </a:lnTo>
                        <a:lnTo>
                          <a:pt x="441" y="393"/>
                        </a:lnTo>
                        <a:lnTo>
                          <a:pt x="428" y="411"/>
                        </a:lnTo>
                        <a:lnTo>
                          <a:pt x="412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7" y="474"/>
                        </a:lnTo>
                        <a:lnTo>
                          <a:pt x="335" y="484"/>
                        </a:lnTo>
                        <a:lnTo>
                          <a:pt x="314" y="492"/>
                        </a:lnTo>
                        <a:lnTo>
                          <a:pt x="291" y="498"/>
                        </a:lnTo>
                        <a:lnTo>
                          <a:pt x="266" y="503"/>
                        </a:lnTo>
                        <a:lnTo>
                          <a:pt x="241" y="504"/>
                        </a:lnTo>
                        <a:lnTo>
                          <a:pt x="241" y="504"/>
                        </a:lnTo>
                        <a:lnTo>
                          <a:pt x="217" y="503"/>
                        </a:lnTo>
                        <a:lnTo>
                          <a:pt x="194" y="498"/>
                        </a:lnTo>
                        <a:lnTo>
                          <a:pt x="171" y="492"/>
                        </a:lnTo>
                        <a:lnTo>
                          <a:pt x="147" y="484"/>
                        </a:lnTo>
                        <a:lnTo>
                          <a:pt x="127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1" y="327"/>
                        </a:lnTo>
                        <a:lnTo>
                          <a:pt x="6" y="303"/>
                        </a:lnTo>
                        <a:lnTo>
                          <a:pt x="1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1" y="226"/>
                        </a:lnTo>
                        <a:lnTo>
                          <a:pt x="6" y="202"/>
                        </a:lnTo>
                        <a:lnTo>
                          <a:pt x="11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7" y="31"/>
                        </a:lnTo>
                        <a:lnTo>
                          <a:pt x="147" y="21"/>
                        </a:lnTo>
                        <a:lnTo>
                          <a:pt x="171" y="12"/>
                        </a:lnTo>
                        <a:lnTo>
                          <a:pt x="194" y="5"/>
                        </a:lnTo>
                        <a:lnTo>
                          <a:pt x="217" y="2"/>
                        </a:lnTo>
                        <a:lnTo>
                          <a:pt x="241" y="0"/>
                        </a:lnTo>
                        <a:lnTo>
                          <a:pt x="241" y="0"/>
                        </a:lnTo>
                        <a:lnTo>
                          <a:pt x="266" y="2"/>
                        </a:lnTo>
                        <a:lnTo>
                          <a:pt x="289" y="5"/>
                        </a:lnTo>
                        <a:lnTo>
                          <a:pt x="312" y="11"/>
                        </a:lnTo>
                        <a:lnTo>
                          <a:pt x="334" y="19"/>
                        </a:lnTo>
                        <a:lnTo>
                          <a:pt x="356" y="29"/>
                        </a:lnTo>
                        <a:lnTo>
                          <a:pt x="375" y="42"/>
                        </a:lnTo>
                        <a:lnTo>
                          <a:pt x="393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  <a:close/>
                        <a:moveTo>
                          <a:pt x="411" y="73"/>
                        </a:moveTo>
                        <a:lnTo>
                          <a:pt x="411" y="7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0" name="Freeform 16">
                    <a:extLst>
                      <a:ext uri="{FF2B5EF4-FFF2-40B4-BE49-F238E27FC236}">
                        <a16:creationId xmlns="" xmlns:a16="http://schemas.microsoft.com/office/drawing/2014/main" id="{AA0AD095-A173-4592-B5A0-FEC8CF92602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1174413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2" y="110"/>
                      </a:cxn>
                      <a:cxn ang="0">
                        <a:pos x="463" y="152"/>
                      </a:cxn>
                      <a:cxn ang="0">
                        <a:pos x="478" y="200"/>
                      </a:cxn>
                      <a:cxn ang="0">
                        <a:pos x="484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5" y="372"/>
                      </a:cxn>
                      <a:cxn ang="0">
                        <a:pos x="429" y="411"/>
                      </a:cxn>
                      <a:cxn ang="0">
                        <a:pos x="395" y="446"/>
                      </a:cxn>
                      <a:cxn ang="0">
                        <a:pos x="356" y="474"/>
                      </a:cxn>
                      <a:cxn ang="0">
                        <a:pos x="313" y="492"/>
                      </a:cxn>
                      <a:cxn ang="0">
                        <a:pos x="266" y="503"/>
                      </a:cxn>
                      <a:cxn ang="0">
                        <a:pos x="242" y="504"/>
                      </a:cxn>
                      <a:cxn ang="0">
                        <a:pos x="193" y="498"/>
                      </a:cxn>
                      <a:cxn ang="0">
                        <a:pos x="148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5" y="303"/>
                      </a:cxn>
                      <a:cxn ang="0">
                        <a:pos x="0" y="252"/>
                      </a:cxn>
                      <a:cxn ang="0">
                        <a:pos x="2" y="226"/>
                      </a:cxn>
                      <a:cxn ang="0">
                        <a:pos x="12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6" y="31"/>
                      </a:cxn>
                      <a:cxn ang="0">
                        <a:pos x="169" y="12"/>
                      </a:cxn>
                      <a:cxn ang="0">
                        <a:pos x="217" y="2"/>
                      </a:cxn>
                      <a:cxn ang="0">
                        <a:pos x="242" y="0"/>
                      </a:cxn>
                      <a:cxn ang="0">
                        <a:pos x="290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4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2" y="110"/>
                        </a:lnTo>
                        <a:lnTo>
                          <a:pt x="453" y="131"/>
                        </a:lnTo>
                        <a:lnTo>
                          <a:pt x="463" y="152"/>
                        </a:lnTo>
                        <a:lnTo>
                          <a:pt x="472" y="176"/>
                        </a:lnTo>
                        <a:lnTo>
                          <a:pt x="478" y="200"/>
                        </a:lnTo>
                        <a:lnTo>
                          <a:pt x="482" y="226"/>
                        </a:lnTo>
                        <a:lnTo>
                          <a:pt x="484" y="252"/>
                        </a:lnTo>
                        <a:lnTo>
                          <a:pt x="484" y="252"/>
                        </a:lnTo>
                        <a:lnTo>
                          <a:pt x="482" y="278"/>
                        </a:lnTo>
                        <a:lnTo>
                          <a:pt x="478" y="303"/>
                        </a:lnTo>
                        <a:lnTo>
                          <a:pt x="472" y="327"/>
                        </a:lnTo>
                        <a:lnTo>
                          <a:pt x="465" y="349"/>
                        </a:lnTo>
                        <a:lnTo>
                          <a:pt x="455" y="372"/>
                        </a:lnTo>
                        <a:lnTo>
                          <a:pt x="442" y="393"/>
                        </a:lnTo>
                        <a:lnTo>
                          <a:pt x="429" y="411"/>
                        </a:lnTo>
                        <a:lnTo>
                          <a:pt x="413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6" y="474"/>
                        </a:lnTo>
                        <a:lnTo>
                          <a:pt x="336" y="484"/>
                        </a:lnTo>
                        <a:lnTo>
                          <a:pt x="313" y="492"/>
                        </a:lnTo>
                        <a:lnTo>
                          <a:pt x="290" y="498"/>
                        </a:lnTo>
                        <a:lnTo>
                          <a:pt x="266" y="503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17" y="503"/>
                        </a:lnTo>
                        <a:lnTo>
                          <a:pt x="193" y="498"/>
                        </a:lnTo>
                        <a:lnTo>
                          <a:pt x="169" y="492"/>
                        </a:lnTo>
                        <a:lnTo>
                          <a:pt x="148" y="484"/>
                        </a:lnTo>
                        <a:lnTo>
                          <a:pt x="126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2" y="327"/>
                        </a:lnTo>
                        <a:lnTo>
                          <a:pt x="5" y="303"/>
                        </a:lnTo>
                        <a:lnTo>
                          <a:pt x="2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2" y="226"/>
                        </a:lnTo>
                        <a:lnTo>
                          <a:pt x="5" y="202"/>
                        </a:lnTo>
                        <a:lnTo>
                          <a:pt x="12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6" y="31"/>
                        </a:lnTo>
                        <a:lnTo>
                          <a:pt x="148" y="21"/>
                        </a:lnTo>
                        <a:lnTo>
                          <a:pt x="169" y="12"/>
                        </a:lnTo>
                        <a:lnTo>
                          <a:pt x="193" y="5"/>
                        </a:lnTo>
                        <a:lnTo>
                          <a:pt x="217" y="2"/>
                        </a:lnTo>
                        <a:lnTo>
                          <a:pt x="242" y="0"/>
                        </a:lnTo>
                        <a:lnTo>
                          <a:pt x="242" y="0"/>
                        </a:lnTo>
                        <a:lnTo>
                          <a:pt x="266" y="2"/>
                        </a:lnTo>
                        <a:lnTo>
                          <a:pt x="290" y="5"/>
                        </a:lnTo>
                        <a:lnTo>
                          <a:pt x="313" y="11"/>
                        </a:lnTo>
                        <a:lnTo>
                          <a:pt x="334" y="19"/>
                        </a:lnTo>
                        <a:lnTo>
                          <a:pt x="355" y="29"/>
                        </a:lnTo>
                        <a:lnTo>
                          <a:pt x="375" y="42"/>
                        </a:lnTo>
                        <a:lnTo>
                          <a:pt x="394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  <a:close/>
                        <a:moveTo>
                          <a:pt x="411" y="73"/>
                        </a:moveTo>
                        <a:lnTo>
                          <a:pt x="411" y="7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1" name="Freeform 19">
                    <a:extLst>
                      <a:ext uri="{FF2B5EF4-FFF2-40B4-BE49-F238E27FC236}">
                        <a16:creationId xmlns="" xmlns:a16="http://schemas.microsoft.com/office/drawing/2014/main" id="{7BFFB421-5631-48EF-A218-2E16964DEE9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0264776" y="-4238625"/>
                    <a:ext cx="3294063" cy="2871788"/>
                  </a:xfrm>
                  <a:custGeom>
                    <a:avLst/>
                    <a:gdLst/>
                    <a:ahLst/>
                    <a:cxnLst>
                      <a:cxn ang="0">
                        <a:pos x="3835" y="1280"/>
                      </a:cxn>
                      <a:cxn ang="0">
                        <a:pos x="3569" y="747"/>
                      </a:cxn>
                      <a:cxn ang="0">
                        <a:pos x="3475" y="712"/>
                      </a:cxn>
                      <a:cxn ang="0">
                        <a:pos x="3418" y="753"/>
                      </a:cxn>
                      <a:cxn ang="0">
                        <a:pos x="3423" y="853"/>
                      </a:cxn>
                      <a:cxn ang="0">
                        <a:pos x="3669" y="1356"/>
                      </a:cxn>
                      <a:cxn ang="0">
                        <a:pos x="3779" y="1866"/>
                      </a:cxn>
                      <a:cxn ang="0">
                        <a:pos x="3918" y="2003"/>
                      </a:cxn>
                      <a:cxn ang="0">
                        <a:pos x="3970" y="2192"/>
                      </a:cxn>
                      <a:cxn ang="0">
                        <a:pos x="3935" y="2351"/>
                      </a:cxn>
                      <a:cxn ang="0">
                        <a:pos x="3848" y="2466"/>
                      </a:cxn>
                      <a:cxn ang="0">
                        <a:pos x="3708" y="2548"/>
                      </a:cxn>
                      <a:cxn ang="0">
                        <a:pos x="3523" y="2611"/>
                      </a:cxn>
                      <a:cxn ang="0">
                        <a:pos x="3230" y="2985"/>
                      </a:cxn>
                      <a:cxn ang="0">
                        <a:pos x="2889" y="3236"/>
                      </a:cxn>
                      <a:cxn ang="0">
                        <a:pos x="2430" y="3404"/>
                      </a:cxn>
                      <a:cxn ang="0">
                        <a:pos x="1991" y="3433"/>
                      </a:cxn>
                      <a:cxn ang="0">
                        <a:pos x="1514" y="3328"/>
                      </a:cxn>
                      <a:cxn ang="0">
                        <a:pos x="1094" y="3089"/>
                      </a:cxn>
                      <a:cxn ang="0">
                        <a:pos x="760" y="2733"/>
                      </a:cxn>
                      <a:cxn ang="0">
                        <a:pos x="535" y="2546"/>
                      </a:cxn>
                      <a:cxn ang="0">
                        <a:pos x="376" y="2501"/>
                      </a:cxn>
                      <a:cxn ang="0">
                        <a:pos x="218" y="2335"/>
                      </a:cxn>
                      <a:cxn ang="0">
                        <a:pos x="181" y="2173"/>
                      </a:cxn>
                      <a:cxn ang="0">
                        <a:pos x="245" y="1963"/>
                      </a:cxn>
                      <a:cxn ang="0">
                        <a:pos x="472" y="1805"/>
                      </a:cxn>
                      <a:cxn ang="0">
                        <a:pos x="506" y="1474"/>
                      </a:cxn>
                      <a:cxn ang="0">
                        <a:pos x="615" y="1144"/>
                      </a:cxn>
                      <a:cxn ang="0">
                        <a:pos x="790" y="844"/>
                      </a:cxn>
                      <a:cxn ang="0">
                        <a:pos x="1000" y="611"/>
                      </a:cxn>
                      <a:cxn ang="0">
                        <a:pos x="1284" y="401"/>
                      </a:cxn>
                      <a:cxn ang="0">
                        <a:pos x="1602" y="259"/>
                      </a:cxn>
                      <a:cxn ang="0">
                        <a:pos x="1945" y="189"/>
                      </a:cxn>
                      <a:cxn ang="0">
                        <a:pos x="2284" y="191"/>
                      </a:cxn>
                      <a:cxn ang="0">
                        <a:pos x="2373" y="145"/>
                      </a:cxn>
                      <a:cxn ang="0">
                        <a:pos x="2381" y="76"/>
                      </a:cxn>
                      <a:cxn ang="0">
                        <a:pos x="2304" y="12"/>
                      </a:cxn>
                      <a:cxn ang="0">
                        <a:pos x="1928" y="9"/>
                      </a:cxn>
                      <a:cxn ang="0">
                        <a:pos x="1546" y="87"/>
                      </a:cxn>
                      <a:cxn ang="0">
                        <a:pos x="1192" y="245"/>
                      </a:cxn>
                      <a:cxn ang="0">
                        <a:pos x="877" y="477"/>
                      </a:cxn>
                      <a:cxn ang="0">
                        <a:pos x="651" y="727"/>
                      </a:cxn>
                      <a:cxn ang="0">
                        <a:pos x="460" y="1045"/>
                      </a:cxn>
                      <a:cxn ang="0">
                        <a:pos x="339" y="1396"/>
                      </a:cxn>
                      <a:cxn ang="0">
                        <a:pos x="266" y="1699"/>
                      </a:cxn>
                      <a:cxn ang="0">
                        <a:pos x="75" y="1895"/>
                      </a:cxn>
                      <a:cxn ang="0">
                        <a:pos x="0" y="2202"/>
                      </a:cxn>
                      <a:cxn ang="0">
                        <a:pos x="65" y="2433"/>
                      </a:cxn>
                      <a:cxn ang="0">
                        <a:pos x="217" y="2613"/>
                      </a:cxn>
                      <a:cxn ang="0">
                        <a:pos x="433" y="2714"/>
                      </a:cxn>
                      <a:cxn ang="0">
                        <a:pos x="676" y="2924"/>
                      </a:cxn>
                      <a:cxn ang="0">
                        <a:pos x="1056" y="3286"/>
                      </a:cxn>
                      <a:cxn ang="0">
                        <a:pos x="1521" y="3523"/>
                      </a:cxn>
                      <a:cxn ang="0">
                        <a:pos x="2042" y="3617"/>
                      </a:cxn>
                      <a:cxn ang="0">
                        <a:pos x="2524" y="3569"/>
                      </a:cxn>
                      <a:cxn ang="0">
                        <a:pos x="3029" y="3365"/>
                      </a:cxn>
                      <a:cxn ang="0">
                        <a:pos x="3381" y="3092"/>
                      </a:cxn>
                      <a:cxn ang="0">
                        <a:pos x="3654" y="2743"/>
                      </a:cxn>
                      <a:cxn ang="0">
                        <a:pos x="3857" y="2681"/>
                      </a:cxn>
                      <a:cxn ang="0">
                        <a:pos x="4009" y="2562"/>
                      </a:cxn>
                      <a:cxn ang="0">
                        <a:pos x="4127" y="2352"/>
                      </a:cxn>
                      <a:cxn ang="0">
                        <a:pos x="4146" y="2123"/>
                      </a:cxn>
                      <a:cxn ang="0">
                        <a:pos x="4033" y="1851"/>
                      </a:cxn>
                    </a:cxnLst>
                    <a:rect l="0" t="0" r="r" b="b"/>
                    <a:pathLst>
                      <a:path w="4151" h="3619">
                        <a:moveTo>
                          <a:pt x="3913" y="1737"/>
                        </a:moveTo>
                        <a:lnTo>
                          <a:pt x="3913" y="1737"/>
                        </a:lnTo>
                        <a:lnTo>
                          <a:pt x="3909" y="1669"/>
                        </a:lnTo>
                        <a:lnTo>
                          <a:pt x="3903" y="1602"/>
                        </a:lnTo>
                        <a:lnTo>
                          <a:pt x="3894" y="1537"/>
                        </a:lnTo>
                        <a:lnTo>
                          <a:pt x="3883" y="1472"/>
                        </a:lnTo>
                        <a:lnTo>
                          <a:pt x="3870" y="1407"/>
                        </a:lnTo>
                        <a:lnTo>
                          <a:pt x="3854" y="1342"/>
                        </a:lnTo>
                        <a:lnTo>
                          <a:pt x="3835" y="1280"/>
                        </a:lnTo>
                        <a:lnTo>
                          <a:pt x="3815" y="1216"/>
                        </a:lnTo>
                        <a:lnTo>
                          <a:pt x="3792" y="1154"/>
                        </a:lnTo>
                        <a:lnTo>
                          <a:pt x="3767" y="1093"/>
                        </a:lnTo>
                        <a:lnTo>
                          <a:pt x="3740" y="1032"/>
                        </a:lnTo>
                        <a:lnTo>
                          <a:pt x="3709" y="974"/>
                        </a:lnTo>
                        <a:lnTo>
                          <a:pt x="3677" y="915"/>
                        </a:lnTo>
                        <a:lnTo>
                          <a:pt x="3644" y="859"/>
                        </a:lnTo>
                        <a:lnTo>
                          <a:pt x="3608" y="802"/>
                        </a:lnTo>
                        <a:lnTo>
                          <a:pt x="3569" y="747"/>
                        </a:lnTo>
                        <a:lnTo>
                          <a:pt x="3569" y="747"/>
                        </a:lnTo>
                        <a:lnTo>
                          <a:pt x="3563" y="740"/>
                        </a:lnTo>
                        <a:lnTo>
                          <a:pt x="3557" y="733"/>
                        </a:lnTo>
                        <a:lnTo>
                          <a:pt x="3550" y="728"/>
                        </a:lnTo>
                        <a:lnTo>
                          <a:pt x="3543" y="723"/>
                        </a:lnTo>
                        <a:lnTo>
                          <a:pt x="3527" y="715"/>
                        </a:lnTo>
                        <a:lnTo>
                          <a:pt x="3510" y="711"/>
                        </a:lnTo>
                        <a:lnTo>
                          <a:pt x="3492" y="710"/>
                        </a:lnTo>
                        <a:lnTo>
                          <a:pt x="3475" y="712"/>
                        </a:lnTo>
                        <a:lnTo>
                          <a:pt x="3466" y="714"/>
                        </a:lnTo>
                        <a:lnTo>
                          <a:pt x="3459" y="718"/>
                        </a:lnTo>
                        <a:lnTo>
                          <a:pt x="3450" y="723"/>
                        </a:lnTo>
                        <a:lnTo>
                          <a:pt x="3443" y="727"/>
                        </a:lnTo>
                        <a:lnTo>
                          <a:pt x="3443" y="727"/>
                        </a:lnTo>
                        <a:lnTo>
                          <a:pt x="3436" y="733"/>
                        </a:lnTo>
                        <a:lnTo>
                          <a:pt x="3428" y="740"/>
                        </a:lnTo>
                        <a:lnTo>
                          <a:pt x="3423" y="746"/>
                        </a:lnTo>
                        <a:lnTo>
                          <a:pt x="3418" y="753"/>
                        </a:lnTo>
                        <a:lnTo>
                          <a:pt x="3411" y="769"/>
                        </a:lnTo>
                        <a:lnTo>
                          <a:pt x="3407" y="786"/>
                        </a:lnTo>
                        <a:lnTo>
                          <a:pt x="3405" y="804"/>
                        </a:lnTo>
                        <a:lnTo>
                          <a:pt x="3407" y="821"/>
                        </a:lnTo>
                        <a:lnTo>
                          <a:pt x="3410" y="830"/>
                        </a:lnTo>
                        <a:lnTo>
                          <a:pt x="3413" y="838"/>
                        </a:lnTo>
                        <a:lnTo>
                          <a:pt x="3417" y="846"/>
                        </a:lnTo>
                        <a:lnTo>
                          <a:pt x="3423" y="853"/>
                        </a:lnTo>
                        <a:lnTo>
                          <a:pt x="3423" y="853"/>
                        </a:lnTo>
                        <a:lnTo>
                          <a:pt x="3459" y="905"/>
                        </a:lnTo>
                        <a:lnTo>
                          <a:pt x="3492" y="958"/>
                        </a:lnTo>
                        <a:lnTo>
                          <a:pt x="3524" y="1012"/>
                        </a:lnTo>
                        <a:lnTo>
                          <a:pt x="3554" y="1067"/>
                        </a:lnTo>
                        <a:lnTo>
                          <a:pt x="3582" y="1123"/>
                        </a:lnTo>
                        <a:lnTo>
                          <a:pt x="3606" y="1180"/>
                        </a:lnTo>
                        <a:lnTo>
                          <a:pt x="3630" y="1238"/>
                        </a:lnTo>
                        <a:lnTo>
                          <a:pt x="3650" y="1297"/>
                        </a:lnTo>
                        <a:lnTo>
                          <a:pt x="3669" y="1356"/>
                        </a:lnTo>
                        <a:lnTo>
                          <a:pt x="3685" y="1416"/>
                        </a:lnTo>
                        <a:lnTo>
                          <a:pt x="3699" y="1477"/>
                        </a:lnTo>
                        <a:lnTo>
                          <a:pt x="3711" y="1537"/>
                        </a:lnTo>
                        <a:lnTo>
                          <a:pt x="3719" y="1600"/>
                        </a:lnTo>
                        <a:lnTo>
                          <a:pt x="3727" y="1662"/>
                        </a:lnTo>
                        <a:lnTo>
                          <a:pt x="3731" y="1725"/>
                        </a:lnTo>
                        <a:lnTo>
                          <a:pt x="3732" y="1788"/>
                        </a:lnTo>
                        <a:lnTo>
                          <a:pt x="3734" y="1840"/>
                        </a:lnTo>
                        <a:lnTo>
                          <a:pt x="3779" y="1866"/>
                        </a:lnTo>
                        <a:lnTo>
                          <a:pt x="3779" y="1866"/>
                        </a:lnTo>
                        <a:lnTo>
                          <a:pt x="3800" y="1879"/>
                        </a:lnTo>
                        <a:lnTo>
                          <a:pt x="3821" y="1893"/>
                        </a:lnTo>
                        <a:lnTo>
                          <a:pt x="3839" y="1909"/>
                        </a:lnTo>
                        <a:lnTo>
                          <a:pt x="3858" y="1925"/>
                        </a:lnTo>
                        <a:lnTo>
                          <a:pt x="3876" y="1944"/>
                        </a:lnTo>
                        <a:lnTo>
                          <a:pt x="3892" y="1963"/>
                        </a:lnTo>
                        <a:lnTo>
                          <a:pt x="3905" y="1983"/>
                        </a:lnTo>
                        <a:lnTo>
                          <a:pt x="3918" y="2003"/>
                        </a:lnTo>
                        <a:lnTo>
                          <a:pt x="3931" y="2025"/>
                        </a:lnTo>
                        <a:lnTo>
                          <a:pt x="3941" y="2047"/>
                        </a:lnTo>
                        <a:lnTo>
                          <a:pt x="3949" y="2070"/>
                        </a:lnTo>
                        <a:lnTo>
                          <a:pt x="3957" y="2093"/>
                        </a:lnTo>
                        <a:lnTo>
                          <a:pt x="3963" y="2118"/>
                        </a:lnTo>
                        <a:lnTo>
                          <a:pt x="3967" y="2142"/>
                        </a:lnTo>
                        <a:lnTo>
                          <a:pt x="3968" y="2167"/>
                        </a:lnTo>
                        <a:lnTo>
                          <a:pt x="3970" y="2192"/>
                        </a:lnTo>
                        <a:lnTo>
                          <a:pt x="3970" y="2192"/>
                        </a:lnTo>
                        <a:lnTo>
                          <a:pt x="3970" y="2210"/>
                        </a:lnTo>
                        <a:lnTo>
                          <a:pt x="3968" y="2228"/>
                        </a:lnTo>
                        <a:lnTo>
                          <a:pt x="3965" y="2247"/>
                        </a:lnTo>
                        <a:lnTo>
                          <a:pt x="3963" y="2264"/>
                        </a:lnTo>
                        <a:lnTo>
                          <a:pt x="3958" y="2283"/>
                        </a:lnTo>
                        <a:lnTo>
                          <a:pt x="3954" y="2300"/>
                        </a:lnTo>
                        <a:lnTo>
                          <a:pt x="3948" y="2316"/>
                        </a:lnTo>
                        <a:lnTo>
                          <a:pt x="3942" y="2333"/>
                        </a:lnTo>
                        <a:lnTo>
                          <a:pt x="3935" y="2351"/>
                        </a:lnTo>
                        <a:lnTo>
                          <a:pt x="3926" y="2367"/>
                        </a:lnTo>
                        <a:lnTo>
                          <a:pt x="3918" y="2383"/>
                        </a:lnTo>
                        <a:lnTo>
                          <a:pt x="3908" y="2397"/>
                        </a:lnTo>
                        <a:lnTo>
                          <a:pt x="3897" y="2411"/>
                        </a:lnTo>
                        <a:lnTo>
                          <a:pt x="3886" y="2426"/>
                        </a:lnTo>
                        <a:lnTo>
                          <a:pt x="3874" y="2440"/>
                        </a:lnTo>
                        <a:lnTo>
                          <a:pt x="3861" y="2453"/>
                        </a:lnTo>
                        <a:lnTo>
                          <a:pt x="3861" y="2453"/>
                        </a:lnTo>
                        <a:lnTo>
                          <a:pt x="3848" y="2466"/>
                        </a:lnTo>
                        <a:lnTo>
                          <a:pt x="3834" y="2480"/>
                        </a:lnTo>
                        <a:lnTo>
                          <a:pt x="3821" y="2490"/>
                        </a:lnTo>
                        <a:lnTo>
                          <a:pt x="3805" y="2501"/>
                        </a:lnTo>
                        <a:lnTo>
                          <a:pt x="3790" y="2510"/>
                        </a:lnTo>
                        <a:lnTo>
                          <a:pt x="3774" y="2520"/>
                        </a:lnTo>
                        <a:lnTo>
                          <a:pt x="3758" y="2527"/>
                        </a:lnTo>
                        <a:lnTo>
                          <a:pt x="3741" y="2536"/>
                        </a:lnTo>
                        <a:lnTo>
                          <a:pt x="3725" y="2542"/>
                        </a:lnTo>
                        <a:lnTo>
                          <a:pt x="3708" y="2548"/>
                        </a:lnTo>
                        <a:lnTo>
                          <a:pt x="3690" y="2553"/>
                        </a:lnTo>
                        <a:lnTo>
                          <a:pt x="3673" y="2556"/>
                        </a:lnTo>
                        <a:lnTo>
                          <a:pt x="3656" y="2561"/>
                        </a:lnTo>
                        <a:lnTo>
                          <a:pt x="3637" y="2562"/>
                        </a:lnTo>
                        <a:lnTo>
                          <a:pt x="3618" y="2563"/>
                        </a:lnTo>
                        <a:lnTo>
                          <a:pt x="3601" y="2565"/>
                        </a:lnTo>
                        <a:lnTo>
                          <a:pt x="3549" y="2565"/>
                        </a:lnTo>
                        <a:lnTo>
                          <a:pt x="3523" y="2611"/>
                        </a:lnTo>
                        <a:lnTo>
                          <a:pt x="3523" y="2611"/>
                        </a:lnTo>
                        <a:lnTo>
                          <a:pt x="3495" y="2656"/>
                        </a:lnTo>
                        <a:lnTo>
                          <a:pt x="3468" y="2701"/>
                        </a:lnTo>
                        <a:lnTo>
                          <a:pt x="3437" y="2744"/>
                        </a:lnTo>
                        <a:lnTo>
                          <a:pt x="3405" y="2788"/>
                        </a:lnTo>
                        <a:lnTo>
                          <a:pt x="3373" y="2830"/>
                        </a:lnTo>
                        <a:lnTo>
                          <a:pt x="3340" y="2870"/>
                        </a:lnTo>
                        <a:lnTo>
                          <a:pt x="3304" y="2909"/>
                        </a:lnTo>
                        <a:lnTo>
                          <a:pt x="3268" y="2948"/>
                        </a:lnTo>
                        <a:lnTo>
                          <a:pt x="3230" y="2985"/>
                        </a:lnTo>
                        <a:lnTo>
                          <a:pt x="3191" y="3021"/>
                        </a:lnTo>
                        <a:lnTo>
                          <a:pt x="3152" y="3056"/>
                        </a:lnTo>
                        <a:lnTo>
                          <a:pt x="3110" y="3089"/>
                        </a:lnTo>
                        <a:lnTo>
                          <a:pt x="3068" y="3122"/>
                        </a:lnTo>
                        <a:lnTo>
                          <a:pt x="3025" y="3152"/>
                        </a:lnTo>
                        <a:lnTo>
                          <a:pt x="2981" y="3181"/>
                        </a:lnTo>
                        <a:lnTo>
                          <a:pt x="2935" y="3209"/>
                        </a:lnTo>
                        <a:lnTo>
                          <a:pt x="2935" y="3209"/>
                        </a:lnTo>
                        <a:lnTo>
                          <a:pt x="2889" y="3236"/>
                        </a:lnTo>
                        <a:lnTo>
                          <a:pt x="2839" y="3262"/>
                        </a:lnTo>
                        <a:lnTo>
                          <a:pt x="2790" y="3286"/>
                        </a:lnTo>
                        <a:lnTo>
                          <a:pt x="2741" y="3309"/>
                        </a:lnTo>
                        <a:lnTo>
                          <a:pt x="2690" y="3329"/>
                        </a:lnTo>
                        <a:lnTo>
                          <a:pt x="2640" y="3348"/>
                        </a:lnTo>
                        <a:lnTo>
                          <a:pt x="2588" y="3364"/>
                        </a:lnTo>
                        <a:lnTo>
                          <a:pt x="2536" y="3380"/>
                        </a:lnTo>
                        <a:lnTo>
                          <a:pt x="2482" y="3393"/>
                        </a:lnTo>
                        <a:lnTo>
                          <a:pt x="2430" y="3404"/>
                        </a:lnTo>
                        <a:lnTo>
                          <a:pt x="2375" y="3414"/>
                        </a:lnTo>
                        <a:lnTo>
                          <a:pt x="2321" y="3423"/>
                        </a:lnTo>
                        <a:lnTo>
                          <a:pt x="2268" y="3429"/>
                        </a:lnTo>
                        <a:lnTo>
                          <a:pt x="2213" y="3435"/>
                        </a:lnTo>
                        <a:lnTo>
                          <a:pt x="2158" y="3436"/>
                        </a:lnTo>
                        <a:lnTo>
                          <a:pt x="2103" y="3438"/>
                        </a:lnTo>
                        <a:lnTo>
                          <a:pt x="2103" y="3438"/>
                        </a:lnTo>
                        <a:lnTo>
                          <a:pt x="2046" y="3436"/>
                        </a:lnTo>
                        <a:lnTo>
                          <a:pt x="1991" y="3433"/>
                        </a:lnTo>
                        <a:lnTo>
                          <a:pt x="1936" y="3429"/>
                        </a:lnTo>
                        <a:lnTo>
                          <a:pt x="1881" y="3423"/>
                        </a:lnTo>
                        <a:lnTo>
                          <a:pt x="1828" y="3414"/>
                        </a:lnTo>
                        <a:lnTo>
                          <a:pt x="1774" y="3404"/>
                        </a:lnTo>
                        <a:lnTo>
                          <a:pt x="1721" y="3393"/>
                        </a:lnTo>
                        <a:lnTo>
                          <a:pt x="1669" y="3378"/>
                        </a:lnTo>
                        <a:lnTo>
                          <a:pt x="1617" y="3364"/>
                        </a:lnTo>
                        <a:lnTo>
                          <a:pt x="1564" y="3346"/>
                        </a:lnTo>
                        <a:lnTo>
                          <a:pt x="1514" y="3328"/>
                        </a:lnTo>
                        <a:lnTo>
                          <a:pt x="1465" y="3307"/>
                        </a:lnTo>
                        <a:lnTo>
                          <a:pt x="1415" y="3286"/>
                        </a:lnTo>
                        <a:lnTo>
                          <a:pt x="1366" y="3262"/>
                        </a:lnTo>
                        <a:lnTo>
                          <a:pt x="1318" y="3236"/>
                        </a:lnTo>
                        <a:lnTo>
                          <a:pt x="1272" y="3210"/>
                        </a:lnTo>
                        <a:lnTo>
                          <a:pt x="1226" y="3183"/>
                        </a:lnTo>
                        <a:lnTo>
                          <a:pt x="1181" y="3152"/>
                        </a:lnTo>
                        <a:lnTo>
                          <a:pt x="1137" y="3122"/>
                        </a:lnTo>
                        <a:lnTo>
                          <a:pt x="1094" y="3089"/>
                        </a:lnTo>
                        <a:lnTo>
                          <a:pt x="1052" y="3054"/>
                        </a:lnTo>
                        <a:lnTo>
                          <a:pt x="1012" y="3019"/>
                        </a:lnTo>
                        <a:lnTo>
                          <a:pt x="972" y="2982"/>
                        </a:lnTo>
                        <a:lnTo>
                          <a:pt x="933" y="2944"/>
                        </a:lnTo>
                        <a:lnTo>
                          <a:pt x="896" y="2905"/>
                        </a:lnTo>
                        <a:lnTo>
                          <a:pt x="860" y="2863"/>
                        </a:lnTo>
                        <a:lnTo>
                          <a:pt x="825" y="2821"/>
                        </a:lnTo>
                        <a:lnTo>
                          <a:pt x="792" y="2778"/>
                        </a:lnTo>
                        <a:lnTo>
                          <a:pt x="760" y="2733"/>
                        </a:lnTo>
                        <a:lnTo>
                          <a:pt x="729" y="2688"/>
                        </a:lnTo>
                        <a:lnTo>
                          <a:pt x="700" y="2640"/>
                        </a:lnTo>
                        <a:lnTo>
                          <a:pt x="673" y="2592"/>
                        </a:lnTo>
                        <a:lnTo>
                          <a:pt x="644" y="2540"/>
                        </a:lnTo>
                        <a:lnTo>
                          <a:pt x="586" y="2545"/>
                        </a:lnTo>
                        <a:lnTo>
                          <a:pt x="586" y="2545"/>
                        </a:lnTo>
                        <a:lnTo>
                          <a:pt x="554" y="2546"/>
                        </a:lnTo>
                        <a:lnTo>
                          <a:pt x="554" y="2546"/>
                        </a:lnTo>
                        <a:lnTo>
                          <a:pt x="535" y="2546"/>
                        </a:lnTo>
                        <a:lnTo>
                          <a:pt x="517" y="2545"/>
                        </a:lnTo>
                        <a:lnTo>
                          <a:pt x="498" y="2542"/>
                        </a:lnTo>
                        <a:lnTo>
                          <a:pt x="479" y="2539"/>
                        </a:lnTo>
                        <a:lnTo>
                          <a:pt x="462" y="2535"/>
                        </a:lnTo>
                        <a:lnTo>
                          <a:pt x="444" y="2530"/>
                        </a:lnTo>
                        <a:lnTo>
                          <a:pt x="427" y="2524"/>
                        </a:lnTo>
                        <a:lnTo>
                          <a:pt x="410" y="2517"/>
                        </a:lnTo>
                        <a:lnTo>
                          <a:pt x="394" y="2510"/>
                        </a:lnTo>
                        <a:lnTo>
                          <a:pt x="376" y="2501"/>
                        </a:lnTo>
                        <a:lnTo>
                          <a:pt x="362" y="2493"/>
                        </a:lnTo>
                        <a:lnTo>
                          <a:pt x="346" y="2482"/>
                        </a:lnTo>
                        <a:lnTo>
                          <a:pt x="317" y="2461"/>
                        </a:lnTo>
                        <a:lnTo>
                          <a:pt x="291" y="2438"/>
                        </a:lnTo>
                        <a:lnTo>
                          <a:pt x="266" y="2410"/>
                        </a:lnTo>
                        <a:lnTo>
                          <a:pt x="245" y="2383"/>
                        </a:lnTo>
                        <a:lnTo>
                          <a:pt x="236" y="2367"/>
                        </a:lnTo>
                        <a:lnTo>
                          <a:pt x="226" y="2351"/>
                        </a:lnTo>
                        <a:lnTo>
                          <a:pt x="218" y="2335"/>
                        </a:lnTo>
                        <a:lnTo>
                          <a:pt x="211" y="2319"/>
                        </a:lnTo>
                        <a:lnTo>
                          <a:pt x="204" y="2302"/>
                        </a:lnTo>
                        <a:lnTo>
                          <a:pt x="198" y="2284"/>
                        </a:lnTo>
                        <a:lnTo>
                          <a:pt x="192" y="2267"/>
                        </a:lnTo>
                        <a:lnTo>
                          <a:pt x="188" y="2248"/>
                        </a:lnTo>
                        <a:lnTo>
                          <a:pt x="185" y="2231"/>
                        </a:lnTo>
                        <a:lnTo>
                          <a:pt x="184" y="2212"/>
                        </a:lnTo>
                        <a:lnTo>
                          <a:pt x="182" y="2193"/>
                        </a:lnTo>
                        <a:lnTo>
                          <a:pt x="181" y="2173"/>
                        </a:lnTo>
                        <a:lnTo>
                          <a:pt x="181" y="2173"/>
                        </a:lnTo>
                        <a:lnTo>
                          <a:pt x="182" y="2145"/>
                        </a:lnTo>
                        <a:lnTo>
                          <a:pt x="185" y="2116"/>
                        </a:lnTo>
                        <a:lnTo>
                          <a:pt x="191" y="2089"/>
                        </a:lnTo>
                        <a:lnTo>
                          <a:pt x="198" y="2063"/>
                        </a:lnTo>
                        <a:lnTo>
                          <a:pt x="207" y="2037"/>
                        </a:lnTo>
                        <a:lnTo>
                          <a:pt x="218" y="2011"/>
                        </a:lnTo>
                        <a:lnTo>
                          <a:pt x="230" y="1987"/>
                        </a:lnTo>
                        <a:lnTo>
                          <a:pt x="245" y="1963"/>
                        </a:lnTo>
                        <a:lnTo>
                          <a:pt x="262" y="1941"/>
                        </a:lnTo>
                        <a:lnTo>
                          <a:pt x="279" y="1921"/>
                        </a:lnTo>
                        <a:lnTo>
                          <a:pt x="298" y="1901"/>
                        </a:lnTo>
                        <a:lnTo>
                          <a:pt x="320" y="1883"/>
                        </a:lnTo>
                        <a:lnTo>
                          <a:pt x="341" y="1866"/>
                        </a:lnTo>
                        <a:lnTo>
                          <a:pt x="366" y="1851"/>
                        </a:lnTo>
                        <a:lnTo>
                          <a:pt x="391" y="1838"/>
                        </a:lnTo>
                        <a:lnTo>
                          <a:pt x="417" y="1827"/>
                        </a:lnTo>
                        <a:lnTo>
                          <a:pt x="472" y="1805"/>
                        </a:lnTo>
                        <a:lnTo>
                          <a:pt x="473" y="1746"/>
                        </a:lnTo>
                        <a:lnTo>
                          <a:pt x="473" y="1746"/>
                        </a:lnTo>
                        <a:lnTo>
                          <a:pt x="476" y="1707"/>
                        </a:lnTo>
                        <a:lnTo>
                          <a:pt x="479" y="1668"/>
                        </a:lnTo>
                        <a:lnTo>
                          <a:pt x="482" y="1629"/>
                        </a:lnTo>
                        <a:lnTo>
                          <a:pt x="488" y="1589"/>
                        </a:lnTo>
                        <a:lnTo>
                          <a:pt x="493" y="1550"/>
                        </a:lnTo>
                        <a:lnTo>
                          <a:pt x="499" y="1513"/>
                        </a:lnTo>
                        <a:lnTo>
                          <a:pt x="506" y="1474"/>
                        </a:lnTo>
                        <a:lnTo>
                          <a:pt x="515" y="1436"/>
                        </a:lnTo>
                        <a:lnTo>
                          <a:pt x="525" y="1398"/>
                        </a:lnTo>
                        <a:lnTo>
                          <a:pt x="535" y="1361"/>
                        </a:lnTo>
                        <a:lnTo>
                          <a:pt x="546" y="1325"/>
                        </a:lnTo>
                        <a:lnTo>
                          <a:pt x="559" y="1287"/>
                        </a:lnTo>
                        <a:lnTo>
                          <a:pt x="570" y="1251"/>
                        </a:lnTo>
                        <a:lnTo>
                          <a:pt x="585" y="1215"/>
                        </a:lnTo>
                        <a:lnTo>
                          <a:pt x="599" y="1178"/>
                        </a:lnTo>
                        <a:lnTo>
                          <a:pt x="615" y="1144"/>
                        </a:lnTo>
                        <a:lnTo>
                          <a:pt x="631" y="1109"/>
                        </a:lnTo>
                        <a:lnTo>
                          <a:pt x="648" y="1074"/>
                        </a:lnTo>
                        <a:lnTo>
                          <a:pt x="666" y="1040"/>
                        </a:lnTo>
                        <a:lnTo>
                          <a:pt x="684" y="1006"/>
                        </a:lnTo>
                        <a:lnTo>
                          <a:pt x="703" y="973"/>
                        </a:lnTo>
                        <a:lnTo>
                          <a:pt x="724" y="940"/>
                        </a:lnTo>
                        <a:lnTo>
                          <a:pt x="745" y="908"/>
                        </a:lnTo>
                        <a:lnTo>
                          <a:pt x="767" y="876"/>
                        </a:lnTo>
                        <a:lnTo>
                          <a:pt x="790" y="844"/>
                        </a:lnTo>
                        <a:lnTo>
                          <a:pt x="813" y="812"/>
                        </a:lnTo>
                        <a:lnTo>
                          <a:pt x="838" y="782"/>
                        </a:lnTo>
                        <a:lnTo>
                          <a:pt x="863" y="751"/>
                        </a:lnTo>
                        <a:lnTo>
                          <a:pt x="889" y="723"/>
                        </a:lnTo>
                        <a:lnTo>
                          <a:pt x="916" y="694"/>
                        </a:lnTo>
                        <a:lnTo>
                          <a:pt x="944" y="665"/>
                        </a:lnTo>
                        <a:lnTo>
                          <a:pt x="971" y="637"/>
                        </a:lnTo>
                        <a:lnTo>
                          <a:pt x="971" y="637"/>
                        </a:lnTo>
                        <a:lnTo>
                          <a:pt x="1000" y="611"/>
                        </a:lnTo>
                        <a:lnTo>
                          <a:pt x="1029" y="584"/>
                        </a:lnTo>
                        <a:lnTo>
                          <a:pt x="1059" y="559"/>
                        </a:lnTo>
                        <a:lnTo>
                          <a:pt x="1090" y="533"/>
                        </a:lnTo>
                        <a:lnTo>
                          <a:pt x="1122" y="510"/>
                        </a:lnTo>
                        <a:lnTo>
                          <a:pt x="1152" y="487"/>
                        </a:lnTo>
                        <a:lnTo>
                          <a:pt x="1185" y="463"/>
                        </a:lnTo>
                        <a:lnTo>
                          <a:pt x="1217" y="442"/>
                        </a:lnTo>
                        <a:lnTo>
                          <a:pt x="1250" y="422"/>
                        </a:lnTo>
                        <a:lnTo>
                          <a:pt x="1284" y="401"/>
                        </a:lnTo>
                        <a:lnTo>
                          <a:pt x="1317" y="382"/>
                        </a:lnTo>
                        <a:lnTo>
                          <a:pt x="1352" y="364"/>
                        </a:lnTo>
                        <a:lnTo>
                          <a:pt x="1386" y="346"/>
                        </a:lnTo>
                        <a:lnTo>
                          <a:pt x="1421" y="330"/>
                        </a:lnTo>
                        <a:lnTo>
                          <a:pt x="1456" y="314"/>
                        </a:lnTo>
                        <a:lnTo>
                          <a:pt x="1492" y="300"/>
                        </a:lnTo>
                        <a:lnTo>
                          <a:pt x="1528" y="285"/>
                        </a:lnTo>
                        <a:lnTo>
                          <a:pt x="1564" y="272"/>
                        </a:lnTo>
                        <a:lnTo>
                          <a:pt x="1602" y="259"/>
                        </a:lnTo>
                        <a:lnTo>
                          <a:pt x="1638" y="248"/>
                        </a:lnTo>
                        <a:lnTo>
                          <a:pt x="1676" y="238"/>
                        </a:lnTo>
                        <a:lnTo>
                          <a:pt x="1713" y="228"/>
                        </a:lnTo>
                        <a:lnTo>
                          <a:pt x="1751" y="219"/>
                        </a:lnTo>
                        <a:lnTo>
                          <a:pt x="1790" y="212"/>
                        </a:lnTo>
                        <a:lnTo>
                          <a:pt x="1828" y="204"/>
                        </a:lnTo>
                        <a:lnTo>
                          <a:pt x="1867" y="199"/>
                        </a:lnTo>
                        <a:lnTo>
                          <a:pt x="1906" y="193"/>
                        </a:lnTo>
                        <a:lnTo>
                          <a:pt x="1945" y="189"/>
                        </a:lnTo>
                        <a:lnTo>
                          <a:pt x="1984" y="186"/>
                        </a:lnTo>
                        <a:lnTo>
                          <a:pt x="2023" y="183"/>
                        </a:lnTo>
                        <a:lnTo>
                          <a:pt x="2062" y="183"/>
                        </a:lnTo>
                        <a:lnTo>
                          <a:pt x="2103" y="181"/>
                        </a:lnTo>
                        <a:lnTo>
                          <a:pt x="2103" y="181"/>
                        </a:lnTo>
                        <a:lnTo>
                          <a:pt x="2148" y="183"/>
                        </a:lnTo>
                        <a:lnTo>
                          <a:pt x="2194" y="184"/>
                        </a:lnTo>
                        <a:lnTo>
                          <a:pt x="2239" y="187"/>
                        </a:lnTo>
                        <a:lnTo>
                          <a:pt x="2284" y="191"/>
                        </a:lnTo>
                        <a:lnTo>
                          <a:pt x="2284" y="191"/>
                        </a:lnTo>
                        <a:lnTo>
                          <a:pt x="2294" y="191"/>
                        </a:lnTo>
                        <a:lnTo>
                          <a:pt x="2303" y="191"/>
                        </a:lnTo>
                        <a:lnTo>
                          <a:pt x="2311" y="190"/>
                        </a:lnTo>
                        <a:lnTo>
                          <a:pt x="2320" y="189"/>
                        </a:lnTo>
                        <a:lnTo>
                          <a:pt x="2336" y="181"/>
                        </a:lnTo>
                        <a:lnTo>
                          <a:pt x="2350" y="173"/>
                        </a:lnTo>
                        <a:lnTo>
                          <a:pt x="2363" y="160"/>
                        </a:lnTo>
                        <a:lnTo>
                          <a:pt x="2373" y="145"/>
                        </a:lnTo>
                        <a:lnTo>
                          <a:pt x="2376" y="138"/>
                        </a:lnTo>
                        <a:lnTo>
                          <a:pt x="2381" y="129"/>
                        </a:lnTo>
                        <a:lnTo>
                          <a:pt x="2382" y="120"/>
                        </a:lnTo>
                        <a:lnTo>
                          <a:pt x="2384" y="112"/>
                        </a:lnTo>
                        <a:lnTo>
                          <a:pt x="2384" y="112"/>
                        </a:lnTo>
                        <a:lnTo>
                          <a:pt x="2385" y="102"/>
                        </a:lnTo>
                        <a:lnTo>
                          <a:pt x="2384" y="93"/>
                        </a:lnTo>
                        <a:lnTo>
                          <a:pt x="2384" y="84"/>
                        </a:lnTo>
                        <a:lnTo>
                          <a:pt x="2381" y="76"/>
                        </a:lnTo>
                        <a:lnTo>
                          <a:pt x="2373" y="60"/>
                        </a:lnTo>
                        <a:lnTo>
                          <a:pt x="2365" y="45"/>
                        </a:lnTo>
                        <a:lnTo>
                          <a:pt x="2353" y="32"/>
                        </a:lnTo>
                        <a:lnTo>
                          <a:pt x="2339" y="22"/>
                        </a:lnTo>
                        <a:lnTo>
                          <a:pt x="2330" y="19"/>
                        </a:lnTo>
                        <a:lnTo>
                          <a:pt x="2321" y="15"/>
                        </a:lnTo>
                        <a:lnTo>
                          <a:pt x="2313" y="13"/>
                        </a:lnTo>
                        <a:lnTo>
                          <a:pt x="2304" y="12"/>
                        </a:lnTo>
                        <a:lnTo>
                          <a:pt x="2304" y="12"/>
                        </a:lnTo>
                        <a:lnTo>
                          <a:pt x="2253" y="6"/>
                        </a:lnTo>
                        <a:lnTo>
                          <a:pt x="2204" y="3"/>
                        </a:lnTo>
                        <a:lnTo>
                          <a:pt x="2153" y="2"/>
                        </a:lnTo>
                        <a:lnTo>
                          <a:pt x="2103" y="0"/>
                        </a:lnTo>
                        <a:lnTo>
                          <a:pt x="2103" y="0"/>
                        </a:lnTo>
                        <a:lnTo>
                          <a:pt x="2058" y="0"/>
                        </a:lnTo>
                        <a:lnTo>
                          <a:pt x="2015" y="3"/>
                        </a:lnTo>
                        <a:lnTo>
                          <a:pt x="1971" y="5"/>
                        </a:lnTo>
                        <a:lnTo>
                          <a:pt x="1928" y="9"/>
                        </a:lnTo>
                        <a:lnTo>
                          <a:pt x="1884" y="13"/>
                        </a:lnTo>
                        <a:lnTo>
                          <a:pt x="1841" y="19"/>
                        </a:lnTo>
                        <a:lnTo>
                          <a:pt x="1797" y="26"/>
                        </a:lnTo>
                        <a:lnTo>
                          <a:pt x="1755" y="34"/>
                        </a:lnTo>
                        <a:lnTo>
                          <a:pt x="1712" y="42"/>
                        </a:lnTo>
                        <a:lnTo>
                          <a:pt x="1670" y="52"/>
                        </a:lnTo>
                        <a:lnTo>
                          <a:pt x="1628" y="63"/>
                        </a:lnTo>
                        <a:lnTo>
                          <a:pt x="1588" y="74"/>
                        </a:lnTo>
                        <a:lnTo>
                          <a:pt x="1546" y="87"/>
                        </a:lnTo>
                        <a:lnTo>
                          <a:pt x="1505" y="102"/>
                        </a:lnTo>
                        <a:lnTo>
                          <a:pt x="1465" y="116"/>
                        </a:lnTo>
                        <a:lnTo>
                          <a:pt x="1424" y="131"/>
                        </a:lnTo>
                        <a:lnTo>
                          <a:pt x="1385" y="148"/>
                        </a:lnTo>
                        <a:lnTo>
                          <a:pt x="1346" y="165"/>
                        </a:lnTo>
                        <a:lnTo>
                          <a:pt x="1307" y="184"/>
                        </a:lnTo>
                        <a:lnTo>
                          <a:pt x="1268" y="203"/>
                        </a:lnTo>
                        <a:lnTo>
                          <a:pt x="1230" y="223"/>
                        </a:lnTo>
                        <a:lnTo>
                          <a:pt x="1192" y="245"/>
                        </a:lnTo>
                        <a:lnTo>
                          <a:pt x="1155" y="267"/>
                        </a:lnTo>
                        <a:lnTo>
                          <a:pt x="1119" y="290"/>
                        </a:lnTo>
                        <a:lnTo>
                          <a:pt x="1082" y="314"/>
                        </a:lnTo>
                        <a:lnTo>
                          <a:pt x="1046" y="339"/>
                        </a:lnTo>
                        <a:lnTo>
                          <a:pt x="1012" y="365"/>
                        </a:lnTo>
                        <a:lnTo>
                          <a:pt x="977" y="391"/>
                        </a:lnTo>
                        <a:lnTo>
                          <a:pt x="944" y="419"/>
                        </a:lnTo>
                        <a:lnTo>
                          <a:pt x="910" y="448"/>
                        </a:lnTo>
                        <a:lnTo>
                          <a:pt x="877" y="477"/>
                        </a:lnTo>
                        <a:lnTo>
                          <a:pt x="845" y="507"/>
                        </a:lnTo>
                        <a:lnTo>
                          <a:pt x="845" y="507"/>
                        </a:lnTo>
                        <a:lnTo>
                          <a:pt x="815" y="537"/>
                        </a:lnTo>
                        <a:lnTo>
                          <a:pt x="786" y="568"/>
                        </a:lnTo>
                        <a:lnTo>
                          <a:pt x="757" y="598"/>
                        </a:lnTo>
                        <a:lnTo>
                          <a:pt x="729" y="630"/>
                        </a:lnTo>
                        <a:lnTo>
                          <a:pt x="703" y="662"/>
                        </a:lnTo>
                        <a:lnTo>
                          <a:pt x="677" y="694"/>
                        </a:lnTo>
                        <a:lnTo>
                          <a:pt x="651" y="727"/>
                        </a:lnTo>
                        <a:lnTo>
                          <a:pt x="627" y="760"/>
                        </a:lnTo>
                        <a:lnTo>
                          <a:pt x="603" y="793"/>
                        </a:lnTo>
                        <a:lnTo>
                          <a:pt x="580" y="828"/>
                        </a:lnTo>
                        <a:lnTo>
                          <a:pt x="559" y="863"/>
                        </a:lnTo>
                        <a:lnTo>
                          <a:pt x="537" y="899"/>
                        </a:lnTo>
                        <a:lnTo>
                          <a:pt x="517" y="935"/>
                        </a:lnTo>
                        <a:lnTo>
                          <a:pt x="496" y="971"/>
                        </a:lnTo>
                        <a:lnTo>
                          <a:pt x="478" y="1008"/>
                        </a:lnTo>
                        <a:lnTo>
                          <a:pt x="460" y="1045"/>
                        </a:lnTo>
                        <a:lnTo>
                          <a:pt x="443" y="1083"/>
                        </a:lnTo>
                        <a:lnTo>
                          <a:pt x="427" y="1121"/>
                        </a:lnTo>
                        <a:lnTo>
                          <a:pt x="412" y="1158"/>
                        </a:lnTo>
                        <a:lnTo>
                          <a:pt x="398" y="1197"/>
                        </a:lnTo>
                        <a:lnTo>
                          <a:pt x="383" y="1236"/>
                        </a:lnTo>
                        <a:lnTo>
                          <a:pt x="372" y="1275"/>
                        </a:lnTo>
                        <a:lnTo>
                          <a:pt x="360" y="1314"/>
                        </a:lnTo>
                        <a:lnTo>
                          <a:pt x="349" y="1355"/>
                        </a:lnTo>
                        <a:lnTo>
                          <a:pt x="339" y="1396"/>
                        </a:lnTo>
                        <a:lnTo>
                          <a:pt x="330" y="1436"/>
                        </a:lnTo>
                        <a:lnTo>
                          <a:pt x="321" y="1477"/>
                        </a:lnTo>
                        <a:lnTo>
                          <a:pt x="315" y="1517"/>
                        </a:lnTo>
                        <a:lnTo>
                          <a:pt x="308" y="1558"/>
                        </a:lnTo>
                        <a:lnTo>
                          <a:pt x="304" y="1600"/>
                        </a:lnTo>
                        <a:lnTo>
                          <a:pt x="300" y="1642"/>
                        </a:lnTo>
                        <a:lnTo>
                          <a:pt x="295" y="1684"/>
                        </a:lnTo>
                        <a:lnTo>
                          <a:pt x="295" y="1684"/>
                        </a:lnTo>
                        <a:lnTo>
                          <a:pt x="266" y="1699"/>
                        </a:lnTo>
                        <a:lnTo>
                          <a:pt x="239" y="1718"/>
                        </a:lnTo>
                        <a:lnTo>
                          <a:pt x="211" y="1737"/>
                        </a:lnTo>
                        <a:lnTo>
                          <a:pt x="187" y="1759"/>
                        </a:lnTo>
                        <a:lnTo>
                          <a:pt x="162" y="1782"/>
                        </a:lnTo>
                        <a:lnTo>
                          <a:pt x="139" y="1805"/>
                        </a:lnTo>
                        <a:lnTo>
                          <a:pt x="119" y="1831"/>
                        </a:lnTo>
                        <a:lnTo>
                          <a:pt x="98" y="1859"/>
                        </a:lnTo>
                        <a:lnTo>
                          <a:pt x="98" y="1859"/>
                        </a:lnTo>
                        <a:lnTo>
                          <a:pt x="75" y="1895"/>
                        </a:lnTo>
                        <a:lnTo>
                          <a:pt x="55" y="1931"/>
                        </a:lnTo>
                        <a:lnTo>
                          <a:pt x="39" y="1969"/>
                        </a:lnTo>
                        <a:lnTo>
                          <a:pt x="25" y="2008"/>
                        </a:lnTo>
                        <a:lnTo>
                          <a:pt x="14" y="2048"/>
                        </a:lnTo>
                        <a:lnTo>
                          <a:pt x="6" y="2090"/>
                        </a:lnTo>
                        <a:lnTo>
                          <a:pt x="1" y="2131"/>
                        </a:lnTo>
                        <a:lnTo>
                          <a:pt x="0" y="2173"/>
                        </a:lnTo>
                        <a:lnTo>
                          <a:pt x="0" y="2173"/>
                        </a:lnTo>
                        <a:lnTo>
                          <a:pt x="0" y="2202"/>
                        </a:lnTo>
                        <a:lnTo>
                          <a:pt x="3" y="2229"/>
                        </a:lnTo>
                        <a:lnTo>
                          <a:pt x="6" y="2257"/>
                        </a:lnTo>
                        <a:lnTo>
                          <a:pt x="12" y="2283"/>
                        </a:lnTo>
                        <a:lnTo>
                          <a:pt x="17" y="2310"/>
                        </a:lnTo>
                        <a:lnTo>
                          <a:pt x="25" y="2336"/>
                        </a:lnTo>
                        <a:lnTo>
                          <a:pt x="33" y="2361"/>
                        </a:lnTo>
                        <a:lnTo>
                          <a:pt x="42" y="2385"/>
                        </a:lnTo>
                        <a:lnTo>
                          <a:pt x="53" y="2410"/>
                        </a:lnTo>
                        <a:lnTo>
                          <a:pt x="65" y="2433"/>
                        </a:lnTo>
                        <a:lnTo>
                          <a:pt x="78" y="2456"/>
                        </a:lnTo>
                        <a:lnTo>
                          <a:pt x="93" y="2480"/>
                        </a:lnTo>
                        <a:lnTo>
                          <a:pt x="107" y="2501"/>
                        </a:lnTo>
                        <a:lnTo>
                          <a:pt x="123" y="2521"/>
                        </a:lnTo>
                        <a:lnTo>
                          <a:pt x="140" y="2542"/>
                        </a:lnTo>
                        <a:lnTo>
                          <a:pt x="158" y="2561"/>
                        </a:lnTo>
                        <a:lnTo>
                          <a:pt x="177" y="2579"/>
                        </a:lnTo>
                        <a:lnTo>
                          <a:pt x="197" y="2597"/>
                        </a:lnTo>
                        <a:lnTo>
                          <a:pt x="217" y="2613"/>
                        </a:lnTo>
                        <a:lnTo>
                          <a:pt x="239" y="2629"/>
                        </a:lnTo>
                        <a:lnTo>
                          <a:pt x="260" y="2643"/>
                        </a:lnTo>
                        <a:lnTo>
                          <a:pt x="284" y="2656"/>
                        </a:lnTo>
                        <a:lnTo>
                          <a:pt x="307" y="2669"/>
                        </a:lnTo>
                        <a:lnTo>
                          <a:pt x="330" y="2681"/>
                        </a:lnTo>
                        <a:lnTo>
                          <a:pt x="355" y="2691"/>
                        </a:lnTo>
                        <a:lnTo>
                          <a:pt x="381" y="2700"/>
                        </a:lnTo>
                        <a:lnTo>
                          <a:pt x="405" y="2707"/>
                        </a:lnTo>
                        <a:lnTo>
                          <a:pt x="433" y="2714"/>
                        </a:lnTo>
                        <a:lnTo>
                          <a:pt x="459" y="2720"/>
                        </a:lnTo>
                        <a:lnTo>
                          <a:pt x="486" y="2724"/>
                        </a:lnTo>
                        <a:lnTo>
                          <a:pt x="514" y="2726"/>
                        </a:lnTo>
                        <a:lnTo>
                          <a:pt x="541" y="2727"/>
                        </a:lnTo>
                        <a:lnTo>
                          <a:pt x="541" y="2727"/>
                        </a:lnTo>
                        <a:lnTo>
                          <a:pt x="573" y="2779"/>
                        </a:lnTo>
                        <a:lnTo>
                          <a:pt x="605" y="2828"/>
                        </a:lnTo>
                        <a:lnTo>
                          <a:pt x="640" y="2878"/>
                        </a:lnTo>
                        <a:lnTo>
                          <a:pt x="676" y="2924"/>
                        </a:lnTo>
                        <a:lnTo>
                          <a:pt x="712" y="2970"/>
                        </a:lnTo>
                        <a:lnTo>
                          <a:pt x="751" y="3015"/>
                        </a:lnTo>
                        <a:lnTo>
                          <a:pt x="792" y="3057"/>
                        </a:lnTo>
                        <a:lnTo>
                          <a:pt x="832" y="3099"/>
                        </a:lnTo>
                        <a:lnTo>
                          <a:pt x="874" y="3139"/>
                        </a:lnTo>
                        <a:lnTo>
                          <a:pt x="917" y="3179"/>
                        </a:lnTo>
                        <a:lnTo>
                          <a:pt x="962" y="3216"/>
                        </a:lnTo>
                        <a:lnTo>
                          <a:pt x="1009" y="3252"/>
                        </a:lnTo>
                        <a:lnTo>
                          <a:pt x="1056" y="3286"/>
                        </a:lnTo>
                        <a:lnTo>
                          <a:pt x="1104" y="3319"/>
                        </a:lnTo>
                        <a:lnTo>
                          <a:pt x="1153" y="3351"/>
                        </a:lnTo>
                        <a:lnTo>
                          <a:pt x="1203" y="3380"/>
                        </a:lnTo>
                        <a:lnTo>
                          <a:pt x="1253" y="3407"/>
                        </a:lnTo>
                        <a:lnTo>
                          <a:pt x="1305" y="3435"/>
                        </a:lnTo>
                        <a:lnTo>
                          <a:pt x="1359" y="3459"/>
                        </a:lnTo>
                        <a:lnTo>
                          <a:pt x="1412" y="3482"/>
                        </a:lnTo>
                        <a:lnTo>
                          <a:pt x="1466" y="3503"/>
                        </a:lnTo>
                        <a:lnTo>
                          <a:pt x="1521" y="3523"/>
                        </a:lnTo>
                        <a:lnTo>
                          <a:pt x="1577" y="3540"/>
                        </a:lnTo>
                        <a:lnTo>
                          <a:pt x="1634" y="3558"/>
                        </a:lnTo>
                        <a:lnTo>
                          <a:pt x="1690" y="3571"/>
                        </a:lnTo>
                        <a:lnTo>
                          <a:pt x="1748" y="3584"/>
                        </a:lnTo>
                        <a:lnTo>
                          <a:pt x="1806" y="3594"/>
                        </a:lnTo>
                        <a:lnTo>
                          <a:pt x="1864" y="3603"/>
                        </a:lnTo>
                        <a:lnTo>
                          <a:pt x="1923" y="3610"/>
                        </a:lnTo>
                        <a:lnTo>
                          <a:pt x="1983" y="3614"/>
                        </a:lnTo>
                        <a:lnTo>
                          <a:pt x="2042" y="3617"/>
                        </a:lnTo>
                        <a:lnTo>
                          <a:pt x="2103" y="3619"/>
                        </a:lnTo>
                        <a:lnTo>
                          <a:pt x="2103" y="3619"/>
                        </a:lnTo>
                        <a:lnTo>
                          <a:pt x="2164" y="3617"/>
                        </a:lnTo>
                        <a:lnTo>
                          <a:pt x="2224" y="3614"/>
                        </a:lnTo>
                        <a:lnTo>
                          <a:pt x="2285" y="3610"/>
                        </a:lnTo>
                        <a:lnTo>
                          <a:pt x="2346" y="3603"/>
                        </a:lnTo>
                        <a:lnTo>
                          <a:pt x="2405" y="3594"/>
                        </a:lnTo>
                        <a:lnTo>
                          <a:pt x="2466" y="3582"/>
                        </a:lnTo>
                        <a:lnTo>
                          <a:pt x="2524" y="3569"/>
                        </a:lnTo>
                        <a:lnTo>
                          <a:pt x="2583" y="3555"/>
                        </a:lnTo>
                        <a:lnTo>
                          <a:pt x="2641" y="3537"/>
                        </a:lnTo>
                        <a:lnTo>
                          <a:pt x="2699" y="3519"/>
                        </a:lnTo>
                        <a:lnTo>
                          <a:pt x="2756" y="3497"/>
                        </a:lnTo>
                        <a:lnTo>
                          <a:pt x="2812" y="3475"/>
                        </a:lnTo>
                        <a:lnTo>
                          <a:pt x="2867" y="3451"/>
                        </a:lnTo>
                        <a:lnTo>
                          <a:pt x="2922" y="3423"/>
                        </a:lnTo>
                        <a:lnTo>
                          <a:pt x="2975" y="3396"/>
                        </a:lnTo>
                        <a:lnTo>
                          <a:pt x="3029" y="3365"/>
                        </a:lnTo>
                        <a:lnTo>
                          <a:pt x="3029" y="3365"/>
                        </a:lnTo>
                        <a:lnTo>
                          <a:pt x="3075" y="3336"/>
                        </a:lnTo>
                        <a:lnTo>
                          <a:pt x="3123" y="3304"/>
                        </a:lnTo>
                        <a:lnTo>
                          <a:pt x="3168" y="3273"/>
                        </a:lnTo>
                        <a:lnTo>
                          <a:pt x="3213" y="3239"/>
                        </a:lnTo>
                        <a:lnTo>
                          <a:pt x="3256" y="3205"/>
                        </a:lnTo>
                        <a:lnTo>
                          <a:pt x="3298" y="3168"/>
                        </a:lnTo>
                        <a:lnTo>
                          <a:pt x="3340" y="3131"/>
                        </a:lnTo>
                        <a:lnTo>
                          <a:pt x="3381" y="3092"/>
                        </a:lnTo>
                        <a:lnTo>
                          <a:pt x="3418" y="3053"/>
                        </a:lnTo>
                        <a:lnTo>
                          <a:pt x="3456" y="3012"/>
                        </a:lnTo>
                        <a:lnTo>
                          <a:pt x="3494" y="2969"/>
                        </a:lnTo>
                        <a:lnTo>
                          <a:pt x="3528" y="2927"/>
                        </a:lnTo>
                        <a:lnTo>
                          <a:pt x="3562" y="2882"/>
                        </a:lnTo>
                        <a:lnTo>
                          <a:pt x="3595" y="2837"/>
                        </a:lnTo>
                        <a:lnTo>
                          <a:pt x="3625" y="2791"/>
                        </a:lnTo>
                        <a:lnTo>
                          <a:pt x="3654" y="2743"/>
                        </a:lnTo>
                        <a:lnTo>
                          <a:pt x="3654" y="2743"/>
                        </a:lnTo>
                        <a:lnTo>
                          <a:pt x="3679" y="2740"/>
                        </a:lnTo>
                        <a:lnTo>
                          <a:pt x="3702" y="2736"/>
                        </a:lnTo>
                        <a:lnTo>
                          <a:pt x="3725" y="2731"/>
                        </a:lnTo>
                        <a:lnTo>
                          <a:pt x="3748" y="2724"/>
                        </a:lnTo>
                        <a:lnTo>
                          <a:pt x="3770" y="2718"/>
                        </a:lnTo>
                        <a:lnTo>
                          <a:pt x="3793" y="2710"/>
                        </a:lnTo>
                        <a:lnTo>
                          <a:pt x="3815" y="2701"/>
                        </a:lnTo>
                        <a:lnTo>
                          <a:pt x="3837" y="2691"/>
                        </a:lnTo>
                        <a:lnTo>
                          <a:pt x="3857" y="2681"/>
                        </a:lnTo>
                        <a:lnTo>
                          <a:pt x="3877" y="2669"/>
                        </a:lnTo>
                        <a:lnTo>
                          <a:pt x="3897" y="2656"/>
                        </a:lnTo>
                        <a:lnTo>
                          <a:pt x="3918" y="2643"/>
                        </a:lnTo>
                        <a:lnTo>
                          <a:pt x="3936" y="2629"/>
                        </a:lnTo>
                        <a:lnTo>
                          <a:pt x="3955" y="2614"/>
                        </a:lnTo>
                        <a:lnTo>
                          <a:pt x="3973" y="2598"/>
                        </a:lnTo>
                        <a:lnTo>
                          <a:pt x="3990" y="2581"/>
                        </a:lnTo>
                        <a:lnTo>
                          <a:pt x="3990" y="2581"/>
                        </a:lnTo>
                        <a:lnTo>
                          <a:pt x="4009" y="2562"/>
                        </a:lnTo>
                        <a:lnTo>
                          <a:pt x="4028" y="2540"/>
                        </a:lnTo>
                        <a:lnTo>
                          <a:pt x="4044" y="2519"/>
                        </a:lnTo>
                        <a:lnTo>
                          <a:pt x="4059" y="2497"/>
                        </a:lnTo>
                        <a:lnTo>
                          <a:pt x="4074" y="2474"/>
                        </a:lnTo>
                        <a:lnTo>
                          <a:pt x="4087" y="2451"/>
                        </a:lnTo>
                        <a:lnTo>
                          <a:pt x="4099" y="2427"/>
                        </a:lnTo>
                        <a:lnTo>
                          <a:pt x="4110" y="2403"/>
                        </a:lnTo>
                        <a:lnTo>
                          <a:pt x="4119" y="2377"/>
                        </a:lnTo>
                        <a:lnTo>
                          <a:pt x="4127" y="2352"/>
                        </a:lnTo>
                        <a:lnTo>
                          <a:pt x="4135" y="2326"/>
                        </a:lnTo>
                        <a:lnTo>
                          <a:pt x="4141" y="2300"/>
                        </a:lnTo>
                        <a:lnTo>
                          <a:pt x="4145" y="2273"/>
                        </a:lnTo>
                        <a:lnTo>
                          <a:pt x="4148" y="2247"/>
                        </a:lnTo>
                        <a:lnTo>
                          <a:pt x="4151" y="2219"/>
                        </a:lnTo>
                        <a:lnTo>
                          <a:pt x="4151" y="2192"/>
                        </a:lnTo>
                        <a:lnTo>
                          <a:pt x="4151" y="2192"/>
                        </a:lnTo>
                        <a:lnTo>
                          <a:pt x="4149" y="2158"/>
                        </a:lnTo>
                        <a:lnTo>
                          <a:pt x="4146" y="2123"/>
                        </a:lnTo>
                        <a:lnTo>
                          <a:pt x="4142" y="2090"/>
                        </a:lnTo>
                        <a:lnTo>
                          <a:pt x="4135" y="2058"/>
                        </a:lnTo>
                        <a:lnTo>
                          <a:pt x="4126" y="2027"/>
                        </a:lnTo>
                        <a:lnTo>
                          <a:pt x="4114" y="1995"/>
                        </a:lnTo>
                        <a:lnTo>
                          <a:pt x="4101" y="1964"/>
                        </a:lnTo>
                        <a:lnTo>
                          <a:pt x="4087" y="1934"/>
                        </a:lnTo>
                        <a:lnTo>
                          <a:pt x="4071" y="1905"/>
                        </a:lnTo>
                        <a:lnTo>
                          <a:pt x="4054" y="1877"/>
                        </a:lnTo>
                        <a:lnTo>
                          <a:pt x="4033" y="1851"/>
                        </a:lnTo>
                        <a:lnTo>
                          <a:pt x="4012" y="1825"/>
                        </a:lnTo>
                        <a:lnTo>
                          <a:pt x="3990" y="1801"/>
                        </a:lnTo>
                        <a:lnTo>
                          <a:pt x="3965" y="1778"/>
                        </a:lnTo>
                        <a:lnTo>
                          <a:pt x="3939" y="1756"/>
                        </a:lnTo>
                        <a:lnTo>
                          <a:pt x="3913" y="1737"/>
                        </a:lnTo>
                        <a:lnTo>
                          <a:pt x="3913" y="1737"/>
                        </a:lnTo>
                        <a:close/>
                        <a:moveTo>
                          <a:pt x="3913" y="1737"/>
                        </a:moveTo>
                        <a:lnTo>
                          <a:pt x="3913" y="173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2" name="Freeform 25">
                    <a:extLst>
                      <a:ext uri="{FF2B5EF4-FFF2-40B4-BE49-F238E27FC236}">
                        <a16:creationId xmlns="" xmlns:a16="http://schemas.microsoft.com/office/drawing/2014/main" id="{BCB74F2F-FCF0-4B41-8226-EC4EB9C9893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2053888" y="-4470400"/>
                    <a:ext cx="796925" cy="909638"/>
                  </a:xfrm>
                  <a:custGeom>
                    <a:avLst/>
                    <a:gdLst/>
                    <a:ahLst/>
                    <a:cxnLst>
                      <a:cxn ang="0">
                        <a:pos x="392" y="963"/>
                      </a:cxn>
                      <a:cxn ang="0">
                        <a:pos x="320" y="948"/>
                      </a:cxn>
                      <a:cxn ang="0">
                        <a:pos x="249" y="919"/>
                      </a:cxn>
                      <a:cxn ang="0">
                        <a:pos x="184" y="878"/>
                      </a:cxn>
                      <a:cxn ang="0">
                        <a:pos x="147" y="846"/>
                      </a:cxn>
                      <a:cxn ang="0">
                        <a:pos x="107" y="827"/>
                      </a:cxn>
                      <a:cxn ang="0">
                        <a:pos x="48" y="836"/>
                      </a:cxn>
                      <a:cxn ang="0">
                        <a:pos x="26" y="851"/>
                      </a:cxn>
                      <a:cxn ang="0">
                        <a:pos x="7" y="882"/>
                      </a:cxn>
                      <a:cxn ang="0">
                        <a:pos x="7" y="950"/>
                      </a:cxn>
                      <a:cxn ang="0">
                        <a:pos x="27" y="980"/>
                      </a:cxn>
                      <a:cxn ang="0">
                        <a:pos x="94" y="1037"/>
                      </a:cxn>
                      <a:cxn ang="0">
                        <a:pos x="191" y="1093"/>
                      </a:cxn>
                      <a:cxn ang="0">
                        <a:pos x="295" y="1129"/>
                      </a:cxn>
                      <a:cxn ang="0">
                        <a:pos x="402" y="1144"/>
                      </a:cxn>
                      <a:cxn ang="0">
                        <a:pos x="486" y="1142"/>
                      </a:cxn>
                      <a:cxn ang="0">
                        <a:pos x="595" y="1121"/>
                      </a:cxn>
                      <a:cxn ang="0">
                        <a:pos x="699" y="1079"/>
                      </a:cxn>
                      <a:cxn ang="0">
                        <a:pos x="794" y="1015"/>
                      </a:cxn>
                      <a:cxn ang="0">
                        <a:pos x="858" y="954"/>
                      </a:cxn>
                      <a:cxn ang="0">
                        <a:pos x="925" y="864"/>
                      </a:cxn>
                      <a:cxn ang="0">
                        <a:pos x="971" y="763"/>
                      </a:cxn>
                      <a:cxn ang="0">
                        <a:pos x="997" y="655"/>
                      </a:cxn>
                      <a:cxn ang="0">
                        <a:pos x="1003" y="569"/>
                      </a:cxn>
                      <a:cxn ang="0">
                        <a:pos x="991" y="456"/>
                      </a:cxn>
                      <a:cxn ang="0">
                        <a:pos x="958" y="351"/>
                      </a:cxn>
                      <a:cxn ang="0">
                        <a:pos x="906" y="252"/>
                      </a:cxn>
                      <a:cxn ang="0">
                        <a:pos x="833" y="165"/>
                      </a:cxn>
                      <a:cxn ang="0">
                        <a:pos x="770" y="112"/>
                      </a:cxn>
                      <a:cxn ang="0">
                        <a:pos x="677" y="57"/>
                      </a:cxn>
                      <a:cxn ang="0">
                        <a:pos x="576" y="19"/>
                      </a:cxn>
                      <a:cxn ang="0">
                        <a:pos x="467" y="2"/>
                      </a:cxn>
                      <a:cxn ang="0">
                        <a:pos x="422" y="2"/>
                      </a:cxn>
                      <a:cxn ang="0">
                        <a:pos x="376" y="27"/>
                      </a:cxn>
                      <a:cxn ang="0">
                        <a:pos x="350" y="71"/>
                      </a:cxn>
                      <a:cxn ang="0">
                        <a:pos x="349" y="99"/>
                      </a:cxn>
                      <a:cxn ang="0">
                        <a:pos x="363" y="141"/>
                      </a:cxn>
                      <a:cxn ang="0">
                        <a:pos x="411" y="177"/>
                      </a:cxn>
                      <a:cxn ang="0">
                        <a:pos x="437" y="181"/>
                      </a:cxn>
                      <a:cxn ang="0">
                        <a:pos x="512" y="190"/>
                      </a:cxn>
                      <a:cxn ang="0">
                        <a:pos x="582" y="212"/>
                      </a:cxn>
                      <a:cxn ang="0">
                        <a:pos x="647" y="247"/>
                      </a:cxn>
                      <a:cxn ang="0">
                        <a:pos x="706" y="294"/>
                      </a:cxn>
                      <a:cxn ang="0">
                        <a:pos x="744" y="338"/>
                      </a:cxn>
                      <a:cxn ang="0">
                        <a:pos x="784" y="404"/>
                      </a:cxn>
                      <a:cxn ang="0">
                        <a:pos x="810" y="475"/>
                      </a:cxn>
                      <a:cxn ang="0">
                        <a:pos x="822" y="550"/>
                      </a:cxn>
                      <a:cxn ang="0">
                        <a:pos x="820" y="610"/>
                      </a:cxn>
                      <a:cxn ang="0">
                        <a:pos x="806" y="685"/>
                      </a:cxn>
                      <a:cxn ang="0">
                        <a:pos x="777" y="754"/>
                      </a:cxn>
                      <a:cxn ang="0">
                        <a:pos x="735" y="820"/>
                      </a:cxn>
                      <a:cxn ang="0">
                        <a:pos x="694" y="862"/>
                      </a:cxn>
                      <a:cxn ang="0">
                        <a:pos x="631" y="909"/>
                      </a:cxn>
                      <a:cxn ang="0">
                        <a:pos x="561" y="943"/>
                      </a:cxn>
                      <a:cxn ang="0">
                        <a:pos x="486" y="960"/>
                      </a:cxn>
                      <a:cxn ang="0">
                        <a:pos x="430" y="964"/>
                      </a:cxn>
                    </a:cxnLst>
                    <a:rect l="0" t="0" r="r" b="b"/>
                    <a:pathLst>
                      <a:path w="1003" h="1145">
                        <a:moveTo>
                          <a:pt x="430" y="964"/>
                        </a:moveTo>
                        <a:lnTo>
                          <a:pt x="430" y="964"/>
                        </a:lnTo>
                        <a:lnTo>
                          <a:pt x="411" y="964"/>
                        </a:lnTo>
                        <a:lnTo>
                          <a:pt x="392" y="963"/>
                        </a:lnTo>
                        <a:lnTo>
                          <a:pt x="375" y="960"/>
                        </a:lnTo>
                        <a:lnTo>
                          <a:pt x="356" y="957"/>
                        </a:lnTo>
                        <a:lnTo>
                          <a:pt x="337" y="953"/>
                        </a:lnTo>
                        <a:lnTo>
                          <a:pt x="320" y="948"/>
                        </a:lnTo>
                        <a:lnTo>
                          <a:pt x="301" y="943"/>
                        </a:lnTo>
                        <a:lnTo>
                          <a:pt x="283" y="935"/>
                        </a:lnTo>
                        <a:lnTo>
                          <a:pt x="266" y="928"/>
                        </a:lnTo>
                        <a:lnTo>
                          <a:pt x="249" y="919"/>
                        </a:lnTo>
                        <a:lnTo>
                          <a:pt x="233" y="911"/>
                        </a:lnTo>
                        <a:lnTo>
                          <a:pt x="215" y="901"/>
                        </a:lnTo>
                        <a:lnTo>
                          <a:pt x="199" y="889"/>
                        </a:lnTo>
                        <a:lnTo>
                          <a:pt x="184" y="878"/>
                        </a:lnTo>
                        <a:lnTo>
                          <a:pt x="169" y="864"/>
                        </a:lnTo>
                        <a:lnTo>
                          <a:pt x="155" y="851"/>
                        </a:lnTo>
                        <a:lnTo>
                          <a:pt x="155" y="851"/>
                        </a:lnTo>
                        <a:lnTo>
                          <a:pt x="147" y="846"/>
                        </a:lnTo>
                        <a:lnTo>
                          <a:pt x="140" y="840"/>
                        </a:lnTo>
                        <a:lnTo>
                          <a:pt x="133" y="836"/>
                        </a:lnTo>
                        <a:lnTo>
                          <a:pt x="124" y="831"/>
                        </a:lnTo>
                        <a:lnTo>
                          <a:pt x="107" y="827"/>
                        </a:lnTo>
                        <a:lnTo>
                          <a:pt x="91" y="825"/>
                        </a:lnTo>
                        <a:lnTo>
                          <a:pt x="74" y="827"/>
                        </a:lnTo>
                        <a:lnTo>
                          <a:pt x="56" y="833"/>
                        </a:lnTo>
                        <a:lnTo>
                          <a:pt x="48" y="836"/>
                        </a:lnTo>
                        <a:lnTo>
                          <a:pt x="40" y="840"/>
                        </a:lnTo>
                        <a:lnTo>
                          <a:pt x="33" y="846"/>
                        </a:lnTo>
                        <a:lnTo>
                          <a:pt x="26" y="851"/>
                        </a:lnTo>
                        <a:lnTo>
                          <a:pt x="26" y="851"/>
                        </a:lnTo>
                        <a:lnTo>
                          <a:pt x="20" y="859"/>
                        </a:lnTo>
                        <a:lnTo>
                          <a:pt x="14" y="866"/>
                        </a:lnTo>
                        <a:lnTo>
                          <a:pt x="10" y="875"/>
                        </a:lnTo>
                        <a:lnTo>
                          <a:pt x="7" y="882"/>
                        </a:lnTo>
                        <a:lnTo>
                          <a:pt x="1" y="899"/>
                        </a:lnTo>
                        <a:lnTo>
                          <a:pt x="0" y="917"/>
                        </a:lnTo>
                        <a:lnTo>
                          <a:pt x="1" y="934"/>
                        </a:lnTo>
                        <a:lnTo>
                          <a:pt x="7" y="950"/>
                        </a:lnTo>
                        <a:lnTo>
                          <a:pt x="11" y="959"/>
                        </a:lnTo>
                        <a:lnTo>
                          <a:pt x="16" y="966"/>
                        </a:lnTo>
                        <a:lnTo>
                          <a:pt x="21" y="973"/>
                        </a:lnTo>
                        <a:lnTo>
                          <a:pt x="27" y="980"/>
                        </a:lnTo>
                        <a:lnTo>
                          <a:pt x="27" y="980"/>
                        </a:lnTo>
                        <a:lnTo>
                          <a:pt x="49" y="1001"/>
                        </a:lnTo>
                        <a:lnTo>
                          <a:pt x="71" y="1019"/>
                        </a:lnTo>
                        <a:lnTo>
                          <a:pt x="94" y="1037"/>
                        </a:lnTo>
                        <a:lnTo>
                          <a:pt x="117" y="1053"/>
                        </a:lnTo>
                        <a:lnTo>
                          <a:pt x="140" y="1067"/>
                        </a:lnTo>
                        <a:lnTo>
                          <a:pt x="165" y="1080"/>
                        </a:lnTo>
                        <a:lnTo>
                          <a:pt x="191" y="1093"/>
                        </a:lnTo>
                        <a:lnTo>
                          <a:pt x="215" y="1103"/>
                        </a:lnTo>
                        <a:lnTo>
                          <a:pt x="241" y="1113"/>
                        </a:lnTo>
                        <a:lnTo>
                          <a:pt x="267" y="1122"/>
                        </a:lnTo>
                        <a:lnTo>
                          <a:pt x="295" y="1129"/>
                        </a:lnTo>
                        <a:lnTo>
                          <a:pt x="321" y="1135"/>
                        </a:lnTo>
                        <a:lnTo>
                          <a:pt x="349" y="1139"/>
                        </a:lnTo>
                        <a:lnTo>
                          <a:pt x="376" y="1142"/>
                        </a:lnTo>
                        <a:lnTo>
                          <a:pt x="402" y="1144"/>
                        </a:lnTo>
                        <a:lnTo>
                          <a:pt x="430" y="1145"/>
                        </a:lnTo>
                        <a:lnTo>
                          <a:pt x="430" y="1145"/>
                        </a:lnTo>
                        <a:lnTo>
                          <a:pt x="457" y="1144"/>
                        </a:lnTo>
                        <a:lnTo>
                          <a:pt x="486" y="1142"/>
                        </a:lnTo>
                        <a:lnTo>
                          <a:pt x="514" y="1139"/>
                        </a:lnTo>
                        <a:lnTo>
                          <a:pt x="541" y="1135"/>
                        </a:lnTo>
                        <a:lnTo>
                          <a:pt x="567" y="1128"/>
                        </a:lnTo>
                        <a:lnTo>
                          <a:pt x="595" y="1121"/>
                        </a:lnTo>
                        <a:lnTo>
                          <a:pt x="621" y="1112"/>
                        </a:lnTo>
                        <a:lnTo>
                          <a:pt x="647" y="1103"/>
                        </a:lnTo>
                        <a:lnTo>
                          <a:pt x="673" y="1092"/>
                        </a:lnTo>
                        <a:lnTo>
                          <a:pt x="699" y="1079"/>
                        </a:lnTo>
                        <a:lnTo>
                          <a:pt x="723" y="1064"/>
                        </a:lnTo>
                        <a:lnTo>
                          <a:pt x="748" y="1050"/>
                        </a:lnTo>
                        <a:lnTo>
                          <a:pt x="771" y="1032"/>
                        </a:lnTo>
                        <a:lnTo>
                          <a:pt x="794" y="1015"/>
                        </a:lnTo>
                        <a:lnTo>
                          <a:pt x="816" y="996"/>
                        </a:lnTo>
                        <a:lnTo>
                          <a:pt x="838" y="976"/>
                        </a:lnTo>
                        <a:lnTo>
                          <a:pt x="838" y="976"/>
                        </a:lnTo>
                        <a:lnTo>
                          <a:pt x="858" y="954"/>
                        </a:lnTo>
                        <a:lnTo>
                          <a:pt x="875" y="933"/>
                        </a:lnTo>
                        <a:lnTo>
                          <a:pt x="893" y="911"/>
                        </a:lnTo>
                        <a:lnTo>
                          <a:pt x="909" y="888"/>
                        </a:lnTo>
                        <a:lnTo>
                          <a:pt x="925" y="864"/>
                        </a:lnTo>
                        <a:lnTo>
                          <a:pt x="938" y="840"/>
                        </a:lnTo>
                        <a:lnTo>
                          <a:pt x="951" y="814"/>
                        </a:lnTo>
                        <a:lnTo>
                          <a:pt x="961" y="789"/>
                        </a:lnTo>
                        <a:lnTo>
                          <a:pt x="971" y="763"/>
                        </a:lnTo>
                        <a:lnTo>
                          <a:pt x="980" y="737"/>
                        </a:lnTo>
                        <a:lnTo>
                          <a:pt x="987" y="710"/>
                        </a:lnTo>
                        <a:lnTo>
                          <a:pt x="993" y="682"/>
                        </a:lnTo>
                        <a:lnTo>
                          <a:pt x="997" y="655"/>
                        </a:lnTo>
                        <a:lnTo>
                          <a:pt x="1001" y="627"/>
                        </a:lnTo>
                        <a:lnTo>
                          <a:pt x="1003" y="598"/>
                        </a:lnTo>
                        <a:lnTo>
                          <a:pt x="1003" y="569"/>
                        </a:lnTo>
                        <a:lnTo>
                          <a:pt x="1003" y="569"/>
                        </a:lnTo>
                        <a:lnTo>
                          <a:pt x="1003" y="540"/>
                        </a:lnTo>
                        <a:lnTo>
                          <a:pt x="1000" y="513"/>
                        </a:lnTo>
                        <a:lnTo>
                          <a:pt x="997" y="485"/>
                        </a:lnTo>
                        <a:lnTo>
                          <a:pt x="991" y="456"/>
                        </a:lnTo>
                        <a:lnTo>
                          <a:pt x="985" y="430"/>
                        </a:lnTo>
                        <a:lnTo>
                          <a:pt x="978" y="403"/>
                        </a:lnTo>
                        <a:lnTo>
                          <a:pt x="969" y="377"/>
                        </a:lnTo>
                        <a:lnTo>
                          <a:pt x="958" y="351"/>
                        </a:lnTo>
                        <a:lnTo>
                          <a:pt x="948" y="325"/>
                        </a:lnTo>
                        <a:lnTo>
                          <a:pt x="935" y="300"/>
                        </a:lnTo>
                        <a:lnTo>
                          <a:pt x="920" y="277"/>
                        </a:lnTo>
                        <a:lnTo>
                          <a:pt x="906" y="252"/>
                        </a:lnTo>
                        <a:lnTo>
                          <a:pt x="888" y="229"/>
                        </a:lnTo>
                        <a:lnTo>
                          <a:pt x="871" y="207"/>
                        </a:lnTo>
                        <a:lnTo>
                          <a:pt x="852" y="186"/>
                        </a:lnTo>
                        <a:lnTo>
                          <a:pt x="833" y="165"/>
                        </a:lnTo>
                        <a:lnTo>
                          <a:pt x="833" y="165"/>
                        </a:lnTo>
                        <a:lnTo>
                          <a:pt x="813" y="147"/>
                        </a:lnTo>
                        <a:lnTo>
                          <a:pt x="791" y="129"/>
                        </a:lnTo>
                        <a:lnTo>
                          <a:pt x="770" y="112"/>
                        </a:lnTo>
                        <a:lnTo>
                          <a:pt x="748" y="96"/>
                        </a:lnTo>
                        <a:lnTo>
                          <a:pt x="725" y="82"/>
                        </a:lnTo>
                        <a:lnTo>
                          <a:pt x="702" y="68"/>
                        </a:lnTo>
                        <a:lnTo>
                          <a:pt x="677" y="57"/>
                        </a:lnTo>
                        <a:lnTo>
                          <a:pt x="652" y="45"/>
                        </a:lnTo>
                        <a:lnTo>
                          <a:pt x="628" y="35"/>
                        </a:lnTo>
                        <a:lnTo>
                          <a:pt x="602" y="27"/>
                        </a:lnTo>
                        <a:lnTo>
                          <a:pt x="576" y="19"/>
                        </a:lnTo>
                        <a:lnTo>
                          <a:pt x="550" y="14"/>
                        </a:lnTo>
                        <a:lnTo>
                          <a:pt x="522" y="8"/>
                        </a:lnTo>
                        <a:lnTo>
                          <a:pt x="495" y="5"/>
                        </a:lnTo>
                        <a:lnTo>
                          <a:pt x="467" y="2"/>
                        </a:lnTo>
                        <a:lnTo>
                          <a:pt x="440" y="0"/>
                        </a:lnTo>
                        <a:lnTo>
                          <a:pt x="440" y="0"/>
                        </a:lnTo>
                        <a:lnTo>
                          <a:pt x="431" y="0"/>
                        </a:lnTo>
                        <a:lnTo>
                          <a:pt x="422" y="2"/>
                        </a:lnTo>
                        <a:lnTo>
                          <a:pt x="414" y="5"/>
                        </a:lnTo>
                        <a:lnTo>
                          <a:pt x="405" y="8"/>
                        </a:lnTo>
                        <a:lnTo>
                          <a:pt x="389" y="15"/>
                        </a:lnTo>
                        <a:lnTo>
                          <a:pt x="376" y="27"/>
                        </a:lnTo>
                        <a:lnTo>
                          <a:pt x="364" y="40"/>
                        </a:lnTo>
                        <a:lnTo>
                          <a:pt x="356" y="54"/>
                        </a:lnTo>
                        <a:lnTo>
                          <a:pt x="353" y="63"/>
                        </a:lnTo>
                        <a:lnTo>
                          <a:pt x="350" y="71"/>
                        </a:lnTo>
                        <a:lnTo>
                          <a:pt x="349" y="80"/>
                        </a:lnTo>
                        <a:lnTo>
                          <a:pt x="349" y="89"/>
                        </a:lnTo>
                        <a:lnTo>
                          <a:pt x="349" y="89"/>
                        </a:lnTo>
                        <a:lnTo>
                          <a:pt x="349" y="99"/>
                        </a:lnTo>
                        <a:lnTo>
                          <a:pt x="350" y="108"/>
                        </a:lnTo>
                        <a:lnTo>
                          <a:pt x="351" y="116"/>
                        </a:lnTo>
                        <a:lnTo>
                          <a:pt x="354" y="125"/>
                        </a:lnTo>
                        <a:lnTo>
                          <a:pt x="363" y="141"/>
                        </a:lnTo>
                        <a:lnTo>
                          <a:pt x="373" y="154"/>
                        </a:lnTo>
                        <a:lnTo>
                          <a:pt x="386" y="165"/>
                        </a:lnTo>
                        <a:lnTo>
                          <a:pt x="402" y="174"/>
                        </a:lnTo>
                        <a:lnTo>
                          <a:pt x="411" y="177"/>
                        </a:lnTo>
                        <a:lnTo>
                          <a:pt x="419" y="180"/>
                        </a:lnTo>
                        <a:lnTo>
                          <a:pt x="428" y="181"/>
                        </a:lnTo>
                        <a:lnTo>
                          <a:pt x="437" y="181"/>
                        </a:lnTo>
                        <a:lnTo>
                          <a:pt x="437" y="181"/>
                        </a:lnTo>
                        <a:lnTo>
                          <a:pt x="456" y="183"/>
                        </a:lnTo>
                        <a:lnTo>
                          <a:pt x="474" y="184"/>
                        </a:lnTo>
                        <a:lnTo>
                          <a:pt x="493" y="187"/>
                        </a:lnTo>
                        <a:lnTo>
                          <a:pt x="512" y="190"/>
                        </a:lnTo>
                        <a:lnTo>
                          <a:pt x="529" y="194"/>
                        </a:lnTo>
                        <a:lnTo>
                          <a:pt x="547" y="199"/>
                        </a:lnTo>
                        <a:lnTo>
                          <a:pt x="566" y="206"/>
                        </a:lnTo>
                        <a:lnTo>
                          <a:pt x="582" y="212"/>
                        </a:lnTo>
                        <a:lnTo>
                          <a:pt x="599" y="219"/>
                        </a:lnTo>
                        <a:lnTo>
                          <a:pt x="616" y="228"/>
                        </a:lnTo>
                        <a:lnTo>
                          <a:pt x="632" y="238"/>
                        </a:lnTo>
                        <a:lnTo>
                          <a:pt x="647" y="247"/>
                        </a:lnTo>
                        <a:lnTo>
                          <a:pt x="663" y="258"/>
                        </a:lnTo>
                        <a:lnTo>
                          <a:pt x="677" y="270"/>
                        </a:lnTo>
                        <a:lnTo>
                          <a:pt x="692" y="281"/>
                        </a:lnTo>
                        <a:lnTo>
                          <a:pt x="706" y="294"/>
                        </a:lnTo>
                        <a:lnTo>
                          <a:pt x="706" y="294"/>
                        </a:lnTo>
                        <a:lnTo>
                          <a:pt x="719" y="309"/>
                        </a:lnTo>
                        <a:lnTo>
                          <a:pt x="732" y="323"/>
                        </a:lnTo>
                        <a:lnTo>
                          <a:pt x="744" y="338"/>
                        </a:lnTo>
                        <a:lnTo>
                          <a:pt x="755" y="354"/>
                        </a:lnTo>
                        <a:lnTo>
                          <a:pt x="765" y="370"/>
                        </a:lnTo>
                        <a:lnTo>
                          <a:pt x="775" y="387"/>
                        </a:lnTo>
                        <a:lnTo>
                          <a:pt x="784" y="404"/>
                        </a:lnTo>
                        <a:lnTo>
                          <a:pt x="791" y="422"/>
                        </a:lnTo>
                        <a:lnTo>
                          <a:pt x="799" y="439"/>
                        </a:lnTo>
                        <a:lnTo>
                          <a:pt x="804" y="456"/>
                        </a:lnTo>
                        <a:lnTo>
                          <a:pt x="810" y="475"/>
                        </a:lnTo>
                        <a:lnTo>
                          <a:pt x="815" y="494"/>
                        </a:lnTo>
                        <a:lnTo>
                          <a:pt x="817" y="513"/>
                        </a:lnTo>
                        <a:lnTo>
                          <a:pt x="820" y="532"/>
                        </a:lnTo>
                        <a:lnTo>
                          <a:pt x="822" y="550"/>
                        </a:lnTo>
                        <a:lnTo>
                          <a:pt x="822" y="571"/>
                        </a:lnTo>
                        <a:lnTo>
                          <a:pt x="822" y="571"/>
                        </a:lnTo>
                        <a:lnTo>
                          <a:pt x="822" y="590"/>
                        </a:lnTo>
                        <a:lnTo>
                          <a:pt x="820" y="610"/>
                        </a:lnTo>
                        <a:lnTo>
                          <a:pt x="817" y="629"/>
                        </a:lnTo>
                        <a:lnTo>
                          <a:pt x="815" y="647"/>
                        </a:lnTo>
                        <a:lnTo>
                          <a:pt x="810" y="666"/>
                        </a:lnTo>
                        <a:lnTo>
                          <a:pt x="806" y="685"/>
                        </a:lnTo>
                        <a:lnTo>
                          <a:pt x="800" y="702"/>
                        </a:lnTo>
                        <a:lnTo>
                          <a:pt x="793" y="721"/>
                        </a:lnTo>
                        <a:lnTo>
                          <a:pt x="786" y="739"/>
                        </a:lnTo>
                        <a:lnTo>
                          <a:pt x="777" y="754"/>
                        </a:lnTo>
                        <a:lnTo>
                          <a:pt x="768" y="772"/>
                        </a:lnTo>
                        <a:lnTo>
                          <a:pt x="758" y="788"/>
                        </a:lnTo>
                        <a:lnTo>
                          <a:pt x="747" y="804"/>
                        </a:lnTo>
                        <a:lnTo>
                          <a:pt x="735" y="820"/>
                        </a:lnTo>
                        <a:lnTo>
                          <a:pt x="722" y="834"/>
                        </a:lnTo>
                        <a:lnTo>
                          <a:pt x="709" y="849"/>
                        </a:lnTo>
                        <a:lnTo>
                          <a:pt x="709" y="849"/>
                        </a:lnTo>
                        <a:lnTo>
                          <a:pt x="694" y="862"/>
                        </a:lnTo>
                        <a:lnTo>
                          <a:pt x="679" y="875"/>
                        </a:lnTo>
                        <a:lnTo>
                          <a:pt x="663" y="888"/>
                        </a:lnTo>
                        <a:lnTo>
                          <a:pt x="647" y="899"/>
                        </a:lnTo>
                        <a:lnTo>
                          <a:pt x="631" y="909"/>
                        </a:lnTo>
                        <a:lnTo>
                          <a:pt x="613" y="919"/>
                        </a:lnTo>
                        <a:lnTo>
                          <a:pt x="596" y="927"/>
                        </a:lnTo>
                        <a:lnTo>
                          <a:pt x="579" y="935"/>
                        </a:lnTo>
                        <a:lnTo>
                          <a:pt x="561" y="943"/>
                        </a:lnTo>
                        <a:lnTo>
                          <a:pt x="542" y="948"/>
                        </a:lnTo>
                        <a:lnTo>
                          <a:pt x="524" y="953"/>
                        </a:lnTo>
                        <a:lnTo>
                          <a:pt x="505" y="957"/>
                        </a:lnTo>
                        <a:lnTo>
                          <a:pt x="486" y="960"/>
                        </a:lnTo>
                        <a:lnTo>
                          <a:pt x="467" y="963"/>
                        </a:lnTo>
                        <a:lnTo>
                          <a:pt x="448" y="964"/>
                        </a:lnTo>
                        <a:lnTo>
                          <a:pt x="430" y="964"/>
                        </a:lnTo>
                        <a:lnTo>
                          <a:pt x="430" y="964"/>
                        </a:lnTo>
                        <a:close/>
                        <a:moveTo>
                          <a:pt x="430" y="964"/>
                        </a:moveTo>
                        <a:lnTo>
                          <a:pt x="430" y="96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3" name="Freeform 26">
                    <a:extLst>
                      <a:ext uri="{FF2B5EF4-FFF2-40B4-BE49-F238E27FC236}">
                        <a16:creationId xmlns="" xmlns:a16="http://schemas.microsoft.com/office/drawing/2014/main" id="{0E09733F-C59D-4C45-BAA7-2199897899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053888" y="-4470400"/>
                    <a:ext cx="796925" cy="909638"/>
                  </a:xfrm>
                  <a:custGeom>
                    <a:avLst/>
                    <a:gdLst/>
                    <a:ahLst/>
                    <a:cxnLst>
                      <a:cxn ang="0">
                        <a:pos x="392" y="963"/>
                      </a:cxn>
                      <a:cxn ang="0">
                        <a:pos x="320" y="948"/>
                      </a:cxn>
                      <a:cxn ang="0">
                        <a:pos x="249" y="919"/>
                      </a:cxn>
                      <a:cxn ang="0">
                        <a:pos x="184" y="878"/>
                      </a:cxn>
                      <a:cxn ang="0">
                        <a:pos x="147" y="846"/>
                      </a:cxn>
                      <a:cxn ang="0">
                        <a:pos x="107" y="827"/>
                      </a:cxn>
                      <a:cxn ang="0">
                        <a:pos x="48" y="836"/>
                      </a:cxn>
                      <a:cxn ang="0">
                        <a:pos x="26" y="851"/>
                      </a:cxn>
                      <a:cxn ang="0">
                        <a:pos x="7" y="882"/>
                      </a:cxn>
                      <a:cxn ang="0">
                        <a:pos x="7" y="950"/>
                      </a:cxn>
                      <a:cxn ang="0">
                        <a:pos x="27" y="980"/>
                      </a:cxn>
                      <a:cxn ang="0">
                        <a:pos x="94" y="1037"/>
                      </a:cxn>
                      <a:cxn ang="0">
                        <a:pos x="191" y="1093"/>
                      </a:cxn>
                      <a:cxn ang="0">
                        <a:pos x="295" y="1129"/>
                      </a:cxn>
                      <a:cxn ang="0">
                        <a:pos x="402" y="1144"/>
                      </a:cxn>
                      <a:cxn ang="0">
                        <a:pos x="486" y="1142"/>
                      </a:cxn>
                      <a:cxn ang="0">
                        <a:pos x="595" y="1121"/>
                      </a:cxn>
                      <a:cxn ang="0">
                        <a:pos x="699" y="1079"/>
                      </a:cxn>
                      <a:cxn ang="0">
                        <a:pos x="794" y="1015"/>
                      </a:cxn>
                      <a:cxn ang="0">
                        <a:pos x="858" y="954"/>
                      </a:cxn>
                      <a:cxn ang="0">
                        <a:pos x="925" y="864"/>
                      </a:cxn>
                      <a:cxn ang="0">
                        <a:pos x="971" y="763"/>
                      </a:cxn>
                      <a:cxn ang="0">
                        <a:pos x="997" y="655"/>
                      </a:cxn>
                      <a:cxn ang="0">
                        <a:pos x="1003" y="569"/>
                      </a:cxn>
                      <a:cxn ang="0">
                        <a:pos x="991" y="456"/>
                      </a:cxn>
                      <a:cxn ang="0">
                        <a:pos x="958" y="351"/>
                      </a:cxn>
                      <a:cxn ang="0">
                        <a:pos x="906" y="252"/>
                      </a:cxn>
                      <a:cxn ang="0">
                        <a:pos x="833" y="165"/>
                      </a:cxn>
                      <a:cxn ang="0">
                        <a:pos x="770" y="112"/>
                      </a:cxn>
                      <a:cxn ang="0">
                        <a:pos x="677" y="57"/>
                      </a:cxn>
                      <a:cxn ang="0">
                        <a:pos x="576" y="19"/>
                      </a:cxn>
                      <a:cxn ang="0">
                        <a:pos x="467" y="2"/>
                      </a:cxn>
                      <a:cxn ang="0">
                        <a:pos x="422" y="2"/>
                      </a:cxn>
                      <a:cxn ang="0">
                        <a:pos x="376" y="27"/>
                      </a:cxn>
                      <a:cxn ang="0">
                        <a:pos x="350" y="71"/>
                      </a:cxn>
                      <a:cxn ang="0">
                        <a:pos x="349" y="99"/>
                      </a:cxn>
                      <a:cxn ang="0">
                        <a:pos x="363" y="141"/>
                      </a:cxn>
                      <a:cxn ang="0">
                        <a:pos x="411" y="177"/>
                      </a:cxn>
                      <a:cxn ang="0">
                        <a:pos x="437" y="181"/>
                      </a:cxn>
                      <a:cxn ang="0">
                        <a:pos x="512" y="190"/>
                      </a:cxn>
                      <a:cxn ang="0">
                        <a:pos x="582" y="212"/>
                      </a:cxn>
                      <a:cxn ang="0">
                        <a:pos x="647" y="247"/>
                      </a:cxn>
                      <a:cxn ang="0">
                        <a:pos x="706" y="294"/>
                      </a:cxn>
                      <a:cxn ang="0">
                        <a:pos x="744" y="338"/>
                      </a:cxn>
                      <a:cxn ang="0">
                        <a:pos x="784" y="404"/>
                      </a:cxn>
                      <a:cxn ang="0">
                        <a:pos x="810" y="475"/>
                      </a:cxn>
                      <a:cxn ang="0">
                        <a:pos x="822" y="550"/>
                      </a:cxn>
                      <a:cxn ang="0">
                        <a:pos x="820" y="610"/>
                      </a:cxn>
                      <a:cxn ang="0">
                        <a:pos x="806" y="685"/>
                      </a:cxn>
                      <a:cxn ang="0">
                        <a:pos x="777" y="754"/>
                      </a:cxn>
                      <a:cxn ang="0">
                        <a:pos x="735" y="820"/>
                      </a:cxn>
                      <a:cxn ang="0">
                        <a:pos x="694" y="862"/>
                      </a:cxn>
                      <a:cxn ang="0">
                        <a:pos x="631" y="909"/>
                      </a:cxn>
                      <a:cxn ang="0">
                        <a:pos x="561" y="943"/>
                      </a:cxn>
                      <a:cxn ang="0">
                        <a:pos x="486" y="960"/>
                      </a:cxn>
                      <a:cxn ang="0">
                        <a:pos x="430" y="964"/>
                      </a:cxn>
                    </a:cxnLst>
                    <a:rect l="0" t="0" r="r" b="b"/>
                    <a:pathLst>
                      <a:path w="1003" h="1145">
                        <a:moveTo>
                          <a:pt x="430" y="964"/>
                        </a:moveTo>
                        <a:lnTo>
                          <a:pt x="430" y="964"/>
                        </a:lnTo>
                        <a:lnTo>
                          <a:pt x="411" y="964"/>
                        </a:lnTo>
                        <a:lnTo>
                          <a:pt x="392" y="963"/>
                        </a:lnTo>
                        <a:lnTo>
                          <a:pt x="375" y="960"/>
                        </a:lnTo>
                        <a:lnTo>
                          <a:pt x="356" y="957"/>
                        </a:lnTo>
                        <a:lnTo>
                          <a:pt x="337" y="953"/>
                        </a:lnTo>
                        <a:lnTo>
                          <a:pt x="320" y="948"/>
                        </a:lnTo>
                        <a:lnTo>
                          <a:pt x="301" y="943"/>
                        </a:lnTo>
                        <a:lnTo>
                          <a:pt x="283" y="935"/>
                        </a:lnTo>
                        <a:lnTo>
                          <a:pt x="266" y="928"/>
                        </a:lnTo>
                        <a:lnTo>
                          <a:pt x="249" y="919"/>
                        </a:lnTo>
                        <a:lnTo>
                          <a:pt x="233" y="911"/>
                        </a:lnTo>
                        <a:lnTo>
                          <a:pt x="215" y="901"/>
                        </a:lnTo>
                        <a:lnTo>
                          <a:pt x="199" y="889"/>
                        </a:lnTo>
                        <a:lnTo>
                          <a:pt x="184" y="878"/>
                        </a:lnTo>
                        <a:lnTo>
                          <a:pt x="169" y="864"/>
                        </a:lnTo>
                        <a:lnTo>
                          <a:pt x="155" y="851"/>
                        </a:lnTo>
                        <a:lnTo>
                          <a:pt x="155" y="851"/>
                        </a:lnTo>
                        <a:lnTo>
                          <a:pt x="147" y="846"/>
                        </a:lnTo>
                        <a:lnTo>
                          <a:pt x="140" y="840"/>
                        </a:lnTo>
                        <a:lnTo>
                          <a:pt x="133" y="836"/>
                        </a:lnTo>
                        <a:lnTo>
                          <a:pt x="124" y="831"/>
                        </a:lnTo>
                        <a:lnTo>
                          <a:pt x="107" y="827"/>
                        </a:lnTo>
                        <a:lnTo>
                          <a:pt x="91" y="825"/>
                        </a:lnTo>
                        <a:lnTo>
                          <a:pt x="74" y="827"/>
                        </a:lnTo>
                        <a:lnTo>
                          <a:pt x="56" y="833"/>
                        </a:lnTo>
                        <a:lnTo>
                          <a:pt x="48" y="836"/>
                        </a:lnTo>
                        <a:lnTo>
                          <a:pt x="40" y="840"/>
                        </a:lnTo>
                        <a:lnTo>
                          <a:pt x="33" y="846"/>
                        </a:lnTo>
                        <a:lnTo>
                          <a:pt x="26" y="851"/>
                        </a:lnTo>
                        <a:lnTo>
                          <a:pt x="26" y="851"/>
                        </a:lnTo>
                        <a:lnTo>
                          <a:pt x="20" y="859"/>
                        </a:lnTo>
                        <a:lnTo>
                          <a:pt x="14" y="866"/>
                        </a:lnTo>
                        <a:lnTo>
                          <a:pt x="10" y="875"/>
                        </a:lnTo>
                        <a:lnTo>
                          <a:pt x="7" y="882"/>
                        </a:lnTo>
                        <a:lnTo>
                          <a:pt x="1" y="899"/>
                        </a:lnTo>
                        <a:lnTo>
                          <a:pt x="0" y="917"/>
                        </a:lnTo>
                        <a:lnTo>
                          <a:pt x="1" y="934"/>
                        </a:lnTo>
                        <a:lnTo>
                          <a:pt x="7" y="950"/>
                        </a:lnTo>
                        <a:lnTo>
                          <a:pt x="11" y="959"/>
                        </a:lnTo>
                        <a:lnTo>
                          <a:pt x="16" y="966"/>
                        </a:lnTo>
                        <a:lnTo>
                          <a:pt x="21" y="973"/>
                        </a:lnTo>
                        <a:lnTo>
                          <a:pt x="27" y="980"/>
                        </a:lnTo>
                        <a:lnTo>
                          <a:pt x="27" y="980"/>
                        </a:lnTo>
                        <a:lnTo>
                          <a:pt x="49" y="1001"/>
                        </a:lnTo>
                        <a:lnTo>
                          <a:pt x="71" y="1019"/>
                        </a:lnTo>
                        <a:lnTo>
                          <a:pt x="94" y="1037"/>
                        </a:lnTo>
                        <a:lnTo>
                          <a:pt x="117" y="1053"/>
                        </a:lnTo>
                        <a:lnTo>
                          <a:pt x="140" y="1067"/>
                        </a:lnTo>
                        <a:lnTo>
                          <a:pt x="165" y="1080"/>
                        </a:lnTo>
                        <a:lnTo>
                          <a:pt x="191" y="1093"/>
                        </a:lnTo>
                        <a:lnTo>
                          <a:pt x="215" y="1103"/>
                        </a:lnTo>
                        <a:lnTo>
                          <a:pt x="241" y="1113"/>
                        </a:lnTo>
                        <a:lnTo>
                          <a:pt x="267" y="1122"/>
                        </a:lnTo>
                        <a:lnTo>
                          <a:pt x="295" y="1129"/>
                        </a:lnTo>
                        <a:lnTo>
                          <a:pt x="321" y="1135"/>
                        </a:lnTo>
                        <a:lnTo>
                          <a:pt x="349" y="1139"/>
                        </a:lnTo>
                        <a:lnTo>
                          <a:pt x="376" y="1142"/>
                        </a:lnTo>
                        <a:lnTo>
                          <a:pt x="402" y="1144"/>
                        </a:lnTo>
                        <a:lnTo>
                          <a:pt x="430" y="1145"/>
                        </a:lnTo>
                        <a:lnTo>
                          <a:pt x="430" y="1145"/>
                        </a:lnTo>
                        <a:lnTo>
                          <a:pt x="457" y="1144"/>
                        </a:lnTo>
                        <a:lnTo>
                          <a:pt x="486" y="1142"/>
                        </a:lnTo>
                        <a:lnTo>
                          <a:pt x="514" y="1139"/>
                        </a:lnTo>
                        <a:lnTo>
                          <a:pt x="541" y="1135"/>
                        </a:lnTo>
                        <a:lnTo>
                          <a:pt x="567" y="1128"/>
                        </a:lnTo>
                        <a:lnTo>
                          <a:pt x="595" y="1121"/>
                        </a:lnTo>
                        <a:lnTo>
                          <a:pt x="621" y="1112"/>
                        </a:lnTo>
                        <a:lnTo>
                          <a:pt x="647" y="1103"/>
                        </a:lnTo>
                        <a:lnTo>
                          <a:pt x="673" y="1092"/>
                        </a:lnTo>
                        <a:lnTo>
                          <a:pt x="699" y="1079"/>
                        </a:lnTo>
                        <a:lnTo>
                          <a:pt x="723" y="1064"/>
                        </a:lnTo>
                        <a:lnTo>
                          <a:pt x="748" y="1050"/>
                        </a:lnTo>
                        <a:lnTo>
                          <a:pt x="771" y="1032"/>
                        </a:lnTo>
                        <a:lnTo>
                          <a:pt x="794" y="1015"/>
                        </a:lnTo>
                        <a:lnTo>
                          <a:pt x="816" y="996"/>
                        </a:lnTo>
                        <a:lnTo>
                          <a:pt x="838" y="976"/>
                        </a:lnTo>
                        <a:lnTo>
                          <a:pt x="838" y="976"/>
                        </a:lnTo>
                        <a:lnTo>
                          <a:pt x="858" y="954"/>
                        </a:lnTo>
                        <a:lnTo>
                          <a:pt x="875" y="933"/>
                        </a:lnTo>
                        <a:lnTo>
                          <a:pt x="893" y="911"/>
                        </a:lnTo>
                        <a:lnTo>
                          <a:pt x="909" y="888"/>
                        </a:lnTo>
                        <a:lnTo>
                          <a:pt x="925" y="864"/>
                        </a:lnTo>
                        <a:lnTo>
                          <a:pt x="938" y="840"/>
                        </a:lnTo>
                        <a:lnTo>
                          <a:pt x="951" y="814"/>
                        </a:lnTo>
                        <a:lnTo>
                          <a:pt x="961" y="789"/>
                        </a:lnTo>
                        <a:lnTo>
                          <a:pt x="971" y="763"/>
                        </a:lnTo>
                        <a:lnTo>
                          <a:pt x="980" y="737"/>
                        </a:lnTo>
                        <a:lnTo>
                          <a:pt x="987" y="710"/>
                        </a:lnTo>
                        <a:lnTo>
                          <a:pt x="993" y="682"/>
                        </a:lnTo>
                        <a:lnTo>
                          <a:pt x="997" y="655"/>
                        </a:lnTo>
                        <a:lnTo>
                          <a:pt x="1001" y="627"/>
                        </a:lnTo>
                        <a:lnTo>
                          <a:pt x="1003" y="598"/>
                        </a:lnTo>
                        <a:lnTo>
                          <a:pt x="1003" y="569"/>
                        </a:lnTo>
                        <a:lnTo>
                          <a:pt x="1003" y="569"/>
                        </a:lnTo>
                        <a:lnTo>
                          <a:pt x="1003" y="540"/>
                        </a:lnTo>
                        <a:lnTo>
                          <a:pt x="1000" y="513"/>
                        </a:lnTo>
                        <a:lnTo>
                          <a:pt x="997" y="485"/>
                        </a:lnTo>
                        <a:lnTo>
                          <a:pt x="991" y="456"/>
                        </a:lnTo>
                        <a:lnTo>
                          <a:pt x="985" y="430"/>
                        </a:lnTo>
                        <a:lnTo>
                          <a:pt x="978" y="403"/>
                        </a:lnTo>
                        <a:lnTo>
                          <a:pt x="969" y="377"/>
                        </a:lnTo>
                        <a:lnTo>
                          <a:pt x="958" y="351"/>
                        </a:lnTo>
                        <a:lnTo>
                          <a:pt x="948" y="325"/>
                        </a:lnTo>
                        <a:lnTo>
                          <a:pt x="935" y="300"/>
                        </a:lnTo>
                        <a:lnTo>
                          <a:pt x="920" y="277"/>
                        </a:lnTo>
                        <a:lnTo>
                          <a:pt x="906" y="252"/>
                        </a:lnTo>
                        <a:lnTo>
                          <a:pt x="888" y="229"/>
                        </a:lnTo>
                        <a:lnTo>
                          <a:pt x="871" y="207"/>
                        </a:lnTo>
                        <a:lnTo>
                          <a:pt x="852" y="186"/>
                        </a:lnTo>
                        <a:lnTo>
                          <a:pt x="833" y="165"/>
                        </a:lnTo>
                        <a:lnTo>
                          <a:pt x="833" y="165"/>
                        </a:lnTo>
                        <a:lnTo>
                          <a:pt x="813" y="147"/>
                        </a:lnTo>
                        <a:lnTo>
                          <a:pt x="791" y="129"/>
                        </a:lnTo>
                        <a:lnTo>
                          <a:pt x="770" y="112"/>
                        </a:lnTo>
                        <a:lnTo>
                          <a:pt x="748" y="96"/>
                        </a:lnTo>
                        <a:lnTo>
                          <a:pt x="725" y="82"/>
                        </a:lnTo>
                        <a:lnTo>
                          <a:pt x="702" y="68"/>
                        </a:lnTo>
                        <a:lnTo>
                          <a:pt x="677" y="57"/>
                        </a:lnTo>
                        <a:lnTo>
                          <a:pt x="652" y="45"/>
                        </a:lnTo>
                        <a:lnTo>
                          <a:pt x="628" y="35"/>
                        </a:lnTo>
                        <a:lnTo>
                          <a:pt x="602" y="27"/>
                        </a:lnTo>
                        <a:lnTo>
                          <a:pt x="576" y="19"/>
                        </a:lnTo>
                        <a:lnTo>
                          <a:pt x="550" y="14"/>
                        </a:lnTo>
                        <a:lnTo>
                          <a:pt x="522" y="8"/>
                        </a:lnTo>
                        <a:lnTo>
                          <a:pt x="495" y="5"/>
                        </a:lnTo>
                        <a:lnTo>
                          <a:pt x="467" y="2"/>
                        </a:lnTo>
                        <a:lnTo>
                          <a:pt x="440" y="0"/>
                        </a:lnTo>
                        <a:lnTo>
                          <a:pt x="440" y="0"/>
                        </a:lnTo>
                        <a:lnTo>
                          <a:pt x="431" y="0"/>
                        </a:lnTo>
                        <a:lnTo>
                          <a:pt x="422" y="2"/>
                        </a:lnTo>
                        <a:lnTo>
                          <a:pt x="414" y="5"/>
                        </a:lnTo>
                        <a:lnTo>
                          <a:pt x="405" y="8"/>
                        </a:lnTo>
                        <a:lnTo>
                          <a:pt x="389" y="15"/>
                        </a:lnTo>
                        <a:lnTo>
                          <a:pt x="376" y="27"/>
                        </a:lnTo>
                        <a:lnTo>
                          <a:pt x="364" y="40"/>
                        </a:lnTo>
                        <a:lnTo>
                          <a:pt x="356" y="54"/>
                        </a:lnTo>
                        <a:lnTo>
                          <a:pt x="353" y="63"/>
                        </a:lnTo>
                        <a:lnTo>
                          <a:pt x="350" y="71"/>
                        </a:lnTo>
                        <a:lnTo>
                          <a:pt x="349" y="80"/>
                        </a:lnTo>
                        <a:lnTo>
                          <a:pt x="349" y="89"/>
                        </a:lnTo>
                        <a:lnTo>
                          <a:pt x="349" y="89"/>
                        </a:lnTo>
                        <a:lnTo>
                          <a:pt x="349" y="99"/>
                        </a:lnTo>
                        <a:lnTo>
                          <a:pt x="350" y="108"/>
                        </a:lnTo>
                        <a:lnTo>
                          <a:pt x="351" y="116"/>
                        </a:lnTo>
                        <a:lnTo>
                          <a:pt x="354" y="125"/>
                        </a:lnTo>
                        <a:lnTo>
                          <a:pt x="363" y="141"/>
                        </a:lnTo>
                        <a:lnTo>
                          <a:pt x="373" y="154"/>
                        </a:lnTo>
                        <a:lnTo>
                          <a:pt x="386" y="165"/>
                        </a:lnTo>
                        <a:lnTo>
                          <a:pt x="402" y="174"/>
                        </a:lnTo>
                        <a:lnTo>
                          <a:pt x="411" y="177"/>
                        </a:lnTo>
                        <a:lnTo>
                          <a:pt x="419" y="180"/>
                        </a:lnTo>
                        <a:lnTo>
                          <a:pt x="428" y="181"/>
                        </a:lnTo>
                        <a:lnTo>
                          <a:pt x="437" y="181"/>
                        </a:lnTo>
                        <a:lnTo>
                          <a:pt x="437" y="181"/>
                        </a:lnTo>
                        <a:lnTo>
                          <a:pt x="456" y="183"/>
                        </a:lnTo>
                        <a:lnTo>
                          <a:pt x="474" y="184"/>
                        </a:lnTo>
                        <a:lnTo>
                          <a:pt x="493" y="187"/>
                        </a:lnTo>
                        <a:lnTo>
                          <a:pt x="512" y="190"/>
                        </a:lnTo>
                        <a:lnTo>
                          <a:pt x="529" y="194"/>
                        </a:lnTo>
                        <a:lnTo>
                          <a:pt x="547" y="199"/>
                        </a:lnTo>
                        <a:lnTo>
                          <a:pt x="566" y="206"/>
                        </a:lnTo>
                        <a:lnTo>
                          <a:pt x="582" y="212"/>
                        </a:lnTo>
                        <a:lnTo>
                          <a:pt x="599" y="219"/>
                        </a:lnTo>
                        <a:lnTo>
                          <a:pt x="616" y="228"/>
                        </a:lnTo>
                        <a:lnTo>
                          <a:pt x="632" y="238"/>
                        </a:lnTo>
                        <a:lnTo>
                          <a:pt x="647" y="247"/>
                        </a:lnTo>
                        <a:lnTo>
                          <a:pt x="663" y="258"/>
                        </a:lnTo>
                        <a:lnTo>
                          <a:pt x="677" y="270"/>
                        </a:lnTo>
                        <a:lnTo>
                          <a:pt x="692" y="281"/>
                        </a:lnTo>
                        <a:lnTo>
                          <a:pt x="706" y="294"/>
                        </a:lnTo>
                        <a:lnTo>
                          <a:pt x="706" y="294"/>
                        </a:lnTo>
                        <a:lnTo>
                          <a:pt x="719" y="309"/>
                        </a:lnTo>
                        <a:lnTo>
                          <a:pt x="732" y="323"/>
                        </a:lnTo>
                        <a:lnTo>
                          <a:pt x="744" y="338"/>
                        </a:lnTo>
                        <a:lnTo>
                          <a:pt x="755" y="354"/>
                        </a:lnTo>
                        <a:lnTo>
                          <a:pt x="765" y="370"/>
                        </a:lnTo>
                        <a:lnTo>
                          <a:pt x="775" y="387"/>
                        </a:lnTo>
                        <a:lnTo>
                          <a:pt x="784" y="404"/>
                        </a:lnTo>
                        <a:lnTo>
                          <a:pt x="791" y="422"/>
                        </a:lnTo>
                        <a:lnTo>
                          <a:pt x="799" y="439"/>
                        </a:lnTo>
                        <a:lnTo>
                          <a:pt x="804" y="456"/>
                        </a:lnTo>
                        <a:lnTo>
                          <a:pt x="810" y="475"/>
                        </a:lnTo>
                        <a:lnTo>
                          <a:pt x="815" y="494"/>
                        </a:lnTo>
                        <a:lnTo>
                          <a:pt x="817" y="513"/>
                        </a:lnTo>
                        <a:lnTo>
                          <a:pt x="820" y="532"/>
                        </a:lnTo>
                        <a:lnTo>
                          <a:pt x="822" y="550"/>
                        </a:lnTo>
                        <a:lnTo>
                          <a:pt x="822" y="571"/>
                        </a:lnTo>
                        <a:lnTo>
                          <a:pt x="822" y="571"/>
                        </a:lnTo>
                        <a:lnTo>
                          <a:pt x="822" y="590"/>
                        </a:lnTo>
                        <a:lnTo>
                          <a:pt x="820" y="610"/>
                        </a:lnTo>
                        <a:lnTo>
                          <a:pt x="817" y="629"/>
                        </a:lnTo>
                        <a:lnTo>
                          <a:pt x="815" y="647"/>
                        </a:lnTo>
                        <a:lnTo>
                          <a:pt x="810" y="666"/>
                        </a:lnTo>
                        <a:lnTo>
                          <a:pt x="806" y="685"/>
                        </a:lnTo>
                        <a:lnTo>
                          <a:pt x="800" y="702"/>
                        </a:lnTo>
                        <a:lnTo>
                          <a:pt x="793" y="721"/>
                        </a:lnTo>
                        <a:lnTo>
                          <a:pt x="786" y="739"/>
                        </a:lnTo>
                        <a:lnTo>
                          <a:pt x="777" y="754"/>
                        </a:lnTo>
                        <a:lnTo>
                          <a:pt x="768" y="772"/>
                        </a:lnTo>
                        <a:lnTo>
                          <a:pt x="758" y="788"/>
                        </a:lnTo>
                        <a:lnTo>
                          <a:pt x="747" y="804"/>
                        </a:lnTo>
                        <a:lnTo>
                          <a:pt x="735" y="820"/>
                        </a:lnTo>
                        <a:lnTo>
                          <a:pt x="722" y="834"/>
                        </a:lnTo>
                        <a:lnTo>
                          <a:pt x="709" y="849"/>
                        </a:lnTo>
                        <a:lnTo>
                          <a:pt x="709" y="849"/>
                        </a:lnTo>
                        <a:lnTo>
                          <a:pt x="694" y="862"/>
                        </a:lnTo>
                        <a:lnTo>
                          <a:pt x="679" y="875"/>
                        </a:lnTo>
                        <a:lnTo>
                          <a:pt x="663" y="888"/>
                        </a:lnTo>
                        <a:lnTo>
                          <a:pt x="647" y="899"/>
                        </a:lnTo>
                        <a:lnTo>
                          <a:pt x="631" y="909"/>
                        </a:lnTo>
                        <a:lnTo>
                          <a:pt x="613" y="919"/>
                        </a:lnTo>
                        <a:lnTo>
                          <a:pt x="596" y="927"/>
                        </a:lnTo>
                        <a:lnTo>
                          <a:pt x="579" y="935"/>
                        </a:lnTo>
                        <a:lnTo>
                          <a:pt x="561" y="943"/>
                        </a:lnTo>
                        <a:lnTo>
                          <a:pt x="542" y="948"/>
                        </a:lnTo>
                        <a:lnTo>
                          <a:pt x="524" y="953"/>
                        </a:lnTo>
                        <a:lnTo>
                          <a:pt x="505" y="957"/>
                        </a:lnTo>
                        <a:lnTo>
                          <a:pt x="486" y="960"/>
                        </a:lnTo>
                        <a:lnTo>
                          <a:pt x="467" y="963"/>
                        </a:lnTo>
                        <a:lnTo>
                          <a:pt x="448" y="964"/>
                        </a:lnTo>
                        <a:lnTo>
                          <a:pt x="430" y="964"/>
                        </a:lnTo>
                        <a:lnTo>
                          <a:pt x="430" y="964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34" name="Line 27">
                    <a:extLst>
                      <a:ext uri="{FF2B5EF4-FFF2-40B4-BE49-F238E27FC236}">
                        <a16:creationId xmlns="" xmlns:a16="http://schemas.microsoft.com/office/drawing/2014/main" id="{184836A9-42A8-47BF-ABF9-9CA7908073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395201" y="-370522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</p:grpSp>
        <p:grpSp>
          <p:nvGrpSpPr>
            <p:cNvPr id="235" name="组合 234">
              <a:extLst>
                <a:ext uri="{FF2B5EF4-FFF2-40B4-BE49-F238E27FC236}">
                  <a16:creationId xmlns="" xmlns:a16="http://schemas.microsoft.com/office/drawing/2014/main" id="{79CFE3B0-1D5B-4282-AEFD-7C657FB8FE28}"/>
                </a:ext>
              </a:extLst>
            </p:cNvPr>
            <p:cNvGrpSpPr/>
            <p:nvPr/>
          </p:nvGrpSpPr>
          <p:grpSpPr>
            <a:xfrm>
              <a:off x="10306992" y="2634517"/>
              <a:ext cx="1344785" cy="1054114"/>
              <a:chOff x="9784816" y="2944296"/>
              <a:chExt cx="1345301" cy="1054518"/>
            </a:xfrm>
          </p:grpSpPr>
          <p:sp>
            <p:nvSpPr>
              <p:cNvPr id="236" name="Freeform 52">
                <a:extLst>
                  <a:ext uri="{FF2B5EF4-FFF2-40B4-BE49-F238E27FC236}">
                    <a16:creationId xmlns="" xmlns:a16="http://schemas.microsoft.com/office/drawing/2014/main" id="{52189C16-5F4E-4F17-92C4-DE8684F256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16750" y="3033549"/>
                <a:ext cx="435165" cy="418016"/>
              </a:xfrm>
              <a:custGeom>
                <a:avLst/>
                <a:gdLst/>
                <a:ahLst/>
                <a:cxnLst>
                  <a:cxn ang="0">
                    <a:pos x="2820" y="883"/>
                  </a:cxn>
                  <a:cxn ang="0">
                    <a:pos x="2030" y="830"/>
                  </a:cxn>
                  <a:cxn ang="0">
                    <a:pos x="1837" y="1013"/>
                  </a:cxn>
                  <a:cxn ang="0">
                    <a:pos x="1185" y="811"/>
                  </a:cxn>
                  <a:cxn ang="0">
                    <a:pos x="938" y="912"/>
                  </a:cxn>
                  <a:cxn ang="0">
                    <a:pos x="368" y="1518"/>
                  </a:cxn>
                  <a:cxn ang="0">
                    <a:pos x="44" y="1959"/>
                  </a:cxn>
                  <a:cxn ang="0">
                    <a:pos x="207" y="2797"/>
                  </a:cxn>
                  <a:cxn ang="0">
                    <a:pos x="862" y="3108"/>
                  </a:cxn>
                  <a:cxn ang="0">
                    <a:pos x="1451" y="2892"/>
                  </a:cxn>
                  <a:cxn ang="0">
                    <a:pos x="1072" y="2743"/>
                  </a:cxn>
                  <a:cxn ang="0">
                    <a:pos x="629" y="2720"/>
                  </a:cxn>
                  <a:cxn ang="0">
                    <a:pos x="330" y="2273"/>
                  </a:cxn>
                  <a:cxn ang="0">
                    <a:pos x="543" y="1797"/>
                  </a:cxn>
                  <a:cxn ang="0">
                    <a:pos x="1073" y="1721"/>
                  </a:cxn>
                  <a:cxn ang="0">
                    <a:pos x="1370" y="1613"/>
                  </a:cxn>
                  <a:cxn ang="0">
                    <a:pos x="1775" y="1178"/>
                  </a:cxn>
                  <a:cxn ang="0">
                    <a:pos x="1575" y="1881"/>
                  </a:cxn>
                  <a:cxn ang="0">
                    <a:pos x="1524" y="2464"/>
                  </a:cxn>
                  <a:cxn ang="0">
                    <a:pos x="2111" y="3081"/>
                  </a:cxn>
                  <a:cxn ang="0">
                    <a:pos x="2929" y="2920"/>
                  </a:cxn>
                  <a:cxn ang="0">
                    <a:pos x="3246" y="2193"/>
                  </a:cxn>
                  <a:cxn ang="0">
                    <a:pos x="3070" y="1716"/>
                  </a:cxn>
                  <a:cxn ang="0">
                    <a:pos x="1407" y="1416"/>
                  </a:cxn>
                  <a:cxn ang="0">
                    <a:pos x="1210" y="1228"/>
                  </a:cxn>
                  <a:cxn ang="0">
                    <a:pos x="1446" y="1109"/>
                  </a:cxn>
                  <a:cxn ang="0">
                    <a:pos x="2405" y="988"/>
                  </a:cxn>
                  <a:cxn ang="0">
                    <a:pos x="2508" y="1241"/>
                  </a:cxn>
                  <a:cxn ang="0">
                    <a:pos x="2236" y="1241"/>
                  </a:cxn>
                  <a:cxn ang="0">
                    <a:pos x="2339" y="988"/>
                  </a:cxn>
                  <a:cxn ang="0">
                    <a:pos x="1985" y="2631"/>
                  </a:cxn>
                  <a:cxn ang="0">
                    <a:pos x="1836" y="2134"/>
                  </a:cxn>
                  <a:cxn ang="0">
                    <a:pos x="2183" y="1730"/>
                  </a:cxn>
                  <a:cxn ang="0">
                    <a:pos x="2700" y="1806"/>
                  </a:cxn>
                  <a:cxn ang="0">
                    <a:pos x="2918" y="2272"/>
                  </a:cxn>
                  <a:cxn ang="0">
                    <a:pos x="2632" y="2725"/>
                  </a:cxn>
                  <a:cxn ang="0">
                    <a:pos x="1602" y="854"/>
                  </a:cxn>
                  <a:cxn ang="0">
                    <a:pos x="1766" y="643"/>
                  </a:cxn>
                  <a:cxn ang="0">
                    <a:pos x="1680" y="400"/>
                  </a:cxn>
                  <a:cxn ang="0">
                    <a:pos x="1428" y="337"/>
                  </a:cxn>
                  <a:cxn ang="0">
                    <a:pos x="1234" y="521"/>
                  </a:cxn>
                  <a:cxn ang="0">
                    <a:pos x="1284" y="776"/>
                  </a:cxn>
                  <a:cxn ang="0">
                    <a:pos x="1496" y="493"/>
                  </a:cxn>
                  <a:cxn ang="0">
                    <a:pos x="1597" y="644"/>
                  </a:cxn>
                  <a:cxn ang="0">
                    <a:pos x="1418" y="680"/>
                  </a:cxn>
                  <a:cxn ang="0">
                    <a:pos x="1454" y="501"/>
                  </a:cxn>
                  <a:cxn ang="0">
                    <a:pos x="2583" y="373"/>
                  </a:cxn>
                  <a:cxn ang="0">
                    <a:pos x="2324" y="278"/>
                  </a:cxn>
                  <a:cxn ang="0">
                    <a:pos x="2180" y="155"/>
                  </a:cxn>
                  <a:cxn ang="0">
                    <a:pos x="1962" y="1"/>
                  </a:cxn>
                  <a:cxn ang="0">
                    <a:pos x="1722" y="99"/>
                  </a:cxn>
                  <a:cxn ang="0">
                    <a:pos x="1672" y="355"/>
                  </a:cxn>
                  <a:cxn ang="0">
                    <a:pos x="1866" y="539"/>
                  </a:cxn>
                  <a:cxn ang="0">
                    <a:pos x="2098" y="561"/>
                  </a:cxn>
                  <a:cxn ang="0">
                    <a:pos x="2242" y="788"/>
                  </a:cxn>
                  <a:cxn ang="0">
                    <a:pos x="2502" y="788"/>
                  </a:cxn>
                  <a:cxn ang="0">
                    <a:pos x="2646" y="561"/>
                  </a:cxn>
                  <a:cxn ang="0">
                    <a:pos x="1824" y="274"/>
                  </a:cxn>
                  <a:cxn ang="0">
                    <a:pos x="1977" y="172"/>
                  </a:cxn>
                  <a:cxn ang="0">
                    <a:pos x="2011" y="351"/>
                  </a:cxn>
                  <a:cxn ang="0">
                    <a:pos x="2281" y="608"/>
                  </a:cxn>
                  <a:cxn ang="0">
                    <a:pos x="2350" y="440"/>
                  </a:cxn>
                  <a:cxn ang="0">
                    <a:pos x="2481" y="558"/>
                  </a:cxn>
                </a:cxnLst>
                <a:rect l="0" t="0" r="r" b="b"/>
                <a:pathLst>
                  <a:path w="3248" h="3120">
                    <a:moveTo>
                      <a:pt x="2919" y="1562"/>
                    </a:moveTo>
                    <a:lnTo>
                      <a:pt x="2919" y="1094"/>
                    </a:lnTo>
                    <a:lnTo>
                      <a:pt x="2919" y="1094"/>
                    </a:lnTo>
                    <a:lnTo>
                      <a:pt x="2919" y="1080"/>
                    </a:lnTo>
                    <a:lnTo>
                      <a:pt x="2918" y="1066"/>
                    </a:lnTo>
                    <a:lnTo>
                      <a:pt x="2916" y="1053"/>
                    </a:lnTo>
                    <a:lnTo>
                      <a:pt x="2914" y="1039"/>
                    </a:lnTo>
                    <a:lnTo>
                      <a:pt x="2910" y="1026"/>
                    </a:lnTo>
                    <a:lnTo>
                      <a:pt x="2907" y="1013"/>
                    </a:lnTo>
                    <a:lnTo>
                      <a:pt x="2903" y="1000"/>
                    </a:lnTo>
                    <a:lnTo>
                      <a:pt x="2898" y="988"/>
                    </a:lnTo>
                    <a:lnTo>
                      <a:pt x="2892" y="976"/>
                    </a:lnTo>
                    <a:lnTo>
                      <a:pt x="2886" y="964"/>
                    </a:lnTo>
                    <a:lnTo>
                      <a:pt x="2880" y="953"/>
                    </a:lnTo>
                    <a:lnTo>
                      <a:pt x="2872" y="942"/>
                    </a:lnTo>
                    <a:lnTo>
                      <a:pt x="2865" y="931"/>
                    </a:lnTo>
                    <a:lnTo>
                      <a:pt x="2857" y="921"/>
                    </a:lnTo>
                    <a:lnTo>
                      <a:pt x="2848" y="911"/>
                    </a:lnTo>
                    <a:lnTo>
                      <a:pt x="2839" y="901"/>
                    </a:lnTo>
                    <a:lnTo>
                      <a:pt x="2830" y="892"/>
                    </a:lnTo>
                    <a:lnTo>
                      <a:pt x="2820" y="883"/>
                    </a:lnTo>
                    <a:lnTo>
                      <a:pt x="2809" y="875"/>
                    </a:lnTo>
                    <a:lnTo>
                      <a:pt x="2799" y="868"/>
                    </a:lnTo>
                    <a:lnTo>
                      <a:pt x="2788" y="861"/>
                    </a:lnTo>
                    <a:lnTo>
                      <a:pt x="2776" y="854"/>
                    </a:lnTo>
                    <a:lnTo>
                      <a:pt x="2764" y="848"/>
                    </a:lnTo>
                    <a:lnTo>
                      <a:pt x="2752" y="843"/>
                    </a:lnTo>
                    <a:lnTo>
                      <a:pt x="2740" y="838"/>
                    </a:lnTo>
                    <a:lnTo>
                      <a:pt x="2727" y="833"/>
                    </a:lnTo>
                    <a:lnTo>
                      <a:pt x="2714" y="830"/>
                    </a:lnTo>
                    <a:lnTo>
                      <a:pt x="2701" y="827"/>
                    </a:lnTo>
                    <a:lnTo>
                      <a:pt x="2688" y="824"/>
                    </a:lnTo>
                    <a:lnTo>
                      <a:pt x="2674" y="823"/>
                    </a:lnTo>
                    <a:lnTo>
                      <a:pt x="2660" y="821"/>
                    </a:lnTo>
                    <a:lnTo>
                      <a:pt x="2646" y="821"/>
                    </a:lnTo>
                    <a:lnTo>
                      <a:pt x="2098" y="821"/>
                    </a:lnTo>
                    <a:lnTo>
                      <a:pt x="2098" y="821"/>
                    </a:lnTo>
                    <a:lnTo>
                      <a:pt x="2084" y="821"/>
                    </a:lnTo>
                    <a:lnTo>
                      <a:pt x="2070" y="823"/>
                    </a:lnTo>
                    <a:lnTo>
                      <a:pt x="2056" y="824"/>
                    </a:lnTo>
                    <a:lnTo>
                      <a:pt x="2043" y="827"/>
                    </a:lnTo>
                    <a:lnTo>
                      <a:pt x="2030" y="830"/>
                    </a:lnTo>
                    <a:lnTo>
                      <a:pt x="2017" y="833"/>
                    </a:lnTo>
                    <a:lnTo>
                      <a:pt x="2004" y="838"/>
                    </a:lnTo>
                    <a:lnTo>
                      <a:pt x="1992" y="843"/>
                    </a:lnTo>
                    <a:lnTo>
                      <a:pt x="1979" y="848"/>
                    </a:lnTo>
                    <a:lnTo>
                      <a:pt x="1968" y="854"/>
                    </a:lnTo>
                    <a:lnTo>
                      <a:pt x="1956" y="861"/>
                    </a:lnTo>
                    <a:lnTo>
                      <a:pt x="1945" y="868"/>
                    </a:lnTo>
                    <a:lnTo>
                      <a:pt x="1934" y="875"/>
                    </a:lnTo>
                    <a:lnTo>
                      <a:pt x="1924" y="883"/>
                    </a:lnTo>
                    <a:lnTo>
                      <a:pt x="1914" y="892"/>
                    </a:lnTo>
                    <a:lnTo>
                      <a:pt x="1905" y="901"/>
                    </a:lnTo>
                    <a:lnTo>
                      <a:pt x="1896" y="911"/>
                    </a:lnTo>
                    <a:lnTo>
                      <a:pt x="1887" y="921"/>
                    </a:lnTo>
                    <a:lnTo>
                      <a:pt x="1879" y="931"/>
                    </a:lnTo>
                    <a:lnTo>
                      <a:pt x="1871" y="942"/>
                    </a:lnTo>
                    <a:lnTo>
                      <a:pt x="1864" y="953"/>
                    </a:lnTo>
                    <a:lnTo>
                      <a:pt x="1858" y="964"/>
                    </a:lnTo>
                    <a:lnTo>
                      <a:pt x="1852" y="976"/>
                    </a:lnTo>
                    <a:lnTo>
                      <a:pt x="1846" y="988"/>
                    </a:lnTo>
                    <a:lnTo>
                      <a:pt x="1841" y="1000"/>
                    </a:lnTo>
                    <a:lnTo>
                      <a:pt x="1837" y="1013"/>
                    </a:lnTo>
                    <a:lnTo>
                      <a:pt x="1833" y="1026"/>
                    </a:lnTo>
                    <a:lnTo>
                      <a:pt x="1830" y="1039"/>
                    </a:lnTo>
                    <a:lnTo>
                      <a:pt x="1828" y="1053"/>
                    </a:lnTo>
                    <a:lnTo>
                      <a:pt x="1825" y="1066"/>
                    </a:lnTo>
                    <a:lnTo>
                      <a:pt x="1824" y="1080"/>
                    </a:lnTo>
                    <a:lnTo>
                      <a:pt x="1824" y="1094"/>
                    </a:lnTo>
                    <a:lnTo>
                      <a:pt x="1824" y="1131"/>
                    </a:lnTo>
                    <a:lnTo>
                      <a:pt x="1824" y="1131"/>
                    </a:lnTo>
                    <a:lnTo>
                      <a:pt x="1810" y="1118"/>
                    </a:lnTo>
                    <a:lnTo>
                      <a:pt x="1796" y="1106"/>
                    </a:lnTo>
                    <a:lnTo>
                      <a:pt x="1780" y="1095"/>
                    </a:lnTo>
                    <a:lnTo>
                      <a:pt x="1764" y="1086"/>
                    </a:lnTo>
                    <a:lnTo>
                      <a:pt x="1276" y="839"/>
                    </a:lnTo>
                    <a:lnTo>
                      <a:pt x="1276" y="839"/>
                    </a:lnTo>
                    <a:lnTo>
                      <a:pt x="1263" y="833"/>
                    </a:lnTo>
                    <a:lnTo>
                      <a:pt x="1250" y="828"/>
                    </a:lnTo>
                    <a:lnTo>
                      <a:pt x="1237" y="823"/>
                    </a:lnTo>
                    <a:lnTo>
                      <a:pt x="1224" y="819"/>
                    </a:lnTo>
                    <a:lnTo>
                      <a:pt x="1211" y="816"/>
                    </a:lnTo>
                    <a:lnTo>
                      <a:pt x="1198" y="813"/>
                    </a:lnTo>
                    <a:lnTo>
                      <a:pt x="1185" y="811"/>
                    </a:lnTo>
                    <a:lnTo>
                      <a:pt x="1171" y="810"/>
                    </a:lnTo>
                    <a:lnTo>
                      <a:pt x="1158" y="809"/>
                    </a:lnTo>
                    <a:lnTo>
                      <a:pt x="1145" y="809"/>
                    </a:lnTo>
                    <a:lnTo>
                      <a:pt x="1132" y="810"/>
                    </a:lnTo>
                    <a:lnTo>
                      <a:pt x="1119" y="811"/>
                    </a:lnTo>
                    <a:lnTo>
                      <a:pt x="1106" y="813"/>
                    </a:lnTo>
                    <a:lnTo>
                      <a:pt x="1093" y="816"/>
                    </a:lnTo>
                    <a:lnTo>
                      <a:pt x="1080" y="819"/>
                    </a:lnTo>
                    <a:lnTo>
                      <a:pt x="1068" y="823"/>
                    </a:lnTo>
                    <a:lnTo>
                      <a:pt x="1055" y="827"/>
                    </a:lnTo>
                    <a:lnTo>
                      <a:pt x="1043" y="832"/>
                    </a:lnTo>
                    <a:lnTo>
                      <a:pt x="1031" y="838"/>
                    </a:lnTo>
                    <a:lnTo>
                      <a:pt x="1020" y="844"/>
                    </a:lnTo>
                    <a:lnTo>
                      <a:pt x="1007" y="851"/>
                    </a:lnTo>
                    <a:lnTo>
                      <a:pt x="996" y="858"/>
                    </a:lnTo>
                    <a:lnTo>
                      <a:pt x="985" y="866"/>
                    </a:lnTo>
                    <a:lnTo>
                      <a:pt x="975" y="874"/>
                    </a:lnTo>
                    <a:lnTo>
                      <a:pt x="965" y="883"/>
                    </a:lnTo>
                    <a:lnTo>
                      <a:pt x="956" y="892"/>
                    </a:lnTo>
                    <a:lnTo>
                      <a:pt x="946" y="902"/>
                    </a:lnTo>
                    <a:lnTo>
                      <a:pt x="938" y="912"/>
                    </a:lnTo>
                    <a:lnTo>
                      <a:pt x="929" y="923"/>
                    </a:lnTo>
                    <a:lnTo>
                      <a:pt x="922" y="935"/>
                    </a:lnTo>
                    <a:lnTo>
                      <a:pt x="915" y="947"/>
                    </a:lnTo>
                    <a:lnTo>
                      <a:pt x="908" y="959"/>
                    </a:lnTo>
                    <a:lnTo>
                      <a:pt x="697" y="1375"/>
                    </a:lnTo>
                    <a:lnTo>
                      <a:pt x="697" y="1375"/>
                    </a:lnTo>
                    <a:lnTo>
                      <a:pt x="674" y="1380"/>
                    </a:lnTo>
                    <a:lnTo>
                      <a:pt x="651" y="1386"/>
                    </a:lnTo>
                    <a:lnTo>
                      <a:pt x="628" y="1393"/>
                    </a:lnTo>
                    <a:lnTo>
                      <a:pt x="604" y="1400"/>
                    </a:lnTo>
                    <a:lnTo>
                      <a:pt x="581" y="1407"/>
                    </a:lnTo>
                    <a:lnTo>
                      <a:pt x="559" y="1416"/>
                    </a:lnTo>
                    <a:lnTo>
                      <a:pt x="536" y="1425"/>
                    </a:lnTo>
                    <a:lnTo>
                      <a:pt x="514" y="1434"/>
                    </a:lnTo>
                    <a:lnTo>
                      <a:pt x="493" y="1444"/>
                    </a:lnTo>
                    <a:lnTo>
                      <a:pt x="471" y="1455"/>
                    </a:lnTo>
                    <a:lnTo>
                      <a:pt x="450" y="1467"/>
                    </a:lnTo>
                    <a:lnTo>
                      <a:pt x="429" y="1479"/>
                    </a:lnTo>
                    <a:lnTo>
                      <a:pt x="409" y="1491"/>
                    </a:lnTo>
                    <a:lnTo>
                      <a:pt x="388" y="1504"/>
                    </a:lnTo>
                    <a:lnTo>
                      <a:pt x="368" y="1518"/>
                    </a:lnTo>
                    <a:lnTo>
                      <a:pt x="349" y="1532"/>
                    </a:lnTo>
                    <a:lnTo>
                      <a:pt x="330" y="1547"/>
                    </a:lnTo>
                    <a:lnTo>
                      <a:pt x="311" y="1563"/>
                    </a:lnTo>
                    <a:lnTo>
                      <a:pt x="293" y="1579"/>
                    </a:lnTo>
                    <a:lnTo>
                      <a:pt x="275" y="1596"/>
                    </a:lnTo>
                    <a:lnTo>
                      <a:pt x="257" y="1613"/>
                    </a:lnTo>
                    <a:lnTo>
                      <a:pt x="240" y="1630"/>
                    </a:lnTo>
                    <a:lnTo>
                      <a:pt x="223" y="1649"/>
                    </a:lnTo>
                    <a:lnTo>
                      <a:pt x="207" y="1667"/>
                    </a:lnTo>
                    <a:lnTo>
                      <a:pt x="190" y="1686"/>
                    </a:lnTo>
                    <a:lnTo>
                      <a:pt x="175" y="1706"/>
                    </a:lnTo>
                    <a:lnTo>
                      <a:pt x="160" y="1726"/>
                    </a:lnTo>
                    <a:lnTo>
                      <a:pt x="146" y="1747"/>
                    </a:lnTo>
                    <a:lnTo>
                      <a:pt x="132" y="1769"/>
                    </a:lnTo>
                    <a:lnTo>
                      <a:pt x="119" y="1790"/>
                    </a:lnTo>
                    <a:lnTo>
                      <a:pt x="107" y="1813"/>
                    </a:lnTo>
                    <a:lnTo>
                      <a:pt x="95" y="1835"/>
                    </a:lnTo>
                    <a:lnTo>
                      <a:pt x="95" y="1835"/>
                    </a:lnTo>
                    <a:lnTo>
                      <a:pt x="75" y="1876"/>
                    </a:lnTo>
                    <a:lnTo>
                      <a:pt x="58" y="1917"/>
                    </a:lnTo>
                    <a:lnTo>
                      <a:pt x="44" y="1959"/>
                    </a:lnTo>
                    <a:lnTo>
                      <a:pt x="31" y="2001"/>
                    </a:lnTo>
                    <a:lnTo>
                      <a:pt x="20" y="2044"/>
                    </a:lnTo>
                    <a:lnTo>
                      <a:pt x="12" y="2086"/>
                    </a:lnTo>
                    <a:lnTo>
                      <a:pt x="6" y="2128"/>
                    </a:lnTo>
                    <a:lnTo>
                      <a:pt x="2" y="2171"/>
                    </a:lnTo>
                    <a:lnTo>
                      <a:pt x="0" y="2213"/>
                    </a:lnTo>
                    <a:lnTo>
                      <a:pt x="0" y="2256"/>
                    </a:lnTo>
                    <a:lnTo>
                      <a:pt x="3" y="2298"/>
                    </a:lnTo>
                    <a:lnTo>
                      <a:pt x="7" y="2340"/>
                    </a:lnTo>
                    <a:lnTo>
                      <a:pt x="13" y="2381"/>
                    </a:lnTo>
                    <a:lnTo>
                      <a:pt x="21" y="2422"/>
                    </a:lnTo>
                    <a:lnTo>
                      <a:pt x="31" y="2464"/>
                    </a:lnTo>
                    <a:lnTo>
                      <a:pt x="43" y="2504"/>
                    </a:lnTo>
                    <a:lnTo>
                      <a:pt x="57" y="2544"/>
                    </a:lnTo>
                    <a:lnTo>
                      <a:pt x="73" y="2583"/>
                    </a:lnTo>
                    <a:lnTo>
                      <a:pt x="91" y="2621"/>
                    </a:lnTo>
                    <a:lnTo>
                      <a:pt x="110" y="2658"/>
                    </a:lnTo>
                    <a:lnTo>
                      <a:pt x="132" y="2694"/>
                    </a:lnTo>
                    <a:lnTo>
                      <a:pt x="155" y="2730"/>
                    </a:lnTo>
                    <a:lnTo>
                      <a:pt x="180" y="2764"/>
                    </a:lnTo>
                    <a:lnTo>
                      <a:pt x="207" y="2797"/>
                    </a:lnTo>
                    <a:lnTo>
                      <a:pt x="236" y="2829"/>
                    </a:lnTo>
                    <a:lnTo>
                      <a:pt x="266" y="2859"/>
                    </a:lnTo>
                    <a:lnTo>
                      <a:pt x="297" y="2889"/>
                    </a:lnTo>
                    <a:lnTo>
                      <a:pt x="331" y="2918"/>
                    </a:lnTo>
                    <a:lnTo>
                      <a:pt x="366" y="2944"/>
                    </a:lnTo>
                    <a:lnTo>
                      <a:pt x="402" y="2969"/>
                    </a:lnTo>
                    <a:lnTo>
                      <a:pt x="440" y="2992"/>
                    </a:lnTo>
                    <a:lnTo>
                      <a:pt x="480" y="3013"/>
                    </a:lnTo>
                    <a:lnTo>
                      <a:pt x="480" y="3013"/>
                    </a:lnTo>
                    <a:lnTo>
                      <a:pt x="510" y="3028"/>
                    </a:lnTo>
                    <a:lnTo>
                      <a:pt x="541" y="3042"/>
                    </a:lnTo>
                    <a:lnTo>
                      <a:pt x="573" y="3054"/>
                    </a:lnTo>
                    <a:lnTo>
                      <a:pt x="604" y="3065"/>
                    </a:lnTo>
                    <a:lnTo>
                      <a:pt x="637" y="3074"/>
                    </a:lnTo>
                    <a:lnTo>
                      <a:pt x="669" y="3083"/>
                    </a:lnTo>
                    <a:lnTo>
                      <a:pt x="701" y="3090"/>
                    </a:lnTo>
                    <a:lnTo>
                      <a:pt x="733" y="3096"/>
                    </a:lnTo>
                    <a:lnTo>
                      <a:pt x="765" y="3101"/>
                    </a:lnTo>
                    <a:lnTo>
                      <a:pt x="797" y="3104"/>
                    </a:lnTo>
                    <a:lnTo>
                      <a:pt x="830" y="3106"/>
                    </a:lnTo>
                    <a:lnTo>
                      <a:pt x="862" y="3108"/>
                    </a:lnTo>
                    <a:lnTo>
                      <a:pt x="894" y="3107"/>
                    </a:lnTo>
                    <a:lnTo>
                      <a:pt x="926" y="3106"/>
                    </a:lnTo>
                    <a:lnTo>
                      <a:pt x="958" y="3104"/>
                    </a:lnTo>
                    <a:lnTo>
                      <a:pt x="990" y="3100"/>
                    </a:lnTo>
                    <a:lnTo>
                      <a:pt x="1022" y="3095"/>
                    </a:lnTo>
                    <a:lnTo>
                      <a:pt x="1053" y="3089"/>
                    </a:lnTo>
                    <a:lnTo>
                      <a:pt x="1084" y="3082"/>
                    </a:lnTo>
                    <a:lnTo>
                      <a:pt x="1115" y="3074"/>
                    </a:lnTo>
                    <a:lnTo>
                      <a:pt x="1146" y="3065"/>
                    </a:lnTo>
                    <a:lnTo>
                      <a:pt x="1176" y="3055"/>
                    </a:lnTo>
                    <a:lnTo>
                      <a:pt x="1205" y="3043"/>
                    </a:lnTo>
                    <a:lnTo>
                      <a:pt x="1235" y="3031"/>
                    </a:lnTo>
                    <a:lnTo>
                      <a:pt x="1263" y="3017"/>
                    </a:lnTo>
                    <a:lnTo>
                      <a:pt x="1292" y="3003"/>
                    </a:lnTo>
                    <a:lnTo>
                      <a:pt x="1320" y="2987"/>
                    </a:lnTo>
                    <a:lnTo>
                      <a:pt x="1347" y="2970"/>
                    </a:lnTo>
                    <a:lnTo>
                      <a:pt x="1373" y="2953"/>
                    </a:lnTo>
                    <a:lnTo>
                      <a:pt x="1400" y="2934"/>
                    </a:lnTo>
                    <a:lnTo>
                      <a:pt x="1426" y="2914"/>
                    </a:lnTo>
                    <a:lnTo>
                      <a:pt x="1451" y="2892"/>
                    </a:lnTo>
                    <a:lnTo>
                      <a:pt x="1451" y="2892"/>
                    </a:lnTo>
                    <a:lnTo>
                      <a:pt x="1426" y="2857"/>
                    </a:lnTo>
                    <a:lnTo>
                      <a:pt x="1402" y="2821"/>
                    </a:lnTo>
                    <a:lnTo>
                      <a:pt x="1380" y="2784"/>
                    </a:lnTo>
                    <a:lnTo>
                      <a:pt x="1360" y="2747"/>
                    </a:lnTo>
                    <a:lnTo>
                      <a:pt x="1340" y="2708"/>
                    </a:lnTo>
                    <a:lnTo>
                      <a:pt x="1323" y="2669"/>
                    </a:lnTo>
                    <a:lnTo>
                      <a:pt x="1306" y="2629"/>
                    </a:lnTo>
                    <a:lnTo>
                      <a:pt x="1291" y="2588"/>
                    </a:lnTo>
                    <a:lnTo>
                      <a:pt x="1291" y="2588"/>
                    </a:lnTo>
                    <a:lnTo>
                      <a:pt x="1276" y="2606"/>
                    </a:lnTo>
                    <a:lnTo>
                      <a:pt x="1260" y="2622"/>
                    </a:lnTo>
                    <a:lnTo>
                      <a:pt x="1243" y="2638"/>
                    </a:lnTo>
                    <a:lnTo>
                      <a:pt x="1226" y="2652"/>
                    </a:lnTo>
                    <a:lnTo>
                      <a:pt x="1208" y="2666"/>
                    </a:lnTo>
                    <a:lnTo>
                      <a:pt x="1190" y="2680"/>
                    </a:lnTo>
                    <a:lnTo>
                      <a:pt x="1171" y="2692"/>
                    </a:lnTo>
                    <a:lnTo>
                      <a:pt x="1152" y="2704"/>
                    </a:lnTo>
                    <a:lnTo>
                      <a:pt x="1133" y="2715"/>
                    </a:lnTo>
                    <a:lnTo>
                      <a:pt x="1113" y="2725"/>
                    </a:lnTo>
                    <a:lnTo>
                      <a:pt x="1092" y="2734"/>
                    </a:lnTo>
                    <a:lnTo>
                      <a:pt x="1072" y="2743"/>
                    </a:lnTo>
                    <a:lnTo>
                      <a:pt x="1051" y="2750"/>
                    </a:lnTo>
                    <a:lnTo>
                      <a:pt x="1030" y="2757"/>
                    </a:lnTo>
                    <a:lnTo>
                      <a:pt x="1007" y="2763"/>
                    </a:lnTo>
                    <a:lnTo>
                      <a:pt x="985" y="2768"/>
                    </a:lnTo>
                    <a:lnTo>
                      <a:pt x="963" y="2772"/>
                    </a:lnTo>
                    <a:lnTo>
                      <a:pt x="941" y="2775"/>
                    </a:lnTo>
                    <a:lnTo>
                      <a:pt x="919" y="2777"/>
                    </a:lnTo>
                    <a:lnTo>
                      <a:pt x="896" y="2779"/>
                    </a:lnTo>
                    <a:lnTo>
                      <a:pt x="874" y="2779"/>
                    </a:lnTo>
                    <a:lnTo>
                      <a:pt x="851" y="2778"/>
                    </a:lnTo>
                    <a:lnTo>
                      <a:pt x="829" y="2777"/>
                    </a:lnTo>
                    <a:lnTo>
                      <a:pt x="806" y="2775"/>
                    </a:lnTo>
                    <a:lnTo>
                      <a:pt x="784" y="2771"/>
                    </a:lnTo>
                    <a:lnTo>
                      <a:pt x="761" y="2767"/>
                    </a:lnTo>
                    <a:lnTo>
                      <a:pt x="739" y="2762"/>
                    </a:lnTo>
                    <a:lnTo>
                      <a:pt x="716" y="2755"/>
                    </a:lnTo>
                    <a:lnTo>
                      <a:pt x="694" y="2748"/>
                    </a:lnTo>
                    <a:lnTo>
                      <a:pt x="672" y="2740"/>
                    </a:lnTo>
                    <a:lnTo>
                      <a:pt x="650" y="2730"/>
                    </a:lnTo>
                    <a:lnTo>
                      <a:pt x="629" y="2720"/>
                    </a:lnTo>
                    <a:lnTo>
                      <a:pt x="629" y="2720"/>
                    </a:lnTo>
                    <a:lnTo>
                      <a:pt x="603" y="2707"/>
                    </a:lnTo>
                    <a:lnTo>
                      <a:pt x="579" y="2692"/>
                    </a:lnTo>
                    <a:lnTo>
                      <a:pt x="557" y="2677"/>
                    </a:lnTo>
                    <a:lnTo>
                      <a:pt x="535" y="2660"/>
                    </a:lnTo>
                    <a:lnTo>
                      <a:pt x="514" y="2643"/>
                    </a:lnTo>
                    <a:lnTo>
                      <a:pt x="494" y="2625"/>
                    </a:lnTo>
                    <a:lnTo>
                      <a:pt x="475" y="2605"/>
                    </a:lnTo>
                    <a:lnTo>
                      <a:pt x="458" y="2585"/>
                    </a:lnTo>
                    <a:lnTo>
                      <a:pt x="441" y="2565"/>
                    </a:lnTo>
                    <a:lnTo>
                      <a:pt x="426" y="2543"/>
                    </a:lnTo>
                    <a:lnTo>
                      <a:pt x="411" y="2521"/>
                    </a:lnTo>
                    <a:lnTo>
                      <a:pt x="398" y="2499"/>
                    </a:lnTo>
                    <a:lnTo>
                      <a:pt x="386" y="2475"/>
                    </a:lnTo>
                    <a:lnTo>
                      <a:pt x="375" y="2450"/>
                    </a:lnTo>
                    <a:lnTo>
                      <a:pt x="365" y="2426"/>
                    </a:lnTo>
                    <a:lnTo>
                      <a:pt x="356" y="2402"/>
                    </a:lnTo>
                    <a:lnTo>
                      <a:pt x="348" y="2376"/>
                    </a:lnTo>
                    <a:lnTo>
                      <a:pt x="342" y="2351"/>
                    </a:lnTo>
                    <a:lnTo>
                      <a:pt x="337" y="2325"/>
                    </a:lnTo>
                    <a:lnTo>
                      <a:pt x="333" y="2299"/>
                    </a:lnTo>
                    <a:lnTo>
                      <a:pt x="330" y="2273"/>
                    </a:lnTo>
                    <a:lnTo>
                      <a:pt x="329" y="2247"/>
                    </a:lnTo>
                    <a:lnTo>
                      <a:pt x="329" y="2220"/>
                    </a:lnTo>
                    <a:lnTo>
                      <a:pt x="330" y="2194"/>
                    </a:lnTo>
                    <a:lnTo>
                      <a:pt x="333" y="2167"/>
                    </a:lnTo>
                    <a:lnTo>
                      <a:pt x="336" y="2141"/>
                    </a:lnTo>
                    <a:lnTo>
                      <a:pt x="342" y="2114"/>
                    </a:lnTo>
                    <a:lnTo>
                      <a:pt x="348" y="2088"/>
                    </a:lnTo>
                    <a:lnTo>
                      <a:pt x="356" y="2062"/>
                    </a:lnTo>
                    <a:lnTo>
                      <a:pt x="365" y="2036"/>
                    </a:lnTo>
                    <a:lnTo>
                      <a:pt x="376" y="2010"/>
                    </a:lnTo>
                    <a:lnTo>
                      <a:pt x="388" y="1984"/>
                    </a:lnTo>
                    <a:lnTo>
                      <a:pt x="388" y="1984"/>
                    </a:lnTo>
                    <a:lnTo>
                      <a:pt x="401" y="1959"/>
                    </a:lnTo>
                    <a:lnTo>
                      <a:pt x="416" y="1935"/>
                    </a:lnTo>
                    <a:lnTo>
                      <a:pt x="431" y="1912"/>
                    </a:lnTo>
                    <a:lnTo>
                      <a:pt x="448" y="1891"/>
                    </a:lnTo>
                    <a:lnTo>
                      <a:pt x="465" y="1870"/>
                    </a:lnTo>
                    <a:lnTo>
                      <a:pt x="483" y="1850"/>
                    </a:lnTo>
                    <a:lnTo>
                      <a:pt x="502" y="1831"/>
                    </a:lnTo>
                    <a:lnTo>
                      <a:pt x="522" y="1814"/>
                    </a:lnTo>
                    <a:lnTo>
                      <a:pt x="543" y="1797"/>
                    </a:lnTo>
                    <a:lnTo>
                      <a:pt x="564" y="1781"/>
                    </a:lnTo>
                    <a:lnTo>
                      <a:pt x="587" y="1767"/>
                    </a:lnTo>
                    <a:lnTo>
                      <a:pt x="610" y="1754"/>
                    </a:lnTo>
                    <a:lnTo>
                      <a:pt x="634" y="1741"/>
                    </a:lnTo>
                    <a:lnTo>
                      <a:pt x="657" y="1730"/>
                    </a:lnTo>
                    <a:lnTo>
                      <a:pt x="682" y="1720"/>
                    </a:lnTo>
                    <a:lnTo>
                      <a:pt x="706" y="1712"/>
                    </a:lnTo>
                    <a:lnTo>
                      <a:pt x="731" y="1704"/>
                    </a:lnTo>
                    <a:lnTo>
                      <a:pt x="757" y="1698"/>
                    </a:lnTo>
                    <a:lnTo>
                      <a:pt x="783" y="1693"/>
                    </a:lnTo>
                    <a:lnTo>
                      <a:pt x="809" y="1689"/>
                    </a:lnTo>
                    <a:lnTo>
                      <a:pt x="835" y="1686"/>
                    </a:lnTo>
                    <a:lnTo>
                      <a:pt x="861" y="1685"/>
                    </a:lnTo>
                    <a:lnTo>
                      <a:pt x="888" y="1685"/>
                    </a:lnTo>
                    <a:lnTo>
                      <a:pt x="914" y="1686"/>
                    </a:lnTo>
                    <a:lnTo>
                      <a:pt x="941" y="1688"/>
                    </a:lnTo>
                    <a:lnTo>
                      <a:pt x="967" y="1692"/>
                    </a:lnTo>
                    <a:lnTo>
                      <a:pt x="994" y="1697"/>
                    </a:lnTo>
                    <a:lnTo>
                      <a:pt x="1021" y="1704"/>
                    </a:lnTo>
                    <a:lnTo>
                      <a:pt x="1047" y="1712"/>
                    </a:lnTo>
                    <a:lnTo>
                      <a:pt x="1073" y="1721"/>
                    </a:lnTo>
                    <a:lnTo>
                      <a:pt x="1099" y="1732"/>
                    </a:lnTo>
                    <a:lnTo>
                      <a:pt x="1124" y="1744"/>
                    </a:lnTo>
                    <a:lnTo>
                      <a:pt x="1124" y="1744"/>
                    </a:lnTo>
                    <a:lnTo>
                      <a:pt x="1145" y="1755"/>
                    </a:lnTo>
                    <a:lnTo>
                      <a:pt x="1165" y="1767"/>
                    </a:lnTo>
                    <a:lnTo>
                      <a:pt x="1184" y="1779"/>
                    </a:lnTo>
                    <a:lnTo>
                      <a:pt x="1203" y="1793"/>
                    </a:lnTo>
                    <a:lnTo>
                      <a:pt x="1221" y="1807"/>
                    </a:lnTo>
                    <a:lnTo>
                      <a:pt x="1238" y="1822"/>
                    </a:lnTo>
                    <a:lnTo>
                      <a:pt x="1255" y="1837"/>
                    </a:lnTo>
                    <a:lnTo>
                      <a:pt x="1271" y="1853"/>
                    </a:lnTo>
                    <a:lnTo>
                      <a:pt x="1271" y="1853"/>
                    </a:lnTo>
                    <a:lnTo>
                      <a:pt x="1279" y="1825"/>
                    </a:lnTo>
                    <a:lnTo>
                      <a:pt x="1288" y="1797"/>
                    </a:lnTo>
                    <a:lnTo>
                      <a:pt x="1298" y="1770"/>
                    </a:lnTo>
                    <a:lnTo>
                      <a:pt x="1308" y="1743"/>
                    </a:lnTo>
                    <a:lnTo>
                      <a:pt x="1319" y="1716"/>
                    </a:lnTo>
                    <a:lnTo>
                      <a:pt x="1331" y="1690"/>
                    </a:lnTo>
                    <a:lnTo>
                      <a:pt x="1343" y="1664"/>
                    </a:lnTo>
                    <a:lnTo>
                      <a:pt x="1356" y="1638"/>
                    </a:lnTo>
                    <a:lnTo>
                      <a:pt x="1370" y="1613"/>
                    </a:lnTo>
                    <a:lnTo>
                      <a:pt x="1384" y="1588"/>
                    </a:lnTo>
                    <a:lnTo>
                      <a:pt x="1399" y="1563"/>
                    </a:lnTo>
                    <a:lnTo>
                      <a:pt x="1414" y="1538"/>
                    </a:lnTo>
                    <a:lnTo>
                      <a:pt x="1431" y="1514"/>
                    </a:lnTo>
                    <a:lnTo>
                      <a:pt x="1447" y="1491"/>
                    </a:lnTo>
                    <a:lnTo>
                      <a:pt x="1464" y="1468"/>
                    </a:lnTo>
                    <a:lnTo>
                      <a:pt x="1481" y="1445"/>
                    </a:lnTo>
                    <a:lnTo>
                      <a:pt x="1499" y="1423"/>
                    </a:lnTo>
                    <a:lnTo>
                      <a:pt x="1517" y="1401"/>
                    </a:lnTo>
                    <a:lnTo>
                      <a:pt x="1536" y="1380"/>
                    </a:lnTo>
                    <a:lnTo>
                      <a:pt x="1556" y="1359"/>
                    </a:lnTo>
                    <a:lnTo>
                      <a:pt x="1576" y="1339"/>
                    </a:lnTo>
                    <a:lnTo>
                      <a:pt x="1596" y="1319"/>
                    </a:lnTo>
                    <a:lnTo>
                      <a:pt x="1617" y="1300"/>
                    </a:lnTo>
                    <a:lnTo>
                      <a:pt x="1638" y="1281"/>
                    </a:lnTo>
                    <a:lnTo>
                      <a:pt x="1660" y="1262"/>
                    </a:lnTo>
                    <a:lnTo>
                      <a:pt x="1682" y="1244"/>
                    </a:lnTo>
                    <a:lnTo>
                      <a:pt x="1705" y="1227"/>
                    </a:lnTo>
                    <a:lnTo>
                      <a:pt x="1728" y="1210"/>
                    </a:lnTo>
                    <a:lnTo>
                      <a:pt x="1751" y="1194"/>
                    </a:lnTo>
                    <a:lnTo>
                      <a:pt x="1775" y="1178"/>
                    </a:lnTo>
                    <a:lnTo>
                      <a:pt x="1799" y="1163"/>
                    </a:lnTo>
                    <a:lnTo>
                      <a:pt x="1824" y="1148"/>
                    </a:lnTo>
                    <a:lnTo>
                      <a:pt x="1824" y="1562"/>
                    </a:lnTo>
                    <a:lnTo>
                      <a:pt x="1824" y="1562"/>
                    </a:lnTo>
                    <a:lnTo>
                      <a:pt x="1805" y="1577"/>
                    </a:lnTo>
                    <a:lnTo>
                      <a:pt x="1787" y="1593"/>
                    </a:lnTo>
                    <a:lnTo>
                      <a:pt x="1770" y="1609"/>
                    </a:lnTo>
                    <a:lnTo>
                      <a:pt x="1752" y="1626"/>
                    </a:lnTo>
                    <a:lnTo>
                      <a:pt x="1736" y="1643"/>
                    </a:lnTo>
                    <a:lnTo>
                      <a:pt x="1719" y="1660"/>
                    </a:lnTo>
                    <a:lnTo>
                      <a:pt x="1704" y="1678"/>
                    </a:lnTo>
                    <a:lnTo>
                      <a:pt x="1688" y="1697"/>
                    </a:lnTo>
                    <a:lnTo>
                      <a:pt x="1674" y="1716"/>
                    </a:lnTo>
                    <a:lnTo>
                      <a:pt x="1659" y="1735"/>
                    </a:lnTo>
                    <a:lnTo>
                      <a:pt x="1646" y="1755"/>
                    </a:lnTo>
                    <a:lnTo>
                      <a:pt x="1632" y="1775"/>
                    </a:lnTo>
                    <a:lnTo>
                      <a:pt x="1620" y="1795"/>
                    </a:lnTo>
                    <a:lnTo>
                      <a:pt x="1608" y="1816"/>
                    </a:lnTo>
                    <a:lnTo>
                      <a:pt x="1596" y="1837"/>
                    </a:lnTo>
                    <a:lnTo>
                      <a:pt x="1585" y="1859"/>
                    </a:lnTo>
                    <a:lnTo>
                      <a:pt x="1575" y="1881"/>
                    </a:lnTo>
                    <a:lnTo>
                      <a:pt x="1565" y="1903"/>
                    </a:lnTo>
                    <a:lnTo>
                      <a:pt x="1556" y="1926"/>
                    </a:lnTo>
                    <a:lnTo>
                      <a:pt x="1547" y="1949"/>
                    </a:lnTo>
                    <a:lnTo>
                      <a:pt x="1539" y="1972"/>
                    </a:lnTo>
                    <a:lnTo>
                      <a:pt x="1532" y="1995"/>
                    </a:lnTo>
                    <a:lnTo>
                      <a:pt x="1525" y="2020"/>
                    </a:lnTo>
                    <a:lnTo>
                      <a:pt x="1519" y="2044"/>
                    </a:lnTo>
                    <a:lnTo>
                      <a:pt x="1514" y="2068"/>
                    </a:lnTo>
                    <a:lnTo>
                      <a:pt x="1509" y="2093"/>
                    </a:lnTo>
                    <a:lnTo>
                      <a:pt x="1505" y="2117"/>
                    </a:lnTo>
                    <a:lnTo>
                      <a:pt x="1502" y="2142"/>
                    </a:lnTo>
                    <a:lnTo>
                      <a:pt x="1499" y="2167"/>
                    </a:lnTo>
                    <a:lnTo>
                      <a:pt x="1498" y="2193"/>
                    </a:lnTo>
                    <a:lnTo>
                      <a:pt x="1496" y="2218"/>
                    </a:lnTo>
                    <a:lnTo>
                      <a:pt x="1496" y="2244"/>
                    </a:lnTo>
                    <a:lnTo>
                      <a:pt x="1496" y="2244"/>
                    </a:lnTo>
                    <a:lnTo>
                      <a:pt x="1497" y="2289"/>
                    </a:lnTo>
                    <a:lnTo>
                      <a:pt x="1501" y="2333"/>
                    </a:lnTo>
                    <a:lnTo>
                      <a:pt x="1506" y="2377"/>
                    </a:lnTo>
                    <a:lnTo>
                      <a:pt x="1514" y="2420"/>
                    </a:lnTo>
                    <a:lnTo>
                      <a:pt x="1524" y="2464"/>
                    </a:lnTo>
                    <a:lnTo>
                      <a:pt x="1535" y="2505"/>
                    </a:lnTo>
                    <a:lnTo>
                      <a:pt x="1549" y="2546"/>
                    </a:lnTo>
                    <a:lnTo>
                      <a:pt x="1565" y="2585"/>
                    </a:lnTo>
                    <a:lnTo>
                      <a:pt x="1582" y="2624"/>
                    </a:lnTo>
                    <a:lnTo>
                      <a:pt x="1602" y="2662"/>
                    </a:lnTo>
                    <a:lnTo>
                      <a:pt x="1623" y="2698"/>
                    </a:lnTo>
                    <a:lnTo>
                      <a:pt x="1645" y="2734"/>
                    </a:lnTo>
                    <a:lnTo>
                      <a:pt x="1670" y="2768"/>
                    </a:lnTo>
                    <a:lnTo>
                      <a:pt x="1696" y="2801"/>
                    </a:lnTo>
                    <a:lnTo>
                      <a:pt x="1723" y="2833"/>
                    </a:lnTo>
                    <a:lnTo>
                      <a:pt x="1752" y="2863"/>
                    </a:lnTo>
                    <a:lnTo>
                      <a:pt x="1782" y="2892"/>
                    </a:lnTo>
                    <a:lnTo>
                      <a:pt x="1814" y="2920"/>
                    </a:lnTo>
                    <a:lnTo>
                      <a:pt x="1848" y="2946"/>
                    </a:lnTo>
                    <a:lnTo>
                      <a:pt x="1882" y="2971"/>
                    </a:lnTo>
                    <a:lnTo>
                      <a:pt x="1918" y="2993"/>
                    </a:lnTo>
                    <a:lnTo>
                      <a:pt x="1954" y="3014"/>
                    </a:lnTo>
                    <a:lnTo>
                      <a:pt x="1992" y="3034"/>
                    </a:lnTo>
                    <a:lnTo>
                      <a:pt x="2031" y="3051"/>
                    </a:lnTo>
                    <a:lnTo>
                      <a:pt x="2070" y="3067"/>
                    </a:lnTo>
                    <a:lnTo>
                      <a:pt x="2111" y="3081"/>
                    </a:lnTo>
                    <a:lnTo>
                      <a:pt x="2153" y="3092"/>
                    </a:lnTo>
                    <a:lnTo>
                      <a:pt x="2195" y="3102"/>
                    </a:lnTo>
                    <a:lnTo>
                      <a:pt x="2239" y="3110"/>
                    </a:lnTo>
                    <a:lnTo>
                      <a:pt x="2283" y="3115"/>
                    </a:lnTo>
                    <a:lnTo>
                      <a:pt x="2327" y="3119"/>
                    </a:lnTo>
                    <a:lnTo>
                      <a:pt x="2372" y="3120"/>
                    </a:lnTo>
                    <a:lnTo>
                      <a:pt x="2372" y="3120"/>
                    </a:lnTo>
                    <a:lnTo>
                      <a:pt x="2417" y="3119"/>
                    </a:lnTo>
                    <a:lnTo>
                      <a:pt x="2461" y="3115"/>
                    </a:lnTo>
                    <a:lnTo>
                      <a:pt x="2505" y="3110"/>
                    </a:lnTo>
                    <a:lnTo>
                      <a:pt x="2548" y="3102"/>
                    </a:lnTo>
                    <a:lnTo>
                      <a:pt x="2590" y="3092"/>
                    </a:lnTo>
                    <a:lnTo>
                      <a:pt x="2632" y="3081"/>
                    </a:lnTo>
                    <a:lnTo>
                      <a:pt x="2673" y="3067"/>
                    </a:lnTo>
                    <a:lnTo>
                      <a:pt x="2713" y="3051"/>
                    </a:lnTo>
                    <a:lnTo>
                      <a:pt x="2752" y="3034"/>
                    </a:lnTo>
                    <a:lnTo>
                      <a:pt x="2789" y="3014"/>
                    </a:lnTo>
                    <a:lnTo>
                      <a:pt x="2826" y="2993"/>
                    </a:lnTo>
                    <a:lnTo>
                      <a:pt x="2861" y="2971"/>
                    </a:lnTo>
                    <a:lnTo>
                      <a:pt x="2896" y="2946"/>
                    </a:lnTo>
                    <a:lnTo>
                      <a:pt x="2929" y="2920"/>
                    </a:lnTo>
                    <a:lnTo>
                      <a:pt x="2960" y="2892"/>
                    </a:lnTo>
                    <a:lnTo>
                      <a:pt x="2991" y="2863"/>
                    </a:lnTo>
                    <a:lnTo>
                      <a:pt x="3020" y="2833"/>
                    </a:lnTo>
                    <a:lnTo>
                      <a:pt x="3048" y="2801"/>
                    </a:lnTo>
                    <a:lnTo>
                      <a:pt x="3074" y="2768"/>
                    </a:lnTo>
                    <a:lnTo>
                      <a:pt x="3098" y="2734"/>
                    </a:lnTo>
                    <a:lnTo>
                      <a:pt x="3121" y="2698"/>
                    </a:lnTo>
                    <a:lnTo>
                      <a:pt x="3142" y="2662"/>
                    </a:lnTo>
                    <a:lnTo>
                      <a:pt x="3162" y="2624"/>
                    </a:lnTo>
                    <a:lnTo>
                      <a:pt x="3179" y="2585"/>
                    </a:lnTo>
                    <a:lnTo>
                      <a:pt x="3195" y="2546"/>
                    </a:lnTo>
                    <a:lnTo>
                      <a:pt x="3208" y="2505"/>
                    </a:lnTo>
                    <a:lnTo>
                      <a:pt x="3220" y="2464"/>
                    </a:lnTo>
                    <a:lnTo>
                      <a:pt x="3230" y="2420"/>
                    </a:lnTo>
                    <a:lnTo>
                      <a:pt x="3238" y="2377"/>
                    </a:lnTo>
                    <a:lnTo>
                      <a:pt x="3243" y="2333"/>
                    </a:lnTo>
                    <a:lnTo>
                      <a:pt x="3247" y="2289"/>
                    </a:lnTo>
                    <a:lnTo>
                      <a:pt x="3248" y="2244"/>
                    </a:lnTo>
                    <a:lnTo>
                      <a:pt x="3248" y="2244"/>
                    </a:lnTo>
                    <a:lnTo>
                      <a:pt x="3247" y="2218"/>
                    </a:lnTo>
                    <a:lnTo>
                      <a:pt x="3246" y="2193"/>
                    </a:lnTo>
                    <a:lnTo>
                      <a:pt x="3244" y="2167"/>
                    </a:lnTo>
                    <a:lnTo>
                      <a:pt x="3242" y="2142"/>
                    </a:lnTo>
                    <a:lnTo>
                      <a:pt x="3239" y="2117"/>
                    </a:lnTo>
                    <a:lnTo>
                      <a:pt x="3235" y="2093"/>
                    </a:lnTo>
                    <a:lnTo>
                      <a:pt x="3230" y="2068"/>
                    </a:lnTo>
                    <a:lnTo>
                      <a:pt x="3225" y="2044"/>
                    </a:lnTo>
                    <a:lnTo>
                      <a:pt x="3219" y="2020"/>
                    </a:lnTo>
                    <a:lnTo>
                      <a:pt x="3212" y="1995"/>
                    </a:lnTo>
                    <a:lnTo>
                      <a:pt x="3205" y="1972"/>
                    </a:lnTo>
                    <a:lnTo>
                      <a:pt x="3197" y="1949"/>
                    </a:lnTo>
                    <a:lnTo>
                      <a:pt x="3188" y="1926"/>
                    </a:lnTo>
                    <a:lnTo>
                      <a:pt x="3179" y="1903"/>
                    </a:lnTo>
                    <a:lnTo>
                      <a:pt x="3169" y="1881"/>
                    </a:lnTo>
                    <a:lnTo>
                      <a:pt x="3159" y="1859"/>
                    </a:lnTo>
                    <a:lnTo>
                      <a:pt x="3148" y="1837"/>
                    </a:lnTo>
                    <a:lnTo>
                      <a:pt x="3136" y="1816"/>
                    </a:lnTo>
                    <a:lnTo>
                      <a:pt x="3124" y="1795"/>
                    </a:lnTo>
                    <a:lnTo>
                      <a:pt x="3111" y="1775"/>
                    </a:lnTo>
                    <a:lnTo>
                      <a:pt x="3098" y="1755"/>
                    </a:lnTo>
                    <a:lnTo>
                      <a:pt x="3085" y="1735"/>
                    </a:lnTo>
                    <a:lnTo>
                      <a:pt x="3070" y="1716"/>
                    </a:lnTo>
                    <a:lnTo>
                      <a:pt x="3055" y="1697"/>
                    </a:lnTo>
                    <a:lnTo>
                      <a:pt x="3039" y="1678"/>
                    </a:lnTo>
                    <a:lnTo>
                      <a:pt x="3023" y="1660"/>
                    </a:lnTo>
                    <a:lnTo>
                      <a:pt x="3007" y="1643"/>
                    </a:lnTo>
                    <a:lnTo>
                      <a:pt x="2990" y="1626"/>
                    </a:lnTo>
                    <a:lnTo>
                      <a:pt x="2973" y="1609"/>
                    </a:lnTo>
                    <a:lnTo>
                      <a:pt x="2956" y="1593"/>
                    </a:lnTo>
                    <a:lnTo>
                      <a:pt x="2938" y="1577"/>
                    </a:lnTo>
                    <a:lnTo>
                      <a:pt x="2919" y="1562"/>
                    </a:lnTo>
                    <a:lnTo>
                      <a:pt x="2919" y="1562"/>
                    </a:lnTo>
                    <a:close/>
                    <a:moveTo>
                      <a:pt x="1518" y="1330"/>
                    </a:moveTo>
                    <a:lnTo>
                      <a:pt x="1518" y="1330"/>
                    </a:lnTo>
                    <a:lnTo>
                      <a:pt x="1510" y="1344"/>
                    </a:lnTo>
                    <a:lnTo>
                      <a:pt x="1500" y="1358"/>
                    </a:lnTo>
                    <a:lnTo>
                      <a:pt x="1490" y="1370"/>
                    </a:lnTo>
                    <a:lnTo>
                      <a:pt x="1478" y="1381"/>
                    </a:lnTo>
                    <a:lnTo>
                      <a:pt x="1465" y="1391"/>
                    </a:lnTo>
                    <a:lnTo>
                      <a:pt x="1452" y="1399"/>
                    </a:lnTo>
                    <a:lnTo>
                      <a:pt x="1438" y="1406"/>
                    </a:lnTo>
                    <a:lnTo>
                      <a:pt x="1423" y="1411"/>
                    </a:lnTo>
                    <a:lnTo>
                      <a:pt x="1407" y="1416"/>
                    </a:lnTo>
                    <a:lnTo>
                      <a:pt x="1391" y="1418"/>
                    </a:lnTo>
                    <a:lnTo>
                      <a:pt x="1376" y="1420"/>
                    </a:lnTo>
                    <a:lnTo>
                      <a:pt x="1360" y="1419"/>
                    </a:lnTo>
                    <a:lnTo>
                      <a:pt x="1344" y="1417"/>
                    </a:lnTo>
                    <a:lnTo>
                      <a:pt x="1328" y="1414"/>
                    </a:lnTo>
                    <a:lnTo>
                      <a:pt x="1312" y="1409"/>
                    </a:lnTo>
                    <a:lnTo>
                      <a:pt x="1297" y="1402"/>
                    </a:lnTo>
                    <a:lnTo>
                      <a:pt x="1297" y="1402"/>
                    </a:lnTo>
                    <a:lnTo>
                      <a:pt x="1282" y="1393"/>
                    </a:lnTo>
                    <a:lnTo>
                      <a:pt x="1269" y="1384"/>
                    </a:lnTo>
                    <a:lnTo>
                      <a:pt x="1257" y="1373"/>
                    </a:lnTo>
                    <a:lnTo>
                      <a:pt x="1246" y="1361"/>
                    </a:lnTo>
                    <a:lnTo>
                      <a:pt x="1236" y="1349"/>
                    </a:lnTo>
                    <a:lnTo>
                      <a:pt x="1228" y="1335"/>
                    </a:lnTo>
                    <a:lnTo>
                      <a:pt x="1221" y="1321"/>
                    </a:lnTo>
                    <a:lnTo>
                      <a:pt x="1215" y="1307"/>
                    </a:lnTo>
                    <a:lnTo>
                      <a:pt x="1211" y="1291"/>
                    </a:lnTo>
                    <a:lnTo>
                      <a:pt x="1209" y="1276"/>
                    </a:lnTo>
                    <a:lnTo>
                      <a:pt x="1207" y="1260"/>
                    </a:lnTo>
                    <a:lnTo>
                      <a:pt x="1208" y="1244"/>
                    </a:lnTo>
                    <a:lnTo>
                      <a:pt x="1210" y="1228"/>
                    </a:lnTo>
                    <a:lnTo>
                      <a:pt x="1213" y="1213"/>
                    </a:lnTo>
                    <a:lnTo>
                      <a:pt x="1218" y="1197"/>
                    </a:lnTo>
                    <a:lnTo>
                      <a:pt x="1225" y="1182"/>
                    </a:lnTo>
                    <a:lnTo>
                      <a:pt x="1225" y="1182"/>
                    </a:lnTo>
                    <a:lnTo>
                      <a:pt x="1233" y="1167"/>
                    </a:lnTo>
                    <a:lnTo>
                      <a:pt x="1243" y="1154"/>
                    </a:lnTo>
                    <a:lnTo>
                      <a:pt x="1254" y="1141"/>
                    </a:lnTo>
                    <a:lnTo>
                      <a:pt x="1265" y="1131"/>
                    </a:lnTo>
                    <a:lnTo>
                      <a:pt x="1278" y="1121"/>
                    </a:lnTo>
                    <a:lnTo>
                      <a:pt x="1291" y="1112"/>
                    </a:lnTo>
                    <a:lnTo>
                      <a:pt x="1306" y="1105"/>
                    </a:lnTo>
                    <a:lnTo>
                      <a:pt x="1320" y="1099"/>
                    </a:lnTo>
                    <a:lnTo>
                      <a:pt x="1335" y="1095"/>
                    </a:lnTo>
                    <a:lnTo>
                      <a:pt x="1351" y="1092"/>
                    </a:lnTo>
                    <a:lnTo>
                      <a:pt x="1367" y="1091"/>
                    </a:lnTo>
                    <a:lnTo>
                      <a:pt x="1383" y="1091"/>
                    </a:lnTo>
                    <a:lnTo>
                      <a:pt x="1399" y="1093"/>
                    </a:lnTo>
                    <a:lnTo>
                      <a:pt x="1414" y="1097"/>
                    </a:lnTo>
                    <a:lnTo>
                      <a:pt x="1431" y="1102"/>
                    </a:lnTo>
                    <a:lnTo>
                      <a:pt x="1446" y="1109"/>
                    </a:lnTo>
                    <a:lnTo>
                      <a:pt x="1446" y="1109"/>
                    </a:lnTo>
                    <a:lnTo>
                      <a:pt x="1461" y="1118"/>
                    </a:lnTo>
                    <a:lnTo>
                      <a:pt x="1474" y="1128"/>
                    </a:lnTo>
                    <a:lnTo>
                      <a:pt x="1486" y="1138"/>
                    </a:lnTo>
                    <a:lnTo>
                      <a:pt x="1497" y="1150"/>
                    </a:lnTo>
                    <a:lnTo>
                      <a:pt x="1507" y="1163"/>
                    </a:lnTo>
                    <a:lnTo>
                      <a:pt x="1515" y="1176"/>
                    </a:lnTo>
                    <a:lnTo>
                      <a:pt x="1522" y="1190"/>
                    </a:lnTo>
                    <a:lnTo>
                      <a:pt x="1528" y="1205"/>
                    </a:lnTo>
                    <a:lnTo>
                      <a:pt x="1532" y="1220"/>
                    </a:lnTo>
                    <a:lnTo>
                      <a:pt x="1535" y="1236"/>
                    </a:lnTo>
                    <a:lnTo>
                      <a:pt x="1536" y="1251"/>
                    </a:lnTo>
                    <a:lnTo>
                      <a:pt x="1536" y="1267"/>
                    </a:lnTo>
                    <a:lnTo>
                      <a:pt x="1534" y="1283"/>
                    </a:lnTo>
                    <a:lnTo>
                      <a:pt x="1530" y="1299"/>
                    </a:lnTo>
                    <a:lnTo>
                      <a:pt x="1525" y="1315"/>
                    </a:lnTo>
                    <a:lnTo>
                      <a:pt x="1518" y="1330"/>
                    </a:lnTo>
                    <a:lnTo>
                      <a:pt x="1518" y="1330"/>
                    </a:lnTo>
                    <a:close/>
                    <a:moveTo>
                      <a:pt x="2372" y="985"/>
                    </a:moveTo>
                    <a:lnTo>
                      <a:pt x="2372" y="985"/>
                    </a:lnTo>
                    <a:lnTo>
                      <a:pt x="2389" y="986"/>
                    </a:lnTo>
                    <a:lnTo>
                      <a:pt x="2405" y="988"/>
                    </a:lnTo>
                    <a:lnTo>
                      <a:pt x="2421" y="992"/>
                    </a:lnTo>
                    <a:lnTo>
                      <a:pt x="2436" y="998"/>
                    </a:lnTo>
                    <a:lnTo>
                      <a:pt x="2450" y="1005"/>
                    </a:lnTo>
                    <a:lnTo>
                      <a:pt x="2464" y="1013"/>
                    </a:lnTo>
                    <a:lnTo>
                      <a:pt x="2476" y="1022"/>
                    </a:lnTo>
                    <a:lnTo>
                      <a:pt x="2488" y="1033"/>
                    </a:lnTo>
                    <a:lnTo>
                      <a:pt x="2498" y="1045"/>
                    </a:lnTo>
                    <a:lnTo>
                      <a:pt x="2508" y="1057"/>
                    </a:lnTo>
                    <a:lnTo>
                      <a:pt x="2516" y="1071"/>
                    </a:lnTo>
                    <a:lnTo>
                      <a:pt x="2523" y="1085"/>
                    </a:lnTo>
                    <a:lnTo>
                      <a:pt x="2528" y="1100"/>
                    </a:lnTo>
                    <a:lnTo>
                      <a:pt x="2532" y="1117"/>
                    </a:lnTo>
                    <a:lnTo>
                      <a:pt x="2535" y="1133"/>
                    </a:lnTo>
                    <a:lnTo>
                      <a:pt x="2536" y="1150"/>
                    </a:lnTo>
                    <a:lnTo>
                      <a:pt x="2536" y="1150"/>
                    </a:lnTo>
                    <a:lnTo>
                      <a:pt x="2535" y="1167"/>
                    </a:lnTo>
                    <a:lnTo>
                      <a:pt x="2532" y="1183"/>
                    </a:lnTo>
                    <a:lnTo>
                      <a:pt x="2528" y="1199"/>
                    </a:lnTo>
                    <a:lnTo>
                      <a:pt x="2523" y="1214"/>
                    </a:lnTo>
                    <a:lnTo>
                      <a:pt x="2516" y="1228"/>
                    </a:lnTo>
                    <a:lnTo>
                      <a:pt x="2508" y="1241"/>
                    </a:lnTo>
                    <a:lnTo>
                      <a:pt x="2498" y="1254"/>
                    </a:lnTo>
                    <a:lnTo>
                      <a:pt x="2488" y="1266"/>
                    </a:lnTo>
                    <a:lnTo>
                      <a:pt x="2476" y="1276"/>
                    </a:lnTo>
                    <a:lnTo>
                      <a:pt x="2464" y="1286"/>
                    </a:lnTo>
                    <a:lnTo>
                      <a:pt x="2450" y="1294"/>
                    </a:lnTo>
                    <a:lnTo>
                      <a:pt x="2436" y="1301"/>
                    </a:lnTo>
                    <a:lnTo>
                      <a:pt x="2421" y="1306"/>
                    </a:lnTo>
                    <a:lnTo>
                      <a:pt x="2405" y="1310"/>
                    </a:lnTo>
                    <a:lnTo>
                      <a:pt x="2389" y="1313"/>
                    </a:lnTo>
                    <a:lnTo>
                      <a:pt x="2372" y="1314"/>
                    </a:lnTo>
                    <a:lnTo>
                      <a:pt x="2372" y="1314"/>
                    </a:lnTo>
                    <a:lnTo>
                      <a:pt x="2355" y="1313"/>
                    </a:lnTo>
                    <a:lnTo>
                      <a:pt x="2339" y="1310"/>
                    </a:lnTo>
                    <a:lnTo>
                      <a:pt x="2323" y="1306"/>
                    </a:lnTo>
                    <a:lnTo>
                      <a:pt x="2308" y="1301"/>
                    </a:lnTo>
                    <a:lnTo>
                      <a:pt x="2294" y="1294"/>
                    </a:lnTo>
                    <a:lnTo>
                      <a:pt x="2280" y="1286"/>
                    </a:lnTo>
                    <a:lnTo>
                      <a:pt x="2268" y="1276"/>
                    </a:lnTo>
                    <a:lnTo>
                      <a:pt x="2256" y="1266"/>
                    </a:lnTo>
                    <a:lnTo>
                      <a:pt x="2246" y="1254"/>
                    </a:lnTo>
                    <a:lnTo>
                      <a:pt x="2236" y="1241"/>
                    </a:lnTo>
                    <a:lnTo>
                      <a:pt x="2227" y="1228"/>
                    </a:lnTo>
                    <a:lnTo>
                      <a:pt x="2220" y="1214"/>
                    </a:lnTo>
                    <a:lnTo>
                      <a:pt x="2214" y="1199"/>
                    </a:lnTo>
                    <a:lnTo>
                      <a:pt x="2210" y="1183"/>
                    </a:lnTo>
                    <a:lnTo>
                      <a:pt x="2208" y="1167"/>
                    </a:lnTo>
                    <a:lnTo>
                      <a:pt x="2207" y="1150"/>
                    </a:lnTo>
                    <a:lnTo>
                      <a:pt x="2207" y="1150"/>
                    </a:lnTo>
                    <a:lnTo>
                      <a:pt x="2208" y="1133"/>
                    </a:lnTo>
                    <a:lnTo>
                      <a:pt x="2210" y="1117"/>
                    </a:lnTo>
                    <a:lnTo>
                      <a:pt x="2214" y="1100"/>
                    </a:lnTo>
                    <a:lnTo>
                      <a:pt x="2220" y="1085"/>
                    </a:lnTo>
                    <a:lnTo>
                      <a:pt x="2227" y="1071"/>
                    </a:lnTo>
                    <a:lnTo>
                      <a:pt x="2236" y="1057"/>
                    </a:lnTo>
                    <a:lnTo>
                      <a:pt x="2246" y="1045"/>
                    </a:lnTo>
                    <a:lnTo>
                      <a:pt x="2256" y="1033"/>
                    </a:lnTo>
                    <a:lnTo>
                      <a:pt x="2268" y="1022"/>
                    </a:lnTo>
                    <a:lnTo>
                      <a:pt x="2280" y="1013"/>
                    </a:lnTo>
                    <a:lnTo>
                      <a:pt x="2294" y="1005"/>
                    </a:lnTo>
                    <a:lnTo>
                      <a:pt x="2308" y="998"/>
                    </a:lnTo>
                    <a:lnTo>
                      <a:pt x="2323" y="992"/>
                    </a:lnTo>
                    <a:lnTo>
                      <a:pt x="2339" y="988"/>
                    </a:lnTo>
                    <a:lnTo>
                      <a:pt x="2355" y="986"/>
                    </a:lnTo>
                    <a:lnTo>
                      <a:pt x="2372" y="985"/>
                    </a:lnTo>
                    <a:lnTo>
                      <a:pt x="2372" y="985"/>
                    </a:lnTo>
                    <a:close/>
                    <a:moveTo>
                      <a:pt x="2372" y="2791"/>
                    </a:moveTo>
                    <a:lnTo>
                      <a:pt x="2372" y="2791"/>
                    </a:lnTo>
                    <a:lnTo>
                      <a:pt x="2344" y="2791"/>
                    </a:lnTo>
                    <a:lnTo>
                      <a:pt x="2316" y="2788"/>
                    </a:lnTo>
                    <a:lnTo>
                      <a:pt x="2289" y="2785"/>
                    </a:lnTo>
                    <a:lnTo>
                      <a:pt x="2262" y="2780"/>
                    </a:lnTo>
                    <a:lnTo>
                      <a:pt x="2235" y="2774"/>
                    </a:lnTo>
                    <a:lnTo>
                      <a:pt x="2209" y="2767"/>
                    </a:lnTo>
                    <a:lnTo>
                      <a:pt x="2183" y="2758"/>
                    </a:lnTo>
                    <a:lnTo>
                      <a:pt x="2158" y="2748"/>
                    </a:lnTo>
                    <a:lnTo>
                      <a:pt x="2134" y="2737"/>
                    </a:lnTo>
                    <a:lnTo>
                      <a:pt x="2111" y="2725"/>
                    </a:lnTo>
                    <a:lnTo>
                      <a:pt x="2088" y="2712"/>
                    </a:lnTo>
                    <a:lnTo>
                      <a:pt x="2066" y="2698"/>
                    </a:lnTo>
                    <a:lnTo>
                      <a:pt x="2044" y="2683"/>
                    </a:lnTo>
                    <a:lnTo>
                      <a:pt x="2024" y="2667"/>
                    </a:lnTo>
                    <a:lnTo>
                      <a:pt x="2004" y="2649"/>
                    </a:lnTo>
                    <a:lnTo>
                      <a:pt x="1985" y="2631"/>
                    </a:lnTo>
                    <a:lnTo>
                      <a:pt x="1967" y="2612"/>
                    </a:lnTo>
                    <a:lnTo>
                      <a:pt x="1950" y="2593"/>
                    </a:lnTo>
                    <a:lnTo>
                      <a:pt x="1933" y="2572"/>
                    </a:lnTo>
                    <a:lnTo>
                      <a:pt x="1918" y="2550"/>
                    </a:lnTo>
                    <a:lnTo>
                      <a:pt x="1904" y="2528"/>
                    </a:lnTo>
                    <a:lnTo>
                      <a:pt x="1891" y="2505"/>
                    </a:lnTo>
                    <a:lnTo>
                      <a:pt x="1879" y="2482"/>
                    </a:lnTo>
                    <a:lnTo>
                      <a:pt x="1868" y="2458"/>
                    </a:lnTo>
                    <a:lnTo>
                      <a:pt x="1858" y="2432"/>
                    </a:lnTo>
                    <a:lnTo>
                      <a:pt x="1849" y="2407"/>
                    </a:lnTo>
                    <a:lnTo>
                      <a:pt x="1842" y="2381"/>
                    </a:lnTo>
                    <a:lnTo>
                      <a:pt x="1836" y="2354"/>
                    </a:lnTo>
                    <a:lnTo>
                      <a:pt x="1831" y="2327"/>
                    </a:lnTo>
                    <a:lnTo>
                      <a:pt x="1828" y="2300"/>
                    </a:lnTo>
                    <a:lnTo>
                      <a:pt x="1825" y="2272"/>
                    </a:lnTo>
                    <a:lnTo>
                      <a:pt x="1824" y="2244"/>
                    </a:lnTo>
                    <a:lnTo>
                      <a:pt x="1824" y="2244"/>
                    </a:lnTo>
                    <a:lnTo>
                      <a:pt x="1825" y="2216"/>
                    </a:lnTo>
                    <a:lnTo>
                      <a:pt x="1828" y="2188"/>
                    </a:lnTo>
                    <a:lnTo>
                      <a:pt x="1831" y="2161"/>
                    </a:lnTo>
                    <a:lnTo>
                      <a:pt x="1836" y="2134"/>
                    </a:lnTo>
                    <a:lnTo>
                      <a:pt x="1842" y="2108"/>
                    </a:lnTo>
                    <a:lnTo>
                      <a:pt x="1849" y="2082"/>
                    </a:lnTo>
                    <a:lnTo>
                      <a:pt x="1858" y="2056"/>
                    </a:lnTo>
                    <a:lnTo>
                      <a:pt x="1868" y="2032"/>
                    </a:lnTo>
                    <a:lnTo>
                      <a:pt x="1879" y="2007"/>
                    </a:lnTo>
                    <a:lnTo>
                      <a:pt x="1891" y="1983"/>
                    </a:lnTo>
                    <a:lnTo>
                      <a:pt x="1904" y="1960"/>
                    </a:lnTo>
                    <a:lnTo>
                      <a:pt x="1918" y="1938"/>
                    </a:lnTo>
                    <a:lnTo>
                      <a:pt x="1933" y="1916"/>
                    </a:lnTo>
                    <a:lnTo>
                      <a:pt x="1950" y="1896"/>
                    </a:lnTo>
                    <a:lnTo>
                      <a:pt x="1967" y="1876"/>
                    </a:lnTo>
                    <a:lnTo>
                      <a:pt x="1985" y="1857"/>
                    </a:lnTo>
                    <a:lnTo>
                      <a:pt x="2004" y="1839"/>
                    </a:lnTo>
                    <a:lnTo>
                      <a:pt x="2024" y="1822"/>
                    </a:lnTo>
                    <a:lnTo>
                      <a:pt x="2044" y="1806"/>
                    </a:lnTo>
                    <a:lnTo>
                      <a:pt x="2066" y="1790"/>
                    </a:lnTo>
                    <a:lnTo>
                      <a:pt x="2088" y="1776"/>
                    </a:lnTo>
                    <a:lnTo>
                      <a:pt x="2111" y="1763"/>
                    </a:lnTo>
                    <a:lnTo>
                      <a:pt x="2134" y="1751"/>
                    </a:lnTo>
                    <a:lnTo>
                      <a:pt x="2158" y="1740"/>
                    </a:lnTo>
                    <a:lnTo>
                      <a:pt x="2183" y="1730"/>
                    </a:lnTo>
                    <a:lnTo>
                      <a:pt x="2209" y="1722"/>
                    </a:lnTo>
                    <a:lnTo>
                      <a:pt x="2235" y="1714"/>
                    </a:lnTo>
                    <a:lnTo>
                      <a:pt x="2262" y="1708"/>
                    </a:lnTo>
                    <a:lnTo>
                      <a:pt x="2289" y="1703"/>
                    </a:lnTo>
                    <a:lnTo>
                      <a:pt x="2316" y="1700"/>
                    </a:lnTo>
                    <a:lnTo>
                      <a:pt x="2344" y="1698"/>
                    </a:lnTo>
                    <a:lnTo>
                      <a:pt x="2372" y="1697"/>
                    </a:lnTo>
                    <a:lnTo>
                      <a:pt x="2372" y="1697"/>
                    </a:lnTo>
                    <a:lnTo>
                      <a:pt x="2400" y="1698"/>
                    </a:lnTo>
                    <a:lnTo>
                      <a:pt x="2428" y="1700"/>
                    </a:lnTo>
                    <a:lnTo>
                      <a:pt x="2455" y="1703"/>
                    </a:lnTo>
                    <a:lnTo>
                      <a:pt x="2482" y="1708"/>
                    </a:lnTo>
                    <a:lnTo>
                      <a:pt x="2508" y="1714"/>
                    </a:lnTo>
                    <a:lnTo>
                      <a:pt x="2534" y="1722"/>
                    </a:lnTo>
                    <a:lnTo>
                      <a:pt x="2560" y="1730"/>
                    </a:lnTo>
                    <a:lnTo>
                      <a:pt x="2585" y="1740"/>
                    </a:lnTo>
                    <a:lnTo>
                      <a:pt x="2609" y="1751"/>
                    </a:lnTo>
                    <a:lnTo>
                      <a:pt x="2632" y="1763"/>
                    </a:lnTo>
                    <a:lnTo>
                      <a:pt x="2656" y="1776"/>
                    </a:lnTo>
                    <a:lnTo>
                      <a:pt x="2678" y="1790"/>
                    </a:lnTo>
                    <a:lnTo>
                      <a:pt x="2700" y="1806"/>
                    </a:lnTo>
                    <a:lnTo>
                      <a:pt x="2720" y="1822"/>
                    </a:lnTo>
                    <a:lnTo>
                      <a:pt x="2740" y="1839"/>
                    </a:lnTo>
                    <a:lnTo>
                      <a:pt x="2759" y="1857"/>
                    </a:lnTo>
                    <a:lnTo>
                      <a:pt x="2777" y="1876"/>
                    </a:lnTo>
                    <a:lnTo>
                      <a:pt x="2794" y="1896"/>
                    </a:lnTo>
                    <a:lnTo>
                      <a:pt x="2811" y="1916"/>
                    </a:lnTo>
                    <a:lnTo>
                      <a:pt x="2826" y="1938"/>
                    </a:lnTo>
                    <a:lnTo>
                      <a:pt x="2840" y="1960"/>
                    </a:lnTo>
                    <a:lnTo>
                      <a:pt x="2853" y="1983"/>
                    </a:lnTo>
                    <a:lnTo>
                      <a:pt x="2865" y="2007"/>
                    </a:lnTo>
                    <a:lnTo>
                      <a:pt x="2876" y="2032"/>
                    </a:lnTo>
                    <a:lnTo>
                      <a:pt x="2886" y="2056"/>
                    </a:lnTo>
                    <a:lnTo>
                      <a:pt x="2895" y="2082"/>
                    </a:lnTo>
                    <a:lnTo>
                      <a:pt x="2902" y="2108"/>
                    </a:lnTo>
                    <a:lnTo>
                      <a:pt x="2908" y="2134"/>
                    </a:lnTo>
                    <a:lnTo>
                      <a:pt x="2913" y="2161"/>
                    </a:lnTo>
                    <a:lnTo>
                      <a:pt x="2916" y="2188"/>
                    </a:lnTo>
                    <a:lnTo>
                      <a:pt x="2918" y="2216"/>
                    </a:lnTo>
                    <a:lnTo>
                      <a:pt x="2919" y="2244"/>
                    </a:lnTo>
                    <a:lnTo>
                      <a:pt x="2919" y="2244"/>
                    </a:lnTo>
                    <a:lnTo>
                      <a:pt x="2918" y="2272"/>
                    </a:lnTo>
                    <a:lnTo>
                      <a:pt x="2916" y="2300"/>
                    </a:lnTo>
                    <a:lnTo>
                      <a:pt x="2913" y="2327"/>
                    </a:lnTo>
                    <a:lnTo>
                      <a:pt x="2908" y="2354"/>
                    </a:lnTo>
                    <a:lnTo>
                      <a:pt x="2902" y="2381"/>
                    </a:lnTo>
                    <a:lnTo>
                      <a:pt x="2895" y="2407"/>
                    </a:lnTo>
                    <a:lnTo>
                      <a:pt x="2886" y="2432"/>
                    </a:lnTo>
                    <a:lnTo>
                      <a:pt x="2876" y="2458"/>
                    </a:lnTo>
                    <a:lnTo>
                      <a:pt x="2865" y="2482"/>
                    </a:lnTo>
                    <a:lnTo>
                      <a:pt x="2853" y="2505"/>
                    </a:lnTo>
                    <a:lnTo>
                      <a:pt x="2840" y="2528"/>
                    </a:lnTo>
                    <a:lnTo>
                      <a:pt x="2826" y="2550"/>
                    </a:lnTo>
                    <a:lnTo>
                      <a:pt x="2811" y="2572"/>
                    </a:lnTo>
                    <a:lnTo>
                      <a:pt x="2794" y="2593"/>
                    </a:lnTo>
                    <a:lnTo>
                      <a:pt x="2777" y="2612"/>
                    </a:lnTo>
                    <a:lnTo>
                      <a:pt x="2759" y="2631"/>
                    </a:lnTo>
                    <a:lnTo>
                      <a:pt x="2740" y="2649"/>
                    </a:lnTo>
                    <a:lnTo>
                      <a:pt x="2720" y="2667"/>
                    </a:lnTo>
                    <a:lnTo>
                      <a:pt x="2700" y="2683"/>
                    </a:lnTo>
                    <a:lnTo>
                      <a:pt x="2678" y="2698"/>
                    </a:lnTo>
                    <a:lnTo>
                      <a:pt x="2656" y="2712"/>
                    </a:lnTo>
                    <a:lnTo>
                      <a:pt x="2632" y="2725"/>
                    </a:lnTo>
                    <a:lnTo>
                      <a:pt x="2609" y="2737"/>
                    </a:lnTo>
                    <a:lnTo>
                      <a:pt x="2585" y="2748"/>
                    </a:lnTo>
                    <a:lnTo>
                      <a:pt x="2560" y="2758"/>
                    </a:lnTo>
                    <a:lnTo>
                      <a:pt x="2534" y="2767"/>
                    </a:lnTo>
                    <a:lnTo>
                      <a:pt x="2508" y="2774"/>
                    </a:lnTo>
                    <a:lnTo>
                      <a:pt x="2482" y="2780"/>
                    </a:lnTo>
                    <a:lnTo>
                      <a:pt x="2455" y="2785"/>
                    </a:lnTo>
                    <a:lnTo>
                      <a:pt x="2428" y="2788"/>
                    </a:lnTo>
                    <a:lnTo>
                      <a:pt x="2400" y="2791"/>
                    </a:lnTo>
                    <a:lnTo>
                      <a:pt x="2372" y="2791"/>
                    </a:lnTo>
                    <a:lnTo>
                      <a:pt x="2372" y="2791"/>
                    </a:lnTo>
                    <a:close/>
                    <a:moveTo>
                      <a:pt x="1496" y="876"/>
                    </a:moveTo>
                    <a:lnTo>
                      <a:pt x="1496" y="876"/>
                    </a:lnTo>
                    <a:lnTo>
                      <a:pt x="1510" y="875"/>
                    </a:lnTo>
                    <a:lnTo>
                      <a:pt x="1524" y="874"/>
                    </a:lnTo>
                    <a:lnTo>
                      <a:pt x="1538" y="873"/>
                    </a:lnTo>
                    <a:lnTo>
                      <a:pt x="1551" y="870"/>
                    </a:lnTo>
                    <a:lnTo>
                      <a:pt x="1564" y="867"/>
                    </a:lnTo>
                    <a:lnTo>
                      <a:pt x="1577" y="864"/>
                    </a:lnTo>
                    <a:lnTo>
                      <a:pt x="1590" y="859"/>
                    </a:lnTo>
                    <a:lnTo>
                      <a:pt x="1602" y="854"/>
                    </a:lnTo>
                    <a:lnTo>
                      <a:pt x="1615" y="849"/>
                    </a:lnTo>
                    <a:lnTo>
                      <a:pt x="1626" y="843"/>
                    </a:lnTo>
                    <a:lnTo>
                      <a:pt x="1638" y="836"/>
                    </a:lnTo>
                    <a:lnTo>
                      <a:pt x="1649" y="829"/>
                    </a:lnTo>
                    <a:lnTo>
                      <a:pt x="1660" y="822"/>
                    </a:lnTo>
                    <a:lnTo>
                      <a:pt x="1670" y="813"/>
                    </a:lnTo>
                    <a:lnTo>
                      <a:pt x="1680" y="805"/>
                    </a:lnTo>
                    <a:lnTo>
                      <a:pt x="1689" y="796"/>
                    </a:lnTo>
                    <a:lnTo>
                      <a:pt x="1698" y="786"/>
                    </a:lnTo>
                    <a:lnTo>
                      <a:pt x="1707" y="776"/>
                    </a:lnTo>
                    <a:lnTo>
                      <a:pt x="1715" y="766"/>
                    </a:lnTo>
                    <a:lnTo>
                      <a:pt x="1723" y="755"/>
                    </a:lnTo>
                    <a:lnTo>
                      <a:pt x="1730" y="744"/>
                    </a:lnTo>
                    <a:lnTo>
                      <a:pt x="1736" y="733"/>
                    </a:lnTo>
                    <a:lnTo>
                      <a:pt x="1742" y="721"/>
                    </a:lnTo>
                    <a:lnTo>
                      <a:pt x="1748" y="709"/>
                    </a:lnTo>
                    <a:lnTo>
                      <a:pt x="1753" y="697"/>
                    </a:lnTo>
                    <a:lnTo>
                      <a:pt x="1757" y="684"/>
                    </a:lnTo>
                    <a:lnTo>
                      <a:pt x="1761" y="671"/>
                    </a:lnTo>
                    <a:lnTo>
                      <a:pt x="1764" y="657"/>
                    </a:lnTo>
                    <a:lnTo>
                      <a:pt x="1766" y="643"/>
                    </a:lnTo>
                    <a:lnTo>
                      <a:pt x="1768" y="630"/>
                    </a:lnTo>
                    <a:lnTo>
                      <a:pt x="1769" y="616"/>
                    </a:lnTo>
                    <a:lnTo>
                      <a:pt x="1769" y="602"/>
                    </a:lnTo>
                    <a:lnTo>
                      <a:pt x="1769" y="602"/>
                    </a:lnTo>
                    <a:lnTo>
                      <a:pt x="1769" y="588"/>
                    </a:lnTo>
                    <a:lnTo>
                      <a:pt x="1768" y="574"/>
                    </a:lnTo>
                    <a:lnTo>
                      <a:pt x="1766" y="560"/>
                    </a:lnTo>
                    <a:lnTo>
                      <a:pt x="1764" y="547"/>
                    </a:lnTo>
                    <a:lnTo>
                      <a:pt x="1761" y="533"/>
                    </a:lnTo>
                    <a:lnTo>
                      <a:pt x="1757" y="521"/>
                    </a:lnTo>
                    <a:lnTo>
                      <a:pt x="1753" y="508"/>
                    </a:lnTo>
                    <a:lnTo>
                      <a:pt x="1748" y="495"/>
                    </a:lnTo>
                    <a:lnTo>
                      <a:pt x="1742" y="483"/>
                    </a:lnTo>
                    <a:lnTo>
                      <a:pt x="1736" y="472"/>
                    </a:lnTo>
                    <a:lnTo>
                      <a:pt x="1730" y="460"/>
                    </a:lnTo>
                    <a:lnTo>
                      <a:pt x="1723" y="449"/>
                    </a:lnTo>
                    <a:lnTo>
                      <a:pt x="1715" y="438"/>
                    </a:lnTo>
                    <a:lnTo>
                      <a:pt x="1707" y="428"/>
                    </a:lnTo>
                    <a:lnTo>
                      <a:pt x="1698" y="418"/>
                    </a:lnTo>
                    <a:lnTo>
                      <a:pt x="1689" y="409"/>
                    </a:lnTo>
                    <a:lnTo>
                      <a:pt x="1680" y="400"/>
                    </a:lnTo>
                    <a:lnTo>
                      <a:pt x="1670" y="391"/>
                    </a:lnTo>
                    <a:lnTo>
                      <a:pt x="1660" y="383"/>
                    </a:lnTo>
                    <a:lnTo>
                      <a:pt x="1649" y="375"/>
                    </a:lnTo>
                    <a:lnTo>
                      <a:pt x="1638" y="368"/>
                    </a:lnTo>
                    <a:lnTo>
                      <a:pt x="1626" y="362"/>
                    </a:lnTo>
                    <a:lnTo>
                      <a:pt x="1615" y="356"/>
                    </a:lnTo>
                    <a:lnTo>
                      <a:pt x="1602" y="350"/>
                    </a:lnTo>
                    <a:lnTo>
                      <a:pt x="1590" y="345"/>
                    </a:lnTo>
                    <a:lnTo>
                      <a:pt x="1577" y="341"/>
                    </a:lnTo>
                    <a:lnTo>
                      <a:pt x="1564" y="337"/>
                    </a:lnTo>
                    <a:lnTo>
                      <a:pt x="1551" y="334"/>
                    </a:lnTo>
                    <a:lnTo>
                      <a:pt x="1538" y="332"/>
                    </a:lnTo>
                    <a:lnTo>
                      <a:pt x="1524" y="330"/>
                    </a:lnTo>
                    <a:lnTo>
                      <a:pt x="1510" y="329"/>
                    </a:lnTo>
                    <a:lnTo>
                      <a:pt x="1496" y="329"/>
                    </a:lnTo>
                    <a:lnTo>
                      <a:pt x="1496" y="329"/>
                    </a:lnTo>
                    <a:lnTo>
                      <a:pt x="1482" y="329"/>
                    </a:lnTo>
                    <a:lnTo>
                      <a:pt x="1468" y="330"/>
                    </a:lnTo>
                    <a:lnTo>
                      <a:pt x="1455" y="332"/>
                    </a:lnTo>
                    <a:lnTo>
                      <a:pt x="1441" y="334"/>
                    </a:lnTo>
                    <a:lnTo>
                      <a:pt x="1428" y="337"/>
                    </a:lnTo>
                    <a:lnTo>
                      <a:pt x="1414" y="341"/>
                    </a:lnTo>
                    <a:lnTo>
                      <a:pt x="1401" y="345"/>
                    </a:lnTo>
                    <a:lnTo>
                      <a:pt x="1389" y="350"/>
                    </a:lnTo>
                    <a:lnTo>
                      <a:pt x="1377" y="356"/>
                    </a:lnTo>
                    <a:lnTo>
                      <a:pt x="1365" y="362"/>
                    </a:lnTo>
                    <a:lnTo>
                      <a:pt x="1354" y="368"/>
                    </a:lnTo>
                    <a:lnTo>
                      <a:pt x="1342" y="375"/>
                    </a:lnTo>
                    <a:lnTo>
                      <a:pt x="1332" y="383"/>
                    </a:lnTo>
                    <a:lnTo>
                      <a:pt x="1321" y="391"/>
                    </a:lnTo>
                    <a:lnTo>
                      <a:pt x="1312" y="400"/>
                    </a:lnTo>
                    <a:lnTo>
                      <a:pt x="1302" y="409"/>
                    </a:lnTo>
                    <a:lnTo>
                      <a:pt x="1293" y="418"/>
                    </a:lnTo>
                    <a:lnTo>
                      <a:pt x="1284" y="428"/>
                    </a:lnTo>
                    <a:lnTo>
                      <a:pt x="1276" y="438"/>
                    </a:lnTo>
                    <a:lnTo>
                      <a:pt x="1269" y="449"/>
                    </a:lnTo>
                    <a:lnTo>
                      <a:pt x="1262" y="460"/>
                    </a:lnTo>
                    <a:lnTo>
                      <a:pt x="1255" y="472"/>
                    </a:lnTo>
                    <a:lnTo>
                      <a:pt x="1249" y="483"/>
                    </a:lnTo>
                    <a:lnTo>
                      <a:pt x="1244" y="495"/>
                    </a:lnTo>
                    <a:lnTo>
                      <a:pt x="1239" y="508"/>
                    </a:lnTo>
                    <a:lnTo>
                      <a:pt x="1234" y="521"/>
                    </a:lnTo>
                    <a:lnTo>
                      <a:pt x="1231" y="533"/>
                    </a:lnTo>
                    <a:lnTo>
                      <a:pt x="1228" y="547"/>
                    </a:lnTo>
                    <a:lnTo>
                      <a:pt x="1225" y="560"/>
                    </a:lnTo>
                    <a:lnTo>
                      <a:pt x="1223" y="574"/>
                    </a:lnTo>
                    <a:lnTo>
                      <a:pt x="1222" y="588"/>
                    </a:lnTo>
                    <a:lnTo>
                      <a:pt x="1222" y="602"/>
                    </a:lnTo>
                    <a:lnTo>
                      <a:pt x="1222" y="602"/>
                    </a:lnTo>
                    <a:lnTo>
                      <a:pt x="1222" y="616"/>
                    </a:lnTo>
                    <a:lnTo>
                      <a:pt x="1223" y="630"/>
                    </a:lnTo>
                    <a:lnTo>
                      <a:pt x="1225" y="643"/>
                    </a:lnTo>
                    <a:lnTo>
                      <a:pt x="1228" y="657"/>
                    </a:lnTo>
                    <a:lnTo>
                      <a:pt x="1231" y="671"/>
                    </a:lnTo>
                    <a:lnTo>
                      <a:pt x="1234" y="684"/>
                    </a:lnTo>
                    <a:lnTo>
                      <a:pt x="1239" y="697"/>
                    </a:lnTo>
                    <a:lnTo>
                      <a:pt x="1244" y="709"/>
                    </a:lnTo>
                    <a:lnTo>
                      <a:pt x="1249" y="721"/>
                    </a:lnTo>
                    <a:lnTo>
                      <a:pt x="1255" y="733"/>
                    </a:lnTo>
                    <a:lnTo>
                      <a:pt x="1262" y="744"/>
                    </a:lnTo>
                    <a:lnTo>
                      <a:pt x="1269" y="755"/>
                    </a:lnTo>
                    <a:lnTo>
                      <a:pt x="1276" y="766"/>
                    </a:lnTo>
                    <a:lnTo>
                      <a:pt x="1284" y="776"/>
                    </a:lnTo>
                    <a:lnTo>
                      <a:pt x="1293" y="786"/>
                    </a:lnTo>
                    <a:lnTo>
                      <a:pt x="1302" y="796"/>
                    </a:lnTo>
                    <a:lnTo>
                      <a:pt x="1312" y="805"/>
                    </a:lnTo>
                    <a:lnTo>
                      <a:pt x="1321" y="813"/>
                    </a:lnTo>
                    <a:lnTo>
                      <a:pt x="1332" y="822"/>
                    </a:lnTo>
                    <a:lnTo>
                      <a:pt x="1342" y="829"/>
                    </a:lnTo>
                    <a:lnTo>
                      <a:pt x="1354" y="836"/>
                    </a:lnTo>
                    <a:lnTo>
                      <a:pt x="1365" y="843"/>
                    </a:lnTo>
                    <a:lnTo>
                      <a:pt x="1377" y="849"/>
                    </a:lnTo>
                    <a:lnTo>
                      <a:pt x="1389" y="854"/>
                    </a:lnTo>
                    <a:lnTo>
                      <a:pt x="1401" y="859"/>
                    </a:lnTo>
                    <a:lnTo>
                      <a:pt x="1414" y="864"/>
                    </a:lnTo>
                    <a:lnTo>
                      <a:pt x="1428" y="867"/>
                    </a:lnTo>
                    <a:lnTo>
                      <a:pt x="1441" y="870"/>
                    </a:lnTo>
                    <a:lnTo>
                      <a:pt x="1455" y="873"/>
                    </a:lnTo>
                    <a:lnTo>
                      <a:pt x="1468" y="874"/>
                    </a:lnTo>
                    <a:lnTo>
                      <a:pt x="1482" y="875"/>
                    </a:lnTo>
                    <a:lnTo>
                      <a:pt x="1496" y="876"/>
                    </a:lnTo>
                    <a:lnTo>
                      <a:pt x="1496" y="876"/>
                    </a:lnTo>
                    <a:close/>
                    <a:moveTo>
                      <a:pt x="1496" y="493"/>
                    </a:moveTo>
                    <a:lnTo>
                      <a:pt x="1496" y="493"/>
                    </a:lnTo>
                    <a:lnTo>
                      <a:pt x="1507" y="493"/>
                    </a:lnTo>
                    <a:lnTo>
                      <a:pt x="1518" y="495"/>
                    </a:lnTo>
                    <a:lnTo>
                      <a:pt x="1529" y="497"/>
                    </a:lnTo>
                    <a:lnTo>
                      <a:pt x="1539" y="501"/>
                    </a:lnTo>
                    <a:lnTo>
                      <a:pt x="1548" y="506"/>
                    </a:lnTo>
                    <a:lnTo>
                      <a:pt x="1557" y="511"/>
                    </a:lnTo>
                    <a:lnTo>
                      <a:pt x="1566" y="517"/>
                    </a:lnTo>
                    <a:lnTo>
                      <a:pt x="1573" y="525"/>
                    </a:lnTo>
                    <a:lnTo>
                      <a:pt x="1580" y="532"/>
                    </a:lnTo>
                    <a:lnTo>
                      <a:pt x="1587" y="541"/>
                    </a:lnTo>
                    <a:lnTo>
                      <a:pt x="1592" y="550"/>
                    </a:lnTo>
                    <a:lnTo>
                      <a:pt x="1597" y="559"/>
                    </a:lnTo>
                    <a:lnTo>
                      <a:pt x="1600" y="569"/>
                    </a:lnTo>
                    <a:lnTo>
                      <a:pt x="1603" y="580"/>
                    </a:lnTo>
                    <a:lnTo>
                      <a:pt x="1605" y="591"/>
                    </a:lnTo>
                    <a:lnTo>
                      <a:pt x="1605" y="602"/>
                    </a:lnTo>
                    <a:lnTo>
                      <a:pt x="1605" y="602"/>
                    </a:lnTo>
                    <a:lnTo>
                      <a:pt x="1605" y="613"/>
                    </a:lnTo>
                    <a:lnTo>
                      <a:pt x="1603" y="624"/>
                    </a:lnTo>
                    <a:lnTo>
                      <a:pt x="1600" y="634"/>
                    </a:lnTo>
                    <a:lnTo>
                      <a:pt x="1597" y="644"/>
                    </a:lnTo>
                    <a:lnTo>
                      <a:pt x="1592" y="654"/>
                    </a:lnTo>
                    <a:lnTo>
                      <a:pt x="1587" y="663"/>
                    </a:lnTo>
                    <a:lnTo>
                      <a:pt x="1580" y="672"/>
                    </a:lnTo>
                    <a:lnTo>
                      <a:pt x="1573" y="680"/>
                    </a:lnTo>
                    <a:lnTo>
                      <a:pt x="1566" y="687"/>
                    </a:lnTo>
                    <a:lnTo>
                      <a:pt x="1557" y="693"/>
                    </a:lnTo>
                    <a:lnTo>
                      <a:pt x="1548" y="699"/>
                    </a:lnTo>
                    <a:lnTo>
                      <a:pt x="1539" y="703"/>
                    </a:lnTo>
                    <a:lnTo>
                      <a:pt x="1529" y="707"/>
                    </a:lnTo>
                    <a:lnTo>
                      <a:pt x="1518" y="710"/>
                    </a:lnTo>
                    <a:lnTo>
                      <a:pt x="1507" y="711"/>
                    </a:lnTo>
                    <a:lnTo>
                      <a:pt x="1496" y="712"/>
                    </a:lnTo>
                    <a:lnTo>
                      <a:pt x="1496" y="712"/>
                    </a:lnTo>
                    <a:lnTo>
                      <a:pt x="1485" y="711"/>
                    </a:lnTo>
                    <a:lnTo>
                      <a:pt x="1474" y="710"/>
                    </a:lnTo>
                    <a:lnTo>
                      <a:pt x="1464" y="707"/>
                    </a:lnTo>
                    <a:lnTo>
                      <a:pt x="1454" y="703"/>
                    </a:lnTo>
                    <a:lnTo>
                      <a:pt x="1444" y="699"/>
                    </a:lnTo>
                    <a:lnTo>
                      <a:pt x="1435" y="693"/>
                    </a:lnTo>
                    <a:lnTo>
                      <a:pt x="1427" y="687"/>
                    </a:lnTo>
                    <a:lnTo>
                      <a:pt x="1418" y="680"/>
                    </a:lnTo>
                    <a:lnTo>
                      <a:pt x="1411" y="672"/>
                    </a:lnTo>
                    <a:lnTo>
                      <a:pt x="1405" y="663"/>
                    </a:lnTo>
                    <a:lnTo>
                      <a:pt x="1399" y="654"/>
                    </a:lnTo>
                    <a:lnTo>
                      <a:pt x="1395" y="644"/>
                    </a:lnTo>
                    <a:lnTo>
                      <a:pt x="1391" y="634"/>
                    </a:lnTo>
                    <a:lnTo>
                      <a:pt x="1388" y="624"/>
                    </a:lnTo>
                    <a:lnTo>
                      <a:pt x="1386" y="613"/>
                    </a:lnTo>
                    <a:lnTo>
                      <a:pt x="1386" y="602"/>
                    </a:lnTo>
                    <a:lnTo>
                      <a:pt x="1386" y="602"/>
                    </a:lnTo>
                    <a:lnTo>
                      <a:pt x="1386" y="591"/>
                    </a:lnTo>
                    <a:lnTo>
                      <a:pt x="1388" y="580"/>
                    </a:lnTo>
                    <a:lnTo>
                      <a:pt x="1391" y="569"/>
                    </a:lnTo>
                    <a:lnTo>
                      <a:pt x="1395" y="559"/>
                    </a:lnTo>
                    <a:lnTo>
                      <a:pt x="1399" y="550"/>
                    </a:lnTo>
                    <a:lnTo>
                      <a:pt x="1405" y="541"/>
                    </a:lnTo>
                    <a:lnTo>
                      <a:pt x="1411" y="532"/>
                    </a:lnTo>
                    <a:lnTo>
                      <a:pt x="1418" y="525"/>
                    </a:lnTo>
                    <a:lnTo>
                      <a:pt x="1427" y="517"/>
                    </a:lnTo>
                    <a:lnTo>
                      <a:pt x="1435" y="511"/>
                    </a:lnTo>
                    <a:lnTo>
                      <a:pt x="1444" y="506"/>
                    </a:lnTo>
                    <a:lnTo>
                      <a:pt x="1454" y="501"/>
                    </a:lnTo>
                    <a:lnTo>
                      <a:pt x="1464" y="497"/>
                    </a:lnTo>
                    <a:lnTo>
                      <a:pt x="1474" y="495"/>
                    </a:lnTo>
                    <a:lnTo>
                      <a:pt x="1485" y="493"/>
                    </a:lnTo>
                    <a:lnTo>
                      <a:pt x="1496" y="493"/>
                    </a:lnTo>
                    <a:lnTo>
                      <a:pt x="1496" y="493"/>
                    </a:lnTo>
                    <a:close/>
                    <a:moveTo>
                      <a:pt x="2646" y="547"/>
                    </a:moveTo>
                    <a:lnTo>
                      <a:pt x="2646" y="547"/>
                    </a:lnTo>
                    <a:lnTo>
                      <a:pt x="2646" y="533"/>
                    </a:lnTo>
                    <a:lnTo>
                      <a:pt x="2645" y="519"/>
                    </a:lnTo>
                    <a:lnTo>
                      <a:pt x="2643" y="506"/>
                    </a:lnTo>
                    <a:lnTo>
                      <a:pt x="2640" y="492"/>
                    </a:lnTo>
                    <a:lnTo>
                      <a:pt x="2636" y="479"/>
                    </a:lnTo>
                    <a:lnTo>
                      <a:pt x="2633" y="466"/>
                    </a:lnTo>
                    <a:lnTo>
                      <a:pt x="2628" y="453"/>
                    </a:lnTo>
                    <a:lnTo>
                      <a:pt x="2624" y="441"/>
                    </a:lnTo>
                    <a:lnTo>
                      <a:pt x="2618" y="429"/>
                    </a:lnTo>
                    <a:lnTo>
                      <a:pt x="2612" y="417"/>
                    </a:lnTo>
                    <a:lnTo>
                      <a:pt x="2605" y="406"/>
                    </a:lnTo>
                    <a:lnTo>
                      <a:pt x="2598" y="394"/>
                    </a:lnTo>
                    <a:lnTo>
                      <a:pt x="2591" y="384"/>
                    </a:lnTo>
                    <a:lnTo>
                      <a:pt x="2583" y="373"/>
                    </a:lnTo>
                    <a:lnTo>
                      <a:pt x="2574" y="364"/>
                    </a:lnTo>
                    <a:lnTo>
                      <a:pt x="2565" y="354"/>
                    </a:lnTo>
                    <a:lnTo>
                      <a:pt x="2556" y="345"/>
                    </a:lnTo>
                    <a:lnTo>
                      <a:pt x="2546" y="336"/>
                    </a:lnTo>
                    <a:lnTo>
                      <a:pt x="2535" y="328"/>
                    </a:lnTo>
                    <a:lnTo>
                      <a:pt x="2525" y="321"/>
                    </a:lnTo>
                    <a:lnTo>
                      <a:pt x="2514" y="314"/>
                    </a:lnTo>
                    <a:lnTo>
                      <a:pt x="2502" y="307"/>
                    </a:lnTo>
                    <a:lnTo>
                      <a:pt x="2490" y="301"/>
                    </a:lnTo>
                    <a:lnTo>
                      <a:pt x="2478" y="296"/>
                    </a:lnTo>
                    <a:lnTo>
                      <a:pt x="2466" y="291"/>
                    </a:lnTo>
                    <a:lnTo>
                      <a:pt x="2453" y="286"/>
                    </a:lnTo>
                    <a:lnTo>
                      <a:pt x="2440" y="283"/>
                    </a:lnTo>
                    <a:lnTo>
                      <a:pt x="2427" y="280"/>
                    </a:lnTo>
                    <a:lnTo>
                      <a:pt x="2414" y="277"/>
                    </a:lnTo>
                    <a:lnTo>
                      <a:pt x="2400" y="275"/>
                    </a:lnTo>
                    <a:lnTo>
                      <a:pt x="2386" y="274"/>
                    </a:lnTo>
                    <a:lnTo>
                      <a:pt x="2372" y="274"/>
                    </a:lnTo>
                    <a:lnTo>
                      <a:pt x="2372" y="274"/>
                    </a:lnTo>
                    <a:lnTo>
                      <a:pt x="2348" y="275"/>
                    </a:lnTo>
                    <a:lnTo>
                      <a:pt x="2324" y="278"/>
                    </a:lnTo>
                    <a:lnTo>
                      <a:pt x="2301" y="284"/>
                    </a:lnTo>
                    <a:lnTo>
                      <a:pt x="2279" y="291"/>
                    </a:lnTo>
                    <a:lnTo>
                      <a:pt x="2258" y="300"/>
                    </a:lnTo>
                    <a:lnTo>
                      <a:pt x="2238" y="310"/>
                    </a:lnTo>
                    <a:lnTo>
                      <a:pt x="2217" y="323"/>
                    </a:lnTo>
                    <a:lnTo>
                      <a:pt x="2199" y="336"/>
                    </a:lnTo>
                    <a:lnTo>
                      <a:pt x="2199" y="336"/>
                    </a:lnTo>
                    <a:lnTo>
                      <a:pt x="2203" y="321"/>
                    </a:lnTo>
                    <a:lnTo>
                      <a:pt x="2205" y="306"/>
                    </a:lnTo>
                    <a:lnTo>
                      <a:pt x="2207" y="290"/>
                    </a:lnTo>
                    <a:lnTo>
                      <a:pt x="2207" y="274"/>
                    </a:lnTo>
                    <a:lnTo>
                      <a:pt x="2207" y="274"/>
                    </a:lnTo>
                    <a:lnTo>
                      <a:pt x="2207" y="260"/>
                    </a:lnTo>
                    <a:lnTo>
                      <a:pt x="2206" y="246"/>
                    </a:lnTo>
                    <a:lnTo>
                      <a:pt x="2204" y="232"/>
                    </a:lnTo>
                    <a:lnTo>
                      <a:pt x="2202" y="218"/>
                    </a:lnTo>
                    <a:lnTo>
                      <a:pt x="2199" y="205"/>
                    </a:lnTo>
                    <a:lnTo>
                      <a:pt x="2195" y="192"/>
                    </a:lnTo>
                    <a:lnTo>
                      <a:pt x="2191" y="179"/>
                    </a:lnTo>
                    <a:lnTo>
                      <a:pt x="2186" y="167"/>
                    </a:lnTo>
                    <a:lnTo>
                      <a:pt x="2180" y="155"/>
                    </a:lnTo>
                    <a:lnTo>
                      <a:pt x="2174" y="143"/>
                    </a:lnTo>
                    <a:lnTo>
                      <a:pt x="2168" y="131"/>
                    </a:lnTo>
                    <a:lnTo>
                      <a:pt x="2160" y="120"/>
                    </a:lnTo>
                    <a:lnTo>
                      <a:pt x="2153" y="110"/>
                    </a:lnTo>
                    <a:lnTo>
                      <a:pt x="2145" y="99"/>
                    </a:lnTo>
                    <a:lnTo>
                      <a:pt x="2136" y="89"/>
                    </a:lnTo>
                    <a:lnTo>
                      <a:pt x="2127" y="80"/>
                    </a:lnTo>
                    <a:lnTo>
                      <a:pt x="2118" y="71"/>
                    </a:lnTo>
                    <a:lnTo>
                      <a:pt x="2108" y="62"/>
                    </a:lnTo>
                    <a:lnTo>
                      <a:pt x="2097" y="54"/>
                    </a:lnTo>
                    <a:lnTo>
                      <a:pt x="2087" y="47"/>
                    </a:lnTo>
                    <a:lnTo>
                      <a:pt x="2076" y="40"/>
                    </a:lnTo>
                    <a:lnTo>
                      <a:pt x="2064" y="33"/>
                    </a:lnTo>
                    <a:lnTo>
                      <a:pt x="2052" y="27"/>
                    </a:lnTo>
                    <a:lnTo>
                      <a:pt x="2040" y="21"/>
                    </a:lnTo>
                    <a:lnTo>
                      <a:pt x="2028" y="17"/>
                    </a:lnTo>
                    <a:lnTo>
                      <a:pt x="2015" y="12"/>
                    </a:lnTo>
                    <a:lnTo>
                      <a:pt x="2002" y="9"/>
                    </a:lnTo>
                    <a:lnTo>
                      <a:pt x="1989" y="6"/>
                    </a:lnTo>
                    <a:lnTo>
                      <a:pt x="1976" y="3"/>
                    </a:lnTo>
                    <a:lnTo>
                      <a:pt x="1962" y="1"/>
                    </a:lnTo>
                    <a:lnTo>
                      <a:pt x="1948" y="0"/>
                    </a:lnTo>
                    <a:lnTo>
                      <a:pt x="1934" y="0"/>
                    </a:lnTo>
                    <a:lnTo>
                      <a:pt x="1934" y="0"/>
                    </a:lnTo>
                    <a:lnTo>
                      <a:pt x="1920" y="0"/>
                    </a:lnTo>
                    <a:lnTo>
                      <a:pt x="1906" y="1"/>
                    </a:lnTo>
                    <a:lnTo>
                      <a:pt x="1892" y="3"/>
                    </a:lnTo>
                    <a:lnTo>
                      <a:pt x="1879" y="6"/>
                    </a:lnTo>
                    <a:lnTo>
                      <a:pt x="1866" y="9"/>
                    </a:lnTo>
                    <a:lnTo>
                      <a:pt x="1853" y="12"/>
                    </a:lnTo>
                    <a:lnTo>
                      <a:pt x="1840" y="17"/>
                    </a:lnTo>
                    <a:lnTo>
                      <a:pt x="1828" y="21"/>
                    </a:lnTo>
                    <a:lnTo>
                      <a:pt x="1815" y="27"/>
                    </a:lnTo>
                    <a:lnTo>
                      <a:pt x="1803" y="33"/>
                    </a:lnTo>
                    <a:lnTo>
                      <a:pt x="1791" y="40"/>
                    </a:lnTo>
                    <a:lnTo>
                      <a:pt x="1780" y="47"/>
                    </a:lnTo>
                    <a:lnTo>
                      <a:pt x="1770" y="54"/>
                    </a:lnTo>
                    <a:lnTo>
                      <a:pt x="1759" y="62"/>
                    </a:lnTo>
                    <a:lnTo>
                      <a:pt x="1749" y="71"/>
                    </a:lnTo>
                    <a:lnTo>
                      <a:pt x="1740" y="80"/>
                    </a:lnTo>
                    <a:lnTo>
                      <a:pt x="1731" y="89"/>
                    </a:lnTo>
                    <a:lnTo>
                      <a:pt x="1722" y="99"/>
                    </a:lnTo>
                    <a:lnTo>
                      <a:pt x="1714" y="110"/>
                    </a:lnTo>
                    <a:lnTo>
                      <a:pt x="1707" y="120"/>
                    </a:lnTo>
                    <a:lnTo>
                      <a:pt x="1700" y="131"/>
                    </a:lnTo>
                    <a:lnTo>
                      <a:pt x="1693" y="143"/>
                    </a:lnTo>
                    <a:lnTo>
                      <a:pt x="1687" y="155"/>
                    </a:lnTo>
                    <a:lnTo>
                      <a:pt x="1681" y="167"/>
                    </a:lnTo>
                    <a:lnTo>
                      <a:pt x="1677" y="179"/>
                    </a:lnTo>
                    <a:lnTo>
                      <a:pt x="1672" y="192"/>
                    </a:lnTo>
                    <a:lnTo>
                      <a:pt x="1669" y="205"/>
                    </a:lnTo>
                    <a:lnTo>
                      <a:pt x="1666" y="218"/>
                    </a:lnTo>
                    <a:lnTo>
                      <a:pt x="1663" y="232"/>
                    </a:lnTo>
                    <a:lnTo>
                      <a:pt x="1661" y="246"/>
                    </a:lnTo>
                    <a:lnTo>
                      <a:pt x="1660" y="260"/>
                    </a:lnTo>
                    <a:lnTo>
                      <a:pt x="1660" y="274"/>
                    </a:lnTo>
                    <a:lnTo>
                      <a:pt x="1660" y="274"/>
                    </a:lnTo>
                    <a:lnTo>
                      <a:pt x="1660" y="288"/>
                    </a:lnTo>
                    <a:lnTo>
                      <a:pt x="1661" y="302"/>
                    </a:lnTo>
                    <a:lnTo>
                      <a:pt x="1663" y="316"/>
                    </a:lnTo>
                    <a:lnTo>
                      <a:pt x="1666" y="329"/>
                    </a:lnTo>
                    <a:lnTo>
                      <a:pt x="1669" y="342"/>
                    </a:lnTo>
                    <a:lnTo>
                      <a:pt x="1672" y="355"/>
                    </a:lnTo>
                    <a:lnTo>
                      <a:pt x="1677" y="368"/>
                    </a:lnTo>
                    <a:lnTo>
                      <a:pt x="1681" y="380"/>
                    </a:lnTo>
                    <a:lnTo>
                      <a:pt x="1687" y="392"/>
                    </a:lnTo>
                    <a:lnTo>
                      <a:pt x="1693" y="404"/>
                    </a:lnTo>
                    <a:lnTo>
                      <a:pt x="1700" y="416"/>
                    </a:lnTo>
                    <a:lnTo>
                      <a:pt x="1707" y="427"/>
                    </a:lnTo>
                    <a:lnTo>
                      <a:pt x="1714" y="437"/>
                    </a:lnTo>
                    <a:lnTo>
                      <a:pt x="1722" y="448"/>
                    </a:lnTo>
                    <a:lnTo>
                      <a:pt x="1731" y="458"/>
                    </a:lnTo>
                    <a:lnTo>
                      <a:pt x="1740" y="467"/>
                    </a:lnTo>
                    <a:lnTo>
                      <a:pt x="1749" y="476"/>
                    </a:lnTo>
                    <a:lnTo>
                      <a:pt x="1759" y="485"/>
                    </a:lnTo>
                    <a:lnTo>
                      <a:pt x="1770" y="493"/>
                    </a:lnTo>
                    <a:lnTo>
                      <a:pt x="1780" y="501"/>
                    </a:lnTo>
                    <a:lnTo>
                      <a:pt x="1791" y="508"/>
                    </a:lnTo>
                    <a:lnTo>
                      <a:pt x="1803" y="514"/>
                    </a:lnTo>
                    <a:lnTo>
                      <a:pt x="1815" y="520"/>
                    </a:lnTo>
                    <a:lnTo>
                      <a:pt x="1828" y="526"/>
                    </a:lnTo>
                    <a:lnTo>
                      <a:pt x="1840" y="531"/>
                    </a:lnTo>
                    <a:lnTo>
                      <a:pt x="1853" y="535"/>
                    </a:lnTo>
                    <a:lnTo>
                      <a:pt x="1866" y="539"/>
                    </a:lnTo>
                    <a:lnTo>
                      <a:pt x="1879" y="542"/>
                    </a:lnTo>
                    <a:lnTo>
                      <a:pt x="1892" y="544"/>
                    </a:lnTo>
                    <a:lnTo>
                      <a:pt x="1906" y="546"/>
                    </a:lnTo>
                    <a:lnTo>
                      <a:pt x="1920" y="547"/>
                    </a:lnTo>
                    <a:lnTo>
                      <a:pt x="1934" y="547"/>
                    </a:lnTo>
                    <a:lnTo>
                      <a:pt x="1934" y="547"/>
                    </a:lnTo>
                    <a:lnTo>
                      <a:pt x="1958" y="546"/>
                    </a:lnTo>
                    <a:lnTo>
                      <a:pt x="1982" y="543"/>
                    </a:lnTo>
                    <a:lnTo>
                      <a:pt x="2005" y="538"/>
                    </a:lnTo>
                    <a:lnTo>
                      <a:pt x="2027" y="530"/>
                    </a:lnTo>
                    <a:lnTo>
                      <a:pt x="2048" y="521"/>
                    </a:lnTo>
                    <a:lnTo>
                      <a:pt x="2068" y="511"/>
                    </a:lnTo>
                    <a:lnTo>
                      <a:pt x="2087" y="499"/>
                    </a:lnTo>
                    <a:lnTo>
                      <a:pt x="2106" y="485"/>
                    </a:lnTo>
                    <a:lnTo>
                      <a:pt x="2106" y="485"/>
                    </a:lnTo>
                    <a:lnTo>
                      <a:pt x="2102" y="500"/>
                    </a:lnTo>
                    <a:lnTo>
                      <a:pt x="2100" y="515"/>
                    </a:lnTo>
                    <a:lnTo>
                      <a:pt x="2098" y="531"/>
                    </a:lnTo>
                    <a:lnTo>
                      <a:pt x="2098" y="547"/>
                    </a:lnTo>
                    <a:lnTo>
                      <a:pt x="2098" y="547"/>
                    </a:lnTo>
                    <a:lnTo>
                      <a:pt x="2098" y="561"/>
                    </a:lnTo>
                    <a:lnTo>
                      <a:pt x="2099" y="575"/>
                    </a:lnTo>
                    <a:lnTo>
                      <a:pt x="2101" y="589"/>
                    </a:lnTo>
                    <a:lnTo>
                      <a:pt x="2103" y="602"/>
                    </a:lnTo>
                    <a:lnTo>
                      <a:pt x="2106" y="615"/>
                    </a:lnTo>
                    <a:lnTo>
                      <a:pt x="2110" y="628"/>
                    </a:lnTo>
                    <a:lnTo>
                      <a:pt x="2114" y="641"/>
                    </a:lnTo>
                    <a:lnTo>
                      <a:pt x="2119" y="653"/>
                    </a:lnTo>
                    <a:lnTo>
                      <a:pt x="2125" y="666"/>
                    </a:lnTo>
                    <a:lnTo>
                      <a:pt x="2131" y="678"/>
                    </a:lnTo>
                    <a:lnTo>
                      <a:pt x="2137" y="690"/>
                    </a:lnTo>
                    <a:lnTo>
                      <a:pt x="2145" y="701"/>
                    </a:lnTo>
                    <a:lnTo>
                      <a:pt x="2152" y="712"/>
                    </a:lnTo>
                    <a:lnTo>
                      <a:pt x="2160" y="722"/>
                    </a:lnTo>
                    <a:lnTo>
                      <a:pt x="2169" y="732"/>
                    </a:lnTo>
                    <a:lnTo>
                      <a:pt x="2178" y="741"/>
                    </a:lnTo>
                    <a:lnTo>
                      <a:pt x="2187" y="750"/>
                    </a:lnTo>
                    <a:lnTo>
                      <a:pt x="2197" y="759"/>
                    </a:lnTo>
                    <a:lnTo>
                      <a:pt x="2208" y="767"/>
                    </a:lnTo>
                    <a:lnTo>
                      <a:pt x="2218" y="775"/>
                    </a:lnTo>
                    <a:lnTo>
                      <a:pt x="2229" y="782"/>
                    </a:lnTo>
                    <a:lnTo>
                      <a:pt x="2242" y="788"/>
                    </a:lnTo>
                    <a:lnTo>
                      <a:pt x="2254" y="794"/>
                    </a:lnTo>
                    <a:lnTo>
                      <a:pt x="2266" y="800"/>
                    </a:lnTo>
                    <a:lnTo>
                      <a:pt x="2278" y="805"/>
                    </a:lnTo>
                    <a:lnTo>
                      <a:pt x="2291" y="809"/>
                    </a:lnTo>
                    <a:lnTo>
                      <a:pt x="2304" y="813"/>
                    </a:lnTo>
                    <a:lnTo>
                      <a:pt x="2317" y="816"/>
                    </a:lnTo>
                    <a:lnTo>
                      <a:pt x="2330" y="818"/>
                    </a:lnTo>
                    <a:lnTo>
                      <a:pt x="2344" y="820"/>
                    </a:lnTo>
                    <a:lnTo>
                      <a:pt x="2358" y="821"/>
                    </a:lnTo>
                    <a:lnTo>
                      <a:pt x="2372" y="821"/>
                    </a:lnTo>
                    <a:lnTo>
                      <a:pt x="2372" y="821"/>
                    </a:lnTo>
                    <a:lnTo>
                      <a:pt x="2386" y="821"/>
                    </a:lnTo>
                    <a:lnTo>
                      <a:pt x="2400" y="820"/>
                    </a:lnTo>
                    <a:lnTo>
                      <a:pt x="2414" y="818"/>
                    </a:lnTo>
                    <a:lnTo>
                      <a:pt x="2427" y="816"/>
                    </a:lnTo>
                    <a:lnTo>
                      <a:pt x="2440" y="813"/>
                    </a:lnTo>
                    <a:lnTo>
                      <a:pt x="2453" y="809"/>
                    </a:lnTo>
                    <a:lnTo>
                      <a:pt x="2466" y="805"/>
                    </a:lnTo>
                    <a:lnTo>
                      <a:pt x="2478" y="800"/>
                    </a:lnTo>
                    <a:lnTo>
                      <a:pt x="2490" y="794"/>
                    </a:lnTo>
                    <a:lnTo>
                      <a:pt x="2502" y="788"/>
                    </a:lnTo>
                    <a:lnTo>
                      <a:pt x="2514" y="782"/>
                    </a:lnTo>
                    <a:lnTo>
                      <a:pt x="2525" y="775"/>
                    </a:lnTo>
                    <a:lnTo>
                      <a:pt x="2535" y="767"/>
                    </a:lnTo>
                    <a:lnTo>
                      <a:pt x="2546" y="759"/>
                    </a:lnTo>
                    <a:lnTo>
                      <a:pt x="2556" y="750"/>
                    </a:lnTo>
                    <a:lnTo>
                      <a:pt x="2565" y="741"/>
                    </a:lnTo>
                    <a:lnTo>
                      <a:pt x="2574" y="732"/>
                    </a:lnTo>
                    <a:lnTo>
                      <a:pt x="2583" y="722"/>
                    </a:lnTo>
                    <a:lnTo>
                      <a:pt x="2591" y="712"/>
                    </a:lnTo>
                    <a:lnTo>
                      <a:pt x="2598" y="701"/>
                    </a:lnTo>
                    <a:lnTo>
                      <a:pt x="2605" y="690"/>
                    </a:lnTo>
                    <a:lnTo>
                      <a:pt x="2612" y="678"/>
                    </a:lnTo>
                    <a:lnTo>
                      <a:pt x="2618" y="666"/>
                    </a:lnTo>
                    <a:lnTo>
                      <a:pt x="2624" y="653"/>
                    </a:lnTo>
                    <a:lnTo>
                      <a:pt x="2628" y="641"/>
                    </a:lnTo>
                    <a:lnTo>
                      <a:pt x="2633" y="628"/>
                    </a:lnTo>
                    <a:lnTo>
                      <a:pt x="2636" y="615"/>
                    </a:lnTo>
                    <a:lnTo>
                      <a:pt x="2640" y="602"/>
                    </a:lnTo>
                    <a:lnTo>
                      <a:pt x="2643" y="589"/>
                    </a:lnTo>
                    <a:lnTo>
                      <a:pt x="2645" y="575"/>
                    </a:lnTo>
                    <a:lnTo>
                      <a:pt x="2646" y="561"/>
                    </a:lnTo>
                    <a:lnTo>
                      <a:pt x="2646" y="547"/>
                    </a:lnTo>
                    <a:lnTo>
                      <a:pt x="2646" y="547"/>
                    </a:lnTo>
                    <a:close/>
                    <a:moveTo>
                      <a:pt x="1934" y="383"/>
                    </a:moveTo>
                    <a:lnTo>
                      <a:pt x="1934" y="383"/>
                    </a:lnTo>
                    <a:lnTo>
                      <a:pt x="1923" y="383"/>
                    </a:lnTo>
                    <a:lnTo>
                      <a:pt x="1912" y="381"/>
                    </a:lnTo>
                    <a:lnTo>
                      <a:pt x="1902" y="378"/>
                    </a:lnTo>
                    <a:lnTo>
                      <a:pt x="1892" y="375"/>
                    </a:lnTo>
                    <a:lnTo>
                      <a:pt x="1882" y="370"/>
                    </a:lnTo>
                    <a:lnTo>
                      <a:pt x="1873" y="365"/>
                    </a:lnTo>
                    <a:lnTo>
                      <a:pt x="1865" y="358"/>
                    </a:lnTo>
                    <a:lnTo>
                      <a:pt x="1857" y="351"/>
                    </a:lnTo>
                    <a:lnTo>
                      <a:pt x="1850" y="344"/>
                    </a:lnTo>
                    <a:lnTo>
                      <a:pt x="1843" y="335"/>
                    </a:lnTo>
                    <a:lnTo>
                      <a:pt x="1838" y="326"/>
                    </a:lnTo>
                    <a:lnTo>
                      <a:pt x="1833" y="317"/>
                    </a:lnTo>
                    <a:lnTo>
                      <a:pt x="1830" y="307"/>
                    </a:lnTo>
                    <a:lnTo>
                      <a:pt x="1826" y="296"/>
                    </a:lnTo>
                    <a:lnTo>
                      <a:pt x="1824" y="285"/>
                    </a:lnTo>
                    <a:lnTo>
                      <a:pt x="1824" y="274"/>
                    </a:lnTo>
                    <a:lnTo>
                      <a:pt x="1824" y="274"/>
                    </a:lnTo>
                    <a:lnTo>
                      <a:pt x="1824" y="263"/>
                    </a:lnTo>
                    <a:lnTo>
                      <a:pt x="1826" y="252"/>
                    </a:lnTo>
                    <a:lnTo>
                      <a:pt x="1830" y="242"/>
                    </a:lnTo>
                    <a:lnTo>
                      <a:pt x="1833" y="232"/>
                    </a:lnTo>
                    <a:lnTo>
                      <a:pt x="1838" y="221"/>
                    </a:lnTo>
                    <a:lnTo>
                      <a:pt x="1843" y="212"/>
                    </a:lnTo>
                    <a:lnTo>
                      <a:pt x="1850" y="204"/>
                    </a:lnTo>
                    <a:lnTo>
                      <a:pt x="1857" y="196"/>
                    </a:lnTo>
                    <a:lnTo>
                      <a:pt x="1865" y="189"/>
                    </a:lnTo>
                    <a:lnTo>
                      <a:pt x="1873" y="183"/>
                    </a:lnTo>
                    <a:lnTo>
                      <a:pt x="1882" y="177"/>
                    </a:lnTo>
                    <a:lnTo>
                      <a:pt x="1892" y="172"/>
                    </a:lnTo>
                    <a:lnTo>
                      <a:pt x="1902" y="169"/>
                    </a:lnTo>
                    <a:lnTo>
                      <a:pt x="1912" y="166"/>
                    </a:lnTo>
                    <a:lnTo>
                      <a:pt x="1923" y="164"/>
                    </a:lnTo>
                    <a:lnTo>
                      <a:pt x="1934" y="164"/>
                    </a:lnTo>
                    <a:lnTo>
                      <a:pt x="1934" y="164"/>
                    </a:lnTo>
                    <a:lnTo>
                      <a:pt x="1945" y="164"/>
                    </a:lnTo>
                    <a:lnTo>
                      <a:pt x="1956" y="166"/>
                    </a:lnTo>
                    <a:lnTo>
                      <a:pt x="1967" y="169"/>
                    </a:lnTo>
                    <a:lnTo>
                      <a:pt x="1977" y="172"/>
                    </a:lnTo>
                    <a:lnTo>
                      <a:pt x="1986" y="177"/>
                    </a:lnTo>
                    <a:lnTo>
                      <a:pt x="1995" y="183"/>
                    </a:lnTo>
                    <a:lnTo>
                      <a:pt x="2004" y="189"/>
                    </a:lnTo>
                    <a:lnTo>
                      <a:pt x="2011" y="196"/>
                    </a:lnTo>
                    <a:lnTo>
                      <a:pt x="2018" y="204"/>
                    </a:lnTo>
                    <a:lnTo>
                      <a:pt x="2025" y="212"/>
                    </a:lnTo>
                    <a:lnTo>
                      <a:pt x="2030" y="221"/>
                    </a:lnTo>
                    <a:lnTo>
                      <a:pt x="2035" y="232"/>
                    </a:lnTo>
                    <a:lnTo>
                      <a:pt x="2038" y="242"/>
                    </a:lnTo>
                    <a:lnTo>
                      <a:pt x="2041" y="252"/>
                    </a:lnTo>
                    <a:lnTo>
                      <a:pt x="2043" y="263"/>
                    </a:lnTo>
                    <a:lnTo>
                      <a:pt x="2043" y="274"/>
                    </a:lnTo>
                    <a:lnTo>
                      <a:pt x="2043" y="274"/>
                    </a:lnTo>
                    <a:lnTo>
                      <a:pt x="2043" y="285"/>
                    </a:lnTo>
                    <a:lnTo>
                      <a:pt x="2041" y="296"/>
                    </a:lnTo>
                    <a:lnTo>
                      <a:pt x="2038" y="307"/>
                    </a:lnTo>
                    <a:lnTo>
                      <a:pt x="2035" y="317"/>
                    </a:lnTo>
                    <a:lnTo>
                      <a:pt x="2030" y="326"/>
                    </a:lnTo>
                    <a:lnTo>
                      <a:pt x="2025" y="335"/>
                    </a:lnTo>
                    <a:lnTo>
                      <a:pt x="2018" y="344"/>
                    </a:lnTo>
                    <a:lnTo>
                      <a:pt x="2011" y="351"/>
                    </a:lnTo>
                    <a:lnTo>
                      <a:pt x="2004" y="358"/>
                    </a:lnTo>
                    <a:lnTo>
                      <a:pt x="1995" y="365"/>
                    </a:lnTo>
                    <a:lnTo>
                      <a:pt x="1986" y="370"/>
                    </a:lnTo>
                    <a:lnTo>
                      <a:pt x="1977" y="375"/>
                    </a:lnTo>
                    <a:lnTo>
                      <a:pt x="1967" y="378"/>
                    </a:lnTo>
                    <a:lnTo>
                      <a:pt x="1956" y="381"/>
                    </a:lnTo>
                    <a:lnTo>
                      <a:pt x="1945" y="383"/>
                    </a:lnTo>
                    <a:lnTo>
                      <a:pt x="1934" y="383"/>
                    </a:lnTo>
                    <a:lnTo>
                      <a:pt x="1934" y="383"/>
                    </a:lnTo>
                    <a:close/>
                    <a:moveTo>
                      <a:pt x="2372" y="656"/>
                    </a:moveTo>
                    <a:lnTo>
                      <a:pt x="2372" y="656"/>
                    </a:lnTo>
                    <a:lnTo>
                      <a:pt x="2361" y="656"/>
                    </a:lnTo>
                    <a:lnTo>
                      <a:pt x="2350" y="654"/>
                    </a:lnTo>
                    <a:lnTo>
                      <a:pt x="2339" y="651"/>
                    </a:lnTo>
                    <a:lnTo>
                      <a:pt x="2329" y="648"/>
                    </a:lnTo>
                    <a:lnTo>
                      <a:pt x="2320" y="643"/>
                    </a:lnTo>
                    <a:lnTo>
                      <a:pt x="2311" y="638"/>
                    </a:lnTo>
                    <a:lnTo>
                      <a:pt x="2302" y="631"/>
                    </a:lnTo>
                    <a:lnTo>
                      <a:pt x="2295" y="624"/>
                    </a:lnTo>
                    <a:lnTo>
                      <a:pt x="2288" y="617"/>
                    </a:lnTo>
                    <a:lnTo>
                      <a:pt x="2281" y="608"/>
                    </a:lnTo>
                    <a:lnTo>
                      <a:pt x="2276" y="599"/>
                    </a:lnTo>
                    <a:lnTo>
                      <a:pt x="2271" y="590"/>
                    </a:lnTo>
                    <a:lnTo>
                      <a:pt x="2268" y="580"/>
                    </a:lnTo>
                    <a:lnTo>
                      <a:pt x="2265" y="569"/>
                    </a:lnTo>
                    <a:lnTo>
                      <a:pt x="2263" y="558"/>
                    </a:lnTo>
                    <a:lnTo>
                      <a:pt x="2263" y="547"/>
                    </a:lnTo>
                    <a:lnTo>
                      <a:pt x="2263" y="547"/>
                    </a:lnTo>
                    <a:lnTo>
                      <a:pt x="2263" y="536"/>
                    </a:lnTo>
                    <a:lnTo>
                      <a:pt x="2265" y="525"/>
                    </a:lnTo>
                    <a:lnTo>
                      <a:pt x="2268" y="515"/>
                    </a:lnTo>
                    <a:lnTo>
                      <a:pt x="2271" y="505"/>
                    </a:lnTo>
                    <a:lnTo>
                      <a:pt x="2276" y="495"/>
                    </a:lnTo>
                    <a:lnTo>
                      <a:pt x="2281" y="486"/>
                    </a:lnTo>
                    <a:lnTo>
                      <a:pt x="2288" y="478"/>
                    </a:lnTo>
                    <a:lnTo>
                      <a:pt x="2295" y="470"/>
                    </a:lnTo>
                    <a:lnTo>
                      <a:pt x="2302" y="463"/>
                    </a:lnTo>
                    <a:lnTo>
                      <a:pt x="2311" y="457"/>
                    </a:lnTo>
                    <a:lnTo>
                      <a:pt x="2320" y="451"/>
                    </a:lnTo>
                    <a:lnTo>
                      <a:pt x="2329" y="446"/>
                    </a:lnTo>
                    <a:lnTo>
                      <a:pt x="2339" y="443"/>
                    </a:lnTo>
                    <a:lnTo>
                      <a:pt x="2350" y="440"/>
                    </a:lnTo>
                    <a:lnTo>
                      <a:pt x="2361" y="438"/>
                    </a:lnTo>
                    <a:lnTo>
                      <a:pt x="2372" y="438"/>
                    </a:lnTo>
                    <a:lnTo>
                      <a:pt x="2372" y="438"/>
                    </a:lnTo>
                    <a:lnTo>
                      <a:pt x="2383" y="438"/>
                    </a:lnTo>
                    <a:lnTo>
                      <a:pt x="2394" y="440"/>
                    </a:lnTo>
                    <a:lnTo>
                      <a:pt x="2404" y="443"/>
                    </a:lnTo>
                    <a:lnTo>
                      <a:pt x="2414" y="446"/>
                    </a:lnTo>
                    <a:lnTo>
                      <a:pt x="2424" y="451"/>
                    </a:lnTo>
                    <a:lnTo>
                      <a:pt x="2433" y="457"/>
                    </a:lnTo>
                    <a:lnTo>
                      <a:pt x="2441" y="463"/>
                    </a:lnTo>
                    <a:lnTo>
                      <a:pt x="2449" y="470"/>
                    </a:lnTo>
                    <a:lnTo>
                      <a:pt x="2456" y="478"/>
                    </a:lnTo>
                    <a:lnTo>
                      <a:pt x="2463" y="486"/>
                    </a:lnTo>
                    <a:lnTo>
                      <a:pt x="2468" y="495"/>
                    </a:lnTo>
                    <a:lnTo>
                      <a:pt x="2473" y="505"/>
                    </a:lnTo>
                    <a:lnTo>
                      <a:pt x="2476" y="515"/>
                    </a:lnTo>
                    <a:lnTo>
                      <a:pt x="2479" y="525"/>
                    </a:lnTo>
                    <a:lnTo>
                      <a:pt x="2481" y="536"/>
                    </a:lnTo>
                    <a:lnTo>
                      <a:pt x="2481" y="547"/>
                    </a:lnTo>
                    <a:lnTo>
                      <a:pt x="2481" y="547"/>
                    </a:lnTo>
                    <a:lnTo>
                      <a:pt x="2481" y="558"/>
                    </a:lnTo>
                    <a:lnTo>
                      <a:pt x="2479" y="569"/>
                    </a:lnTo>
                    <a:lnTo>
                      <a:pt x="2476" y="580"/>
                    </a:lnTo>
                    <a:lnTo>
                      <a:pt x="2473" y="590"/>
                    </a:lnTo>
                    <a:lnTo>
                      <a:pt x="2468" y="599"/>
                    </a:lnTo>
                    <a:lnTo>
                      <a:pt x="2463" y="608"/>
                    </a:lnTo>
                    <a:lnTo>
                      <a:pt x="2456" y="617"/>
                    </a:lnTo>
                    <a:lnTo>
                      <a:pt x="2449" y="624"/>
                    </a:lnTo>
                    <a:lnTo>
                      <a:pt x="2441" y="631"/>
                    </a:lnTo>
                    <a:lnTo>
                      <a:pt x="2433" y="638"/>
                    </a:lnTo>
                    <a:lnTo>
                      <a:pt x="2424" y="643"/>
                    </a:lnTo>
                    <a:lnTo>
                      <a:pt x="2414" y="648"/>
                    </a:lnTo>
                    <a:lnTo>
                      <a:pt x="2404" y="651"/>
                    </a:lnTo>
                    <a:lnTo>
                      <a:pt x="2394" y="654"/>
                    </a:lnTo>
                    <a:lnTo>
                      <a:pt x="2383" y="656"/>
                    </a:lnTo>
                    <a:lnTo>
                      <a:pt x="2372" y="656"/>
                    </a:lnTo>
                    <a:lnTo>
                      <a:pt x="2372" y="656"/>
                    </a:lnTo>
                    <a:close/>
                    <a:moveTo>
                      <a:pt x="2372" y="656"/>
                    </a:moveTo>
                    <a:lnTo>
                      <a:pt x="2372" y="656"/>
                    </a:lnTo>
                    <a:close/>
                  </a:path>
                </a:pathLst>
              </a:custGeom>
              <a:solidFill>
                <a:srgbClr val="00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381" tIns="45691" rIns="91381" bIns="45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9078" fontAlgn="ctr"/>
                <a:endParaRPr lang="en-US" altLang="zh-CN" sz="27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37" name="矩形 236">
                <a:extLst>
                  <a:ext uri="{FF2B5EF4-FFF2-40B4-BE49-F238E27FC236}">
                    <a16:creationId xmlns="" xmlns:a16="http://schemas.microsoft.com/office/drawing/2014/main" id="{F6148F15-4819-4010-B9BE-C300E0F22312}"/>
                  </a:ext>
                </a:extLst>
              </p:cNvPr>
              <p:cNvSpPr/>
              <p:nvPr/>
            </p:nvSpPr>
            <p:spPr>
              <a:xfrm>
                <a:off x="9784816" y="3683498"/>
                <a:ext cx="1345301" cy="315316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>
                <a:defPPr>
                  <a:defRPr lang="zh-CN"/>
                </a:defPPr>
                <a:lvl1pPr marL="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72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444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9166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888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861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833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8053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7775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ctr"/>
                <a:r>
                  <a:rPr lang="en-US" sz="10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rPr>
                  <a:t>Big Data analytics</a:t>
                </a:r>
                <a:endParaRPr lang="en-US" sz="1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pic>
            <p:nvPicPr>
              <p:cNvPr id="238" name="Picture 2" descr="C:\Users\Administrator\Documents\Tencent Files\415628334\FileRecv\11.png">
                <a:extLst>
                  <a:ext uri="{FF2B5EF4-FFF2-40B4-BE49-F238E27FC236}">
                    <a16:creationId xmlns="" xmlns:a16="http://schemas.microsoft.com/office/drawing/2014/main" id="{84802749-F111-4B63-9181-36E165A249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l="12645" t="13780" r="13005" b="5742"/>
              <a:stretch>
                <a:fillRect/>
              </a:stretch>
            </p:blipFill>
            <p:spPr bwMode="auto">
              <a:xfrm>
                <a:off x="9978717" y="2944296"/>
                <a:ext cx="711233" cy="6848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39" name="矩形 238">
              <a:extLst>
                <a:ext uri="{FF2B5EF4-FFF2-40B4-BE49-F238E27FC236}">
                  <a16:creationId xmlns="" xmlns:a16="http://schemas.microsoft.com/office/drawing/2014/main" id="{D70B66DF-6077-4033-A44C-C87F417D8F77}"/>
                </a:ext>
              </a:extLst>
            </p:cNvPr>
            <p:cNvSpPr/>
            <p:nvPr/>
          </p:nvSpPr>
          <p:spPr>
            <a:xfrm>
              <a:off x="6852111" y="4325092"/>
              <a:ext cx="2751668" cy="70919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defTabSz="1219078" fontAlgn="ctr"/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At 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6: 00 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a.m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., January 27, 2017,</a:t>
              </a:r>
              <a:endParaRPr lang="en-US" altLang="zh-CN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  <a:p>
              <a:pPr algn="ctr" defTabSz="1219078" fontAlgn="ctr"/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Wuchang Railway 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Station,</a:t>
              </a:r>
              <a:endParaRPr lang="en-US" altLang="zh-CN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  <a:p>
              <a:pPr algn="ctr" defTabSz="1219078" fontAlgn="ctr"/>
              <a:r>
                <a:rPr lang="en-US" sz="1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t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he lost child 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was 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rescued</a:t>
              </a:r>
              <a:r>
                <a:rPr lang="en-US" sz="10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.</a:t>
              </a:r>
              <a:endParaRPr 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="" xmlns:a16="http://schemas.microsoft.com/office/drawing/2014/main" id="{DD7A5528-2FE7-4921-BCA9-9CB278F738FF}"/>
                </a:ext>
              </a:extLst>
            </p:cNvPr>
            <p:cNvGrpSpPr/>
            <p:nvPr/>
          </p:nvGrpSpPr>
          <p:grpSpPr>
            <a:xfrm>
              <a:off x="2345740" y="4076979"/>
              <a:ext cx="1957621" cy="334808"/>
              <a:chOff x="2261800" y="4272257"/>
              <a:chExt cx="1957621" cy="334808"/>
            </a:xfrm>
          </p:grpSpPr>
          <p:sp>
            <p:nvSpPr>
              <p:cNvPr id="178" name="矩形 177">
                <a:extLst>
                  <a:ext uri="{FF2B5EF4-FFF2-40B4-BE49-F238E27FC236}">
                    <a16:creationId xmlns="" xmlns:a16="http://schemas.microsoft.com/office/drawing/2014/main" id="{270AE781-712D-4997-BB39-6C9E5BB3645F}"/>
                  </a:ext>
                </a:extLst>
              </p:cNvPr>
              <p:cNvSpPr/>
              <p:nvPr/>
            </p:nvSpPr>
            <p:spPr>
              <a:xfrm>
                <a:off x="2482149" y="4288357"/>
                <a:ext cx="1737272" cy="315195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algn="ctr" defTabSz="1219078" fontAlgn="ctr"/>
                <a:r>
                  <a:rPr lang="en-US" sz="10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rPr>
                  <a:t>Received an alarm from the public.</a:t>
                </a:r>
                <a:endParaRPr lang="en-US" altLang="zh-CN" sz="1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endParaRPr>
              </a:p>
            </p:txBody>
          </p:sp>
          <p:grpSp>
            <p:nvGrpSpPr>
              <p:cNvPr id="66" name="组合 65"/>
              <p:cNvGrpSpPr/>
              <p:nvPr/>
            </p:nvGrpSpPr>
            <p:grpSpPr>
              <a:xfrm>
                <a:off x="2261800" y="4272257"/>
                <a:ext cx="235833" cy="334808"/>
                <a:chOff x="1407913" y="5648791"/>
                <a:chExt cx="235833" cy="334808"/>
              </a:xfrm>
            </p:grpSpPr>
            <p:sp>
              <p:nvSpPr>
                <p:cNvPr id="240" name="椭圆 239"/>
                <p:cNvSpPr/>
                <p:nvPr/>
              </p:nvSpPr>
              <p:spPr bwMode="auto">
                <a:xfrm>
                  <a:off x="1413227" y="5697171"/>
                  <a:ext cx="230519" cy="23170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20000"/>
                        <a:lumOff val="80000"/>
                      </a:schemeClr>
                    </a:gs>
                    <a:gs pos="10000">
                      <a:srgbClr val="00B0F0"/>
                    </a:gs>
                    <a:gs pos="62000">
                      <a:srgbClr val="00B0F0">
                        <a:alpha val="72000"/>
                      </a:srgbClr>
                    </a:gs>
                    <a:gs pos="35000">
                      <a:srgbClr val="00B0F0">
                        <a:alpha val="56000"/>
                      </a:srgbClr>
                    </a:gs>
                    <a:gs pos="98000">
                      <a:srgbClr val="0070C0"/>
                    </a:gs>
                  </a:gsLst>
                  <a:lin ang="2700000" scaled="1"/>
                  <a:tileRect/>
                </a:gradFill>
                <a:ln w="9525" cap="flat" cmpd="sng" algn="ctr">
                  <a:solidFill>
                    <a:srgbClr val="8EB4E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76200" dist="63500" dir="8100000" algn="tr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flat" dir="t"/>
                </a:scene3d>
              </p:spPr>
              <p:txBody>
                <a:bodyPr wrap="square" anchor="ctr">
                  <a:noAutofit/>
                </a:bodyPr>
                <a:lstStyle/>
                <a:p>
                  <a:pPr algn="ctr" defTabSz="1219078" fontAlgn="ctr">
                    <a:defRPr/>
                  </a:pPr>
                  <a:endParaRPr lang="en-US" altLang="zh-CN" sz="1050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1" name="TextBox 146"/>
                <p:cNvSpPr txBox="1">
                  <a:spLocks noChangeArrowheads="1"/>
                </p:cNvSpPr>
                <p:nvPr/>
              </p:nvSpPr>
              <p:spPr bwMode="auto">
                <a:xfrm>
                  <a:off x="1407913" y="5648791"/>
                  <a:ext cx="235833" cy="334808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  <a:sp3d/>
              </p:spPr>
              <p:txBody>
                <a:bodyPr wrap="square">
                  <a:noAutofit/>
                </a:bodyPr>
                <a:lstStyle>
                  <a:lvl1pPr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ctr"/>
                  <a:r>
                    <a:rPr lang="en-US" sz="1050" dirty="0" smtClean="0">
                      <a:solidFill>
                        <a:prstClr val="white"/>
                      </a:solidFill>
                      <a:latin typeface="Arial" panose="020B0604020202020204" pitchFamily="34" charset="0"/>
                    </a:rPr>
                    <a:t>1</a:t>
                  </a:r>
                  <a:endParaRPr lang="en-US" sz="1050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="" xmlns:a16="http://schemas.microsoft.com/office/drawing/2014/main" id="{C5DF92F8-EE56-4791-8724-549FB65E4290}"/>
                </a:ext>
              </a:extLst>
            </p:cNvPr>
            <p:cNvGrpSpPr/>
            <p:nvPr/>
          </p:nvGrpSpPr>
          <p:grpSpPr>
            <a:xfrm>
              <a:off x="839941" y="2484172"/>
              <a:ext cx="1852964" cy="1069568"/>
              <a:chOff x="474070" y="2673844"/>
              <a:chExt cx="1852964" cy="1069568"/>
            </a:xfrm>
          </p:grpSpPr>
          <p:grpSp>
            <p:nvGrpSpPr>
              <p:cNvPr id="191" name="组合 204">
                <a:extLst>
                  <a:ext uri="{FF2B5EF4-FFF2-40B4-BE49-F238E27FC236}">
                    <a16:creationId xmlns="" xmlns:a16="http://schemas.microsoft.com/office/drawing/2014/main" id="{19407611-1684-4893-9DC2-7DBEAAE16527}"/>
                  </a:ext>
                </a:extLst>
              </p:cNvPr>
              <p:cNvGrpSpPr/>
              <p:nvPr/>
            </p:nvGrpSpPr>
            <p:grpSpPr>
              <a:xfrm>
                <a:off x="807113" y="2673844"/>
                <a:ext cx="710961" cy="684630"/>
                <a:chOff x="1745495" y="3272461"/>
                <a:chExt cx="711233" cy="684892"/>
              </a:xfrm>
            </p:grpSpPr>
            <p:pic>
              <p:nvPicPr>
                <p:cNvPr id="192" name="Picture 2" descr="C:\Users\Administrator\Documents\Tencent Files\415628334\FileRecv\11.png">
                  <a:extLst>
                    <a:ext uri="{FF2B5EF4-FFF2-40B4-BE49-F238E27FC236}">
                      <a16:creationId xmlns="" xmlns:a16="http://schemas.microsoft.com/office/drawing/2014/main" id="{B05C3824-82AB-4241-8E75-AB9D3DEA464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 l="12645" t="13780" r="13005" b="5742"/>
                <a:stretch>
                  <a:fillRect/>
                </a:stretch>
              </p:blipFill>
              <p:spPr bwMode="auto">
                <a:xfrm>
                  <a:off x="1745495" y="3272461"/>
                  <a:ext cx="711233" cy="6848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193" name="组合 149">
                  <a:extLst>
                    <a:ext uri="{FF2B5EF4-FFF2-40B4-BE49-F238E27FC236}">
                      <a16:creationId xmlns="" xmlns:a16="http://schemas.microsoft.com/office/drawing/2014/main" id="{E14B45B0-2FE2-48D2-85C9-614ECD655A84}"/>
                    </a:ext>
                  </a:extLst>
                </p:cNvPr>
                <p:cNvGrpSpPr/>
                <p:nvPr/>
              </p:nvGrpSpPr>
              <p:grpSpPr>
                <a:xfrm>
                  <a:off x="1881181" y="3425026"/>
                  <a:ext cx="394118" cy="371325"/>
                  <a:chOff x="10264776" y="-4470400"/>
                  <a:chExt cx="3294063" cy="3103563"/>
                </a:xfrm>
                <a:solidFill>
                  <a:srgbClr val="00FFFF"/>
                </a:solidFill>
              </p:grpSpPr>
              <p:sp>
                <p:nvSpPr>
                  <p:cNvPr id="194" name="Freeform 14">
                    <a:extLst>
                      <a:ext uri="{FF2B5EF4-FFF2-40B4-BE49-F238E27FC236}">
                        <a16:creationId xmlns="" xmlns:a16="http://schemas.microsoft.com/office/drawing/2014/main" id="{DA559F49-BD51-459C-A3F0-7E7B22C598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315826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1" y="110"/>
                      </a:cxn>
                      <a:cxn ang="0">
                        <a:pos x="464" y="152"/>
                      </a:cxn>
                      <a:cxn ang="0">
                        <a:pos x="479" y="200"/>
                      </a:cxn>
                      <a:cxn ang="0">
                        <a:pos x="483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4" y="372"/>
                      </a:cxn>
                      <a:cxn ang="0">
                        <a:pos x="428" y="411"/>
                      </a:cxn>
                      <a:cxn ang="0">
                        <a:pos x="395" y="446"/>
                      </a:cxn>
                      <a:cxn ang="0">
                        <a:pos x="357" y="474"/>
                      </a:cxn>
                      <a:cxn ang="0">
                        <a:pos x="314" y="492"/>
                      </a:cxn>
                      <a:cxn ang="0">
                        <a:pos x="266" y="503"/>
                      </a:cxn>
                      <a:cxn ang="0">
                        <a:pos x="241" y="504"/>
                      </a:cxn>
                      <a:cxn ang="0">
                        <a:pos x="194" y="498"/>
                      </a:cxn>
                      <a:cxn ang="0">
                        <a:pos x="147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6" y="303"/>
                      </a:cxn>
                      <a:cxn ang="0">
                        <a:pos x="0" y="252"/>
                      </a:cxn>
                      <a:cxn ang="0">
                        <a:pos x="1" y="226"/>
                      </a:cxn>
                      <a:cxn ang="0">
                        <a:pos x="11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7" y="31"/>
                      </a:cxn>
                      <a:cxn ang="0">
                        <a:pos x="171" y="12"/>
                      </a:cxn>
                      <a:cxn ang="0">
                        <a:pos x="217" y="2"/>
                      </a:cxn>
                      <a:cxn ang="0">
                        <a:pos x="241" y="0"/>
                      </a:cxn>
                      <a:cxn ang="0">
                        <a:pos x="289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3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1" y="110"/>
                        </a:lnTo>
                        <a:lnTo>
                          <a:pt x="453" y="131"/>
                        </a:lnTo>
                        <a:lnTo>
                          <a:pt x="464" y="152"/>
                        </a:lnTo>
                        <a:lnTo>
                          <a:pt x="472" y="176"/>
                        </a:lnTo>
                        <a:lnTo>
                          <a:pt x="479" y="200"/>
                        </a:lnTo>
                        <a:lnTo>
                          <a:pt x="482" y="226"/>
                        </a:lnTo>
                        <a:lnTo>
                          <a:pt x="483" y="252"/>
                        </a:lnTo>
                        <a:lnTo>
                          <a:pt x="483" y="252"/>
                        </a:lnTo>
                        <a:lnTo>
                          <a:pt x="482" y="278"/>
                        </a:lnTo>
                        <a:lnTo>
                          <a:pt x="479" y="303"/>
                        </a:lnTo>
                        <a:lnTo>
                          <a:pt x="472" y="327"/>
                        </a:lnTo>
                        <a:lnTo>
                          <a:pt x="464" y="349"/>
                        </a:lnTo>
                        <a:lnTo>
                          <a:pt x="454" y="372"/>
                        </a:lnTo>
                        <a:lnTo>
                          <a:pt x="441" y="393"/>
                        </a:lnTo>
                        <a:lnTo>
                          <a:pt x="428" y="411"/>
                        </a:lnTo>
                        <a:lnTo>
                          <a:pt x="412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7" y="474"/>
                        </a:lnTo>
                        <a:lnTo>
                          <a:pt x="335" y="484"/>
                        </a:lnTo>
                        <a:lnTo>
                          <a:pt x="314" y="492"/>
                        </a:lnTo>
                        <a:lnTo>
                          <a:pt x="291" y="498"/>
                        </a:lnTo>
                        <a:lnTo>
                          <a:pt x="266" y="503"/>
                        </a:lnTo>
                        <a:lnTo>
                          <a:pt x="241" y="504"/>
                        </a:lnTo>
                        <a:lnTo>
                          <a:pt x="241" y="504"/>
                        </a:lnTo>
                        <a:lnTo>
                          <a:pt x="217" y="503"/>
                        </a:lnTo>
                        <a:lnTo>
                          <a:pt x="194" y="498"/>
                        </a:lnTo>
                        <a:lnTo>
                          <a:pt x="171" y="492"/>
                        </a:lnTo>
                        <a:lnTo>
                          <a:pt x="147" y="484"/>
                        </a:lnTo>
                        <a:lnTo>
                          <a:pt x="127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1" y="327"/>
                        </a:lnTo>
                        <a:lnTo>
                          <a:pt x="6" y="303"/>
                        </a:lnTo>
                        <a:lnTo>
                          <a:pt x="1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1" y="226"/>
                        </a:lnTo>
                        <a:lnTo>
                          <a:pt x="6" y="202"/>
                        </a:lnTo>
                        <a:lnTo>
                          <a:pt x="11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7" y="31"/>
                        </a:lnTo>
                        <a:lnTo>
                          <a:pt x="147" y="21"/>
                        </a:lnTo>
                        <a:lnTo>
                          <a:pt x="171" y="12"/>
                        </a:lnTo>
                        <a:lnTo>
                          <a:pt x="194" y="5"/>
                        </a:lnTo>
                        <a:lnTo>
                          <a:pt x="217" y="2"/>
                        </a:lnTo>
                        <a:lnTo>
                          <a:pt x="241" y="0"/>
                        </a:lnTo>
                        <a:lnTo>
                          <a:pt x="241" y="0"/>
                        </a:lnTo>
                        <a:lnTo>
                          <a:pt x="266" y="2"/>
                        </a:lnTo>
                        <a:lnTo>
                          <a:pt x="289" y="5"/>
                        </a:lnTo>
                        <a:lnTo>
                          <a:pt x="312" y="11"/>
                        </a:lnTo>
                        <a:lnTo>
                          <a:pt x="334" y="19"/>
                        </a:lnTo>
                        <a:lnTo>
                          <a:pt x="356" y="29"/>
                        </a:lnTo>
                        <a:lnTo>
                          <a:pt x="375" y="42"/>
                        </a:lnTo>
                        <a:lnTo>
                          <a:pt x="393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5" name="Line 15">
                    <a:extLst>
                      <a:ext uri="{FF2B5EF4-FFF2-40B4-BE49-F238E27FC236}">
                        <a16:creationId xmlns="" xmlns:a16="http://schemas.microsoft.com/office/drawing/2014/main" id="{CE3DA900-67E8-446F-BD1B-05F78F7DF9E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642851" y="-2984500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6" name="Freeform 17">
                    <a:extLst>
                      <a:ext uri="{FF2B5EF4-FFF2-40B4-BE49-F238E27FC236}">
                        <a16:creationId xmlns="" xmlns:a16="http://schemas.microsoft.com/office/drawing/2014/main" id="{5CD85247-1061-4CCF-8C63-445FD907875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174413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2" y="110"/>
                      </a:cxn>
                      <a:cxn ang="0">
                        <a:pos x="463" y="152"/>
                      </a:cxn>
                      <a:cxn ang="0">
                        <a:pos x="478" y="200"/>
                      </a:cxn>
                      <a:cxn ang="0">
                        <a:pos x="484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5" y="372"/>
                      </a:cxn>
                      <a:cxn ang="0">
                        <a:pos x="429" y="411"/>
                      </a:cxn>
                      <a:cxn ang="0">
                        <a:pos x="395" y="446"/>
                      </a:cxn>
                      <a:cxn ang="0">
                        <a:pos x="356" y="474"/>
                      </a:cxn>
                      <a:cxn ang="0">
                        <a:pos x="313" y="492"/>
                      </a:cxn>
                      <a:cxn ang="0">
                        <a:pos x="266" y="503"/>
                      </a:cxn>
                      <a:cxn ang="0">
                        <a:pos x="242" y="504"/>
                      </a:cxn>
                      <a:cxn ang="0">
                        <a:pos x="193" y="498"/>
                      </a:cxn>
                      <a:cxn ang="0">
                        <a:pos x="148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5" y="303"/>
                      </a:cxn>
                      <a:cxn ang="0">
                        <a:pos x="0" y="252"/>
                      </a:cxn>
                      <a:cxn ang="0">
                        <a:pos x="2" y="226"/>
                      </a:cxn>
                      <a:cxn ang="0">
                        <a:pos x="12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6" y="31"/>
                      </a:cxn>
                      <a:cxn ang="0">
                        <a:pos x="169" y="12"/>
                      </a:cxn>
                      <a:cxn ang="0">
                        <a:pos x="217" y="2"/>
                      </a:cxn>
                      <a:cxn ang="0">
                        <a:pos x="242" y="0"/>
                      </a:cxn>
                      <a:cxn ang="0">
                        <a:pos x="290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4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2" y="110"/>
                        </a:lnTo>
                        <a:lnTo>
                          <a:pt x="453" y="131"/>
                        </a:lnTo>
                        <a:lnTo>
                          <a:pt x="463" y="152"/>
                        </a:lnTo>
                        <a:lnTo>
                          <a:pt x="472" y="176"/>
                        </a:lnTo>
                        <a:lnTo>
                          <a:pt x="478" y="200"/>
                        </a:lnTo>
                        <a:lnTo>
                          <a:pt x="482" y="226"/>
                        </a:lnTo>
                        <a:lnTo>
                          <a:pt x="484" y="252"/>
                        </a:lnTo>
                        <a:lnTo>
                          <a:pt x="484" y="252"/>
                        </a:lnTo>
                        <a:lnTo>
                          <a:pt x="482" y="278"/>
                        </a:lnTo>
                        <a:lnTo>
                          <a:pt x="478" y="303"/>
                        </a:lnTo>
                        <a:lnTo>
                          <a:pt x="472" y="327"/>
                        </a:lnTo>
                        <a:lnTo>
                          <a:pt x="465" y="349"/>
                        </a:lnTo>
                        <a:lnTo>
                          <a:pt x="455" y="372"/>
                        </a:lnTo>
                        <a:lnTo>
                          <a:pt x="442" y="393"/>
                        </a:lnTo>
                        <a:lnTo>
                          <a:pt x="429" y="411"/>
                        </a:lnTo>
                        <a:lnTo>
                          <a:pt x="413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6" y="474"/>
                        </a:lnTo>
                        <a:lnTo>
                          <a:pt x="336" y="484"/>
                        </a:lnTo>
                        <a:lnTo>
                          <a:pt x="313" y="492"/>
                        </a:lnTo>
                        <a:lnTo>
                          <a:pt x="290" y="498"/>
                        </a:lnTo>
                        <a:lnTo>
                          <a:pt x="266" y="503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17" y="503"/>
                        </a:lnTo>
                        <a:lnTo>
                          <a:pt x="193" y="498"/>
                        </a:lnTo>
                        <a:lnTo>
                          <a:pt x="169" y="492"/>
                        </a:lnTo>
                        <a:lnTo>
                          <a:pt x="148" y="484"/>
                        </a:lnTo>
                        <a:lnTo>
                          <a:pt x="126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2" y="327"/>
                        </a:lnTo>
                        <a:lnTo>
                          <a:pt x="5" y="303"/>
                        </a:lnTo>
                        <a:lnTo>
                          <a:pt x="2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2" y="226"/>
                        </a:lnTo>
                        <a:lnTo>
                          <a:pt x="5" y="202"/>
                        </a:lnTo>
                        <a:lnTo>
                          <a:pt x="12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6" y="31"/>
                        </a:lnTo>
                        <a:lnTo>
                          <a:pt x="148" y="21"/>
                        </a:lnTo>
                        <a:lnTo>
                          <a:pt x="169" y="12"/>
                        </a:lnTo>
                        <a:lnTo>
                          <a:pt x="193" y="5"/>
                        </a:lnTo>
                        <a:lnTo>
                          <a:pt x="217" y="2"/>
                        </a:lnTo>
                        <a:lnTo>
                          <a:pt x="242" y="0"/>
                        </a:lnTo>
                        <a:lnTo>
                          <a:pt x="242" y="0"/>
                        </a:lnTo>
                        <a:lnTo>
                          <a:pt x="266" y="2"/>
                        </a:lnTo>
                        <a:lnTo>
                          <a:pt x="290" y="5"/>
                        </a:lnTo>
                        <a:lnTo>
                          <a:pt x="313" y="11"/>
                        </a:lnTo>
                        <a:lnTo>
                          <a:pt x="334" y="19"/>
                        </a:lnTo>
                        <a:lnTo>
                          <a:pt x="355" y="29"/>
                        </a:lnTo>
                        <a:lnTo>
                          <a:pt x="375" y="42"/>
                        </a:lnTo>
                        <a:lnTo>
                          <a:pt x="394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7" name="Line 18">
                    <a:extLst>
                      <a:ext uri="{FF2B5EF4-FFF2-40B4-BE49-F238E27FC236}">
                        <a16:creationId xmlns="" xmlns:a16="http://schemas.microsoft.com/office/drawing/2014/main" id="{4A753E5B-A4D6-4658-B704-280D20BCCA5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1501438" y="-2984500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8" name="Freeform 20">
                    <a:extLst>
                      <a:ext uri="{FF2B5EF4-FFF2-40B4-BE49-F238E27FC236}">
                        <a16:creationId xmlns="" xmlns:a16="http://schemas.microsoft.com/office/drawing/2014/main" id="{1794CE74-F685-415F-9E16-149B2155CA8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264776" y="-4238625"/>
                    <a:ext cx="3294063" cy="2871788"/>
                  </a:xfrm>
                  <a:custGeom>
                    <a:avLst/>
                    <a:gdLst/>
                    <a:ahLst/>
                    <a:cxnLst>
                      <a:cxn ang="0">
                        <a:pos x="3835" y="1280"/>
                      </a:cxn>
                      <a:cxn ang="0">
                        <a:pos x="3569" y="747"/>
                      </a:cxn>
                      <a:cxn ang="0">
                        <a:pos x="3475" y="712"/>
                      </a:cxn>
                      <a:cxn ang="0">
                        <a:pos x="3418" y="753"/>
                      </a:cxn>
                      <a:cxn ang="0">
                        <a:pos x="3423" y="853"/>
                      </a:cxn>
                      <a:cxn ang="0">
                        <a:pos x="3669" y="1356"/>
                      </a:cxn>
                      <a:cxn ang="0">
                        <a:pos x="3779" y="1866"/>
                      </a:cxn>
                      <a:cxn ang="0">
                        <a:pos x="3918" y="2003"/>
                      </a:cxn>
                      <a:cxn ang="0">
                        <a:pos x="3970" y="2192"/>
                      </a:cxn>
                      <a:cxn ang="0">
                        <a:pos x="3935" y="2351"/>
                      </a:cxn>
                      <a:cxn ang="0">
                        <a:pos x="3848" y="2466"/>
                      </a:cxn>
                      <a:cxn ang="0">
                        <a:pos x="3708" y="2548"/>
                      </a:cxn>
                      <a:cxn ang="0">
                        <a:pos x="3523" y="2611"/>
                      </a:cxn>
                      <a:cxn ang="0">
                        <a:pos x="3230" y="2985"/>
                      </a:cxn>
                      <a:cxn ang="0">
                        <a:pos x="2889" y="3236"/>
                      </a:cxn>
                      <a:cxn ang="0">
                        <a:pos x="2430" y="3404"/>
                      </a:cxn>
                      <a:cxn ang="0">
                        <a:pos x="1991" y="3433"/>
                      </a:cxn>
                      <a:cxn ang="0">
                        <a:pos x="1514" y="3328"/>
                      </a:cxn>
                      <a:cxn ang="0">
                        <a:pos x="1094" y="3089"/>
                      </a:cxn>
                      <a:cxn ang="0">
                        <a:pos x="760" y="2733"/>
                      </a:cxn>
                      <a:cxn ang="0">
                        <a:pos x="535" y="2546"/>
                      </a:cxn>
                      <a:cxn ang="0">
                        <a:pos x="376" y="2501"/>
                      </a:cxn>
                      <a:cxn ang="0">
                        <a:pos x="218" y="2335"/>
                      </a:cxn>
                      <a:cxn ang="0">
                        <a:pos x="181" y="2173"/>
                      </a:cxn>
                      <a:cxn ang="0">
                        <a:pos x="245" y="1963"/>
                      </a:cxn>
                      <a:cxn ang="0">
                        <a:pos x="472" y="1805"/>
                      </a:cxn>
                      <a:cxn ang="0">
                        <a:pos x="506" y="1474"/>
                      </a:cxn>
                      <a:cxn ang="0">
                        <a:pos x="615" y="1144"/>
                      </a:cxn>
                      <a:cxn ang="0">
                        <a:pos x="790" y="844"/>
                      </a:cxn>
                      <a:cxn ang="0">
                        <a:pos x="1000" y="611"/>
                      </a:cxn>
                      <a:cxn ang="0">
                        <a:pos x="1284" y="401"/>
                      </a:cxn>
                      <a:cxn ang="0">
                        <a:pos x="1602" y="259"/>
                      </a:cxn>
                      <a:cxn ang="0">
                        <a:pos x="1945" y="189"/>
                      </a:cxn>
                      <a:cxn ang="0">
                        <a:pos x="2284" y="191"/>
                      </a:cxn>
                      <a:cxn ang="0">
                        <a:pos x="2373" y="145"/>
                      </a:cxn>
                      <a:cxn ang="0">
                        <a:pos x="2381" y="76"/>
                      </a:cxn>
                      <a:cxn ang="0">
                        <a:pos x="2304" y="12"/>
                      </a:cxn>
                      <a:cxn ang="0">
                        <a:pos x="1928" y="9"/>
                      </a:cxn>
                      <a:cxn ang="0">
                        <a:pos x="1546" y="87"/>
                      </a:cxn>
                      <a:cxn ang="0">
                        <a:pos x="1192" y="245"/>
                      </a:cxn>
                      <a:cxn ang="0">
                        <a:pos x="877" y="477"/>
                      </a:cxn>
                      <a:cxn ang="0">
                        <a:pos x="651" y="727"/>
                      </a:cxn>
                      <a:cxn ang="0">
                        <a:pos x="460" y="1045"/>
                      </a:cxn>
                      <a:cxn ang="0">
                        <a:pos x="339" y="1396"/>
                      </a:cxn>
                      <a:cxn ang="0">
                        <a:pos x="266" y="1699"/>
                      </a:cxn>
                      <a:cxn ang="0">
                        <a:pos x="75" y="1895"/>
                      </a:cxn>
                      <a:cxn ang="0">
                        <a:pos x="0" y="2202"/>
                      </a:cxn>
                      <a:cxn ang="0">
                        <a:pos x="65" y="2433"/>
                      </a:cxn>
                      <a:cxn ang="0">
                        <a:pos x="217" y="2613"/>
                      </a:cxn>
                      <a:cxn ang="0">
                        <a:pos x="433" y="2714"/>
                      </a:cxn>
                      <a:cxn ang="0">
                        <a:pos x="676" y="2924"/>
                      </a:cxn>
                      <a:cxn ang="0">
                        <a:pos x="1056" y="3286"/>
                      </a:cxn>
                      <a:cxn ang="0">
                        <a:pos x="1521" y="3523"/>
                      </a:cxn>
                      <a:cxn ang="0">
                        <a:pos x="2042" y="3617"/>
                      </a:cxn>
                      <a:cxn ang="0">
                        <a:pos x="2524" y="3569"/>
                      </a:cxn>
                      <a:cxn ang="0">
                        <a:pos x="3029" y="3365"/>
                      </a:cxn>
                      <a:cxn ang="0">
                        <a:pos x="3381" y="3092"/>
                      </a:cxn>
                      <a:cxn ang="0">
                        <a:pos x="3654" y="2743"/>
                      </a:cxn>
                      <a:cxn ang="0">
                        <a:pos x="3857" y="2681"/>
                      </a:cxn>
                      <a:cxn ang="0">
                        <a:pos x="4009" y="2562"/>
                      </a:cxn>
                      <a:cxn ang="0">
                        <a:pos x="4127" y="2352"/>
                      </a:cxn>
                      <a:cxn ang="0">
                        <a:pos x="4146" y="2123"/>
                      </a:cxn>
                      <a:cxn ang="0">
                        <a:pos x="4033" y="1851"/>
                      </a:cxn>
                    </a:cxnLst>
                    <a:rect l="0" t="0" r="r" b="b"/>
                    <a:pathLst>
                      <a:path w="4151" h="3619">
                        <a:moveTo>
                          <a:pt x="3913" y="1737"/>
                        </a:moveTo>
                        <a:lnTo>
                          <a:pt x="3913" y="1737"/>
                        </a:lnTo>
                        <a:lnTo>
                          <a:pt x="3909" y="1669"/>
                        </a:lnTo>
                        <a:lnTo>
                          <a:pt x="3903" y="1602"/>
                        </a:lnTo>
                        <a:lnTo>
                          <a:pt x="3894" y="1537"/>
                        </a:lnTo>
                        <a:lnTo>
                          <a:pt x="3883" y="1472"/>
                        </a:lnTo>
                        <a:lnTo>
                          <a:pt x="3870" y="1407"/>
                        </a:lnTo>
                        <a:lnTo>
                          <a:pt x="3854" y="1342"/>
                        </a:lnTo>
                        <a:lnTo>
                          <a:pt x="3835" y="1280"/>
                        </a:lnTo>
                        <a:lnTo>
                          <a:pt x="3815" y="1216"/>
                        </a:lnTo>
                        <a:lnTo>
                          <a:pt x="3792" y="1154"/>
                        </a:lnTo>
                        <a:lnTo>
                          <a:pt x="3767" y="1093"/>
                        </a:lnTo>
                        <a:lnTo>
                          <a:pt x="3740" y="1032"/>
                        </a:lnTo>
                        <a:lnTo>
                          <a:pt x="3709" y="974"/>
                        </a:lnTo>
                        <a:lnTo>
                          <a:pt x="3677" y="915"/>
                        </a:lnTo>
                        <a:lnTo>
                          <a:pt x="3644" y="859"/>
                        </a:lnTo>
                        <a:lnTo>
                          <a:pt x="3608" y="802"/>
                        </a:lnTo>
                        <a:lnTo>
                          <a:pt x="3569" y="747"/>
                        </a:lnTo>
                        <a:lnTo>
                          <a:pt x="3569" y="747"/>
                        </a:lnTo>
                        <a:lnTo>
                          <a:pt x="3563" y="740"/>
                        </a:lnTo>
                        <a:lnTo>
                          <a:pt x="3557" y="733"/>
                        </a:lnTo>
                        <a:lnTo>
                          <a:pt x="3550" y="728"/>
                        </a:lnTo>
                        <a:lnTo>
                          <a:pt x="3543" y="723"/>
                        </a:lnTo>
                        <a:lnTo>
                          <a:pt x="3527" y="715"/>
                        </a:lnTo>
                        <a:lnTo>
                          <a:pt x="3510" y="711"/>
                        </a:lnTo>
                        <a:lnTo>
                          <a:pt x="3492" y="710"/>
                        </a:lnTo>
                        <a:lnTo>
                          <a:pt x="3475" y="712"/>
                        </a:lnTo>
                        <a:lnTo>
                          <a:pt x="3466" y="714"/>
                        </a:lnTo>
                        <a:lnTo>
                          <a:pt x="3459" y="718"/>
                        </a:lnTo>
                        <a:lnTo>
                          <a:pt x="3450" y="723"/>
                        </a:lnTo>
                        <a:lnTo>
                          <a:pt x="3443" y="727"/>
                        </a:lnTo>
                        <a:lnTo>
                          <a:pt x="3443" y="727"/>
                        </a:lnTo>
                        <a:lnTo>
                          <a:pt x="3436" y="733"/>
                        </a:lnTo>
                        <a:lnTo>
                          <a:pt x="3428" y="740"/>
                        </a:lnTo>
                        <a:lnTo>
                          <a:pt x="3423" y="746"/>
                        </a:lnTo>
                        <a:lnTo>
                          <a:pt x="3418" y="753"/>
                        </a:lnTo>
                        <a:lnTo>
                          <a:pt x="3411" y="769"/>
                        </a:lnTo>
                        <a:lnTo>
                          <a:pt x="3407" y="786"/>
                        </a:lnTo>
                        <a:lnTo>
                          <a:pt x="3405" y="804"/>
                        </a:lnTo>
                        <a:lnTo>
                          <a:pt x="3407" y="821"/>
                        </a:lnTo>
                        <a:lnTo>
                          <a:pt x="3410" y="830"/>
                        </a:lnTo>
                        <a:lnTo>
                          <a:pt x="3413" y="838"/>
                        </a:lnTo>
                        <a:lnTo>
                          <a:pt x="3417" y="846"/>
                        </a:lnTo>
                        <a:lnTo>
                          <a:pt x="3423" y="853"/>
                        </a:lnTo>
                        <a:lnTo>
                          <a:pt x="3423" y="853"/>
                        </a:lnTo>
                        <a:lnTo>
                          <a:pt x="3459" y="905"/>
                        </a:lnTo>
                        <a:lnTo>
                          <a:pt x="3492" y="958"/>
                        </a:lnTo>
                        <a:lnTo>
                          <a:pt x="3524" y="1012"/>
                        </a:lnTo>
                        <a:lnTo>
                          <a:pt x="3554" y="1067"/>
                        </a:lnTo>
                        <a:lnTo>
                          <a:pt x="3582" y="1123"/>
                        </a:lnTo>
                        <a:lnTo>
                          <a:pt x="3606" y="1180"/>
                        </a:lnTo>
                        <a:lnTo>
                          <a:pt x="3630" y="1238"/>
                        </a:lnTo>
                        <a:lnTo>
                          <a:pt x="3650" y="1297"/>
                        </a:lnTo>
                        <a:lnTo>
                          <a:pt x="3669" y="1356"/>
                        </a:lnTo>
                        <a:lnTo>
                          <a:pt x="3685" y="1416"/>
                        </a:lnTo>
                        <a:lnTo>
                          <a:pt x="3699" y="1477"/>
                        </a:lnTo>
                        <a:lnTo>
                          <a:pt x="3711" y="1537"/>
                        </a:lnTo>
                        <a:lnTo>
                          <a:pt x="3719" y="1600"/>
                        </a:lnTo>
                        <a:lnTo>
                          <a:pt x="3727" y="1662"/>
                        </a:lnTo>
                        <a:lnTo>
                          <a:pt x="3731" y="1725"/>
                        </a:lnTo>
                        <a:lnTo>
                          <a:pt x="3732" y="1788"/>
                        </a:lnTo>
                        <a:lnTo>
                          <a:pt x="3734" y="1840"/>
                        </a:lnTo>
                        <a:lnTo>
                          <a:pt x="3779" y="1866"/>
                        </a:lnTo>
                        <a:lnTo>
                          <a:pt x="3779" y="1866"/>
                        </a:lnTo>
                        <a:lnTo>
                          <a:pt x="3800" y="1879"/>
                        </a:lnTo>
                        <a:lnTo>
                          <a:pt x="3821" y="1893"/>
                        </a:lnTo>
                        <a:lnTo>
                          <a:pt x="3839" y="1909"/>
                        </a:lnTo>
                        <a:lnTo>
                          <a:pt x="3858" y="1925"/>
                        </a:lnTo>
                        <a:lnTo>
                          <a:pt x="3876" y="1944"/>
                        </a:lnTo>
                        <a:lnTo>
                          <a:pt x="3892" y="1963"/>
                        </a:lnTo>
                        <a:lnTo>
                          <a:pt x="3905" y="1983"/>
                        </a:lnTo>
                        <a:lnTo>
                          <a:pt x="3918" y="2003"/>
                        </a:lnTo>
                        <a:lnTo>
                          <a:pt x="3931" y="2025"/>
                        </a:lnTo>
                        <a:lnTo>
                          <a:pt x="3941" y="2047"/>
                        </a:lnTo>
                        <a:lnTo>
                          <a:pt x="3949" y="2070"/>
                        </a:lnTo>
                        <a:lnTo>
                          <a:pt x="3957" y="2093"/>
                        </a:lnTo>
                        <a:lnTo>
                          <a:pt x="3963" y="2118"/>
                        </a:lnTo>
                        <a:lnTo>
                          <a:pt x="3967" y="2142"/>
                        </a:lnTo>
                        <a:lnTo>
                          <a:pt x="3968" y="2167"/>
                        </a:lnTo>
                        <a:lnTo>
                          <a:pt x="3970" y="2192"/>
                        </a:lnTo>
                        <a:lnTo>
                          <a:pt x="3970" y="2192"/>
                        </a:lnTo>
                        <a:lnTo>
                          <a:pt x="3970" y="2210"/>
                        </a:lnTo>
                        <a:lnTo>
                          <a:pt x="3968" y="2228"/>
                        </a:lnTo>
                        <a:lnTo>
                          <a:pt x="3965" y="2247"/>
                        </a:lnTo>
                        <a:lnTo>
                          <a:pt x="3963" y="2264"/>
                        </a:lnTo>
                        <a:lnTo>
                          <a:pt x="3958" y="2283"/>
                        </a:lnTo>
                        <a:lnTo>
                          <a:pt x="3954" y="2300"/>
                        </a:lnTo>
                        <a:lnTo>
                          <a:pt x="3948" y="2316"/>
                        </a:lnTo>
                        <a:lnTo>
                          <a:pt x="3942" y="2333"/>
                        </a:lnTo>
                        <a:lnTo>
                          <a:pt x="3935" y="2351"/>
                        </a:lnTo>
                        <a:lnTo>
                          <a:pt x="3926" y="2367"/>
                        </a:lnTo>
                        <a:lnTo>
                          <a:pt x="3918" y="2383"/>
                        </a:lnTo>
                        <a:lnTo>
                          <a:pt x="3908" y="2397"/>
                        </a:lnTo>
                        <a:lnTo>
                          <a:pt x="3897" y="2411"/>
                        </a:lnTo>
                        <a:lnTo>
                          <a:pt x="3886" y="2426"/>
                        </a:lnTo>
                        <a:lnTo>
                          <a:pt x="3874" y="2440"/>
                        </a:lnTo>
                        <a:lnTo>
                          <a:pt x="3861" y="2453"/>
                        </a:lnTo>
                        <a:lnTo>
                          <a:pt x="3861" y="2453"/>
                        </a:lnTo>
                        <a:lnTo>
                          <a:pt x="3848" y="2466"/>
                        </a:lnTo>
                        <a:lnTo>
                          <a:pt x="3834" y="2480"/>
                        </a:lnTo>
                        <a:lnTo>
                          <a:pt x="3821" y="2490"/>
                        </a:lnTo>
                        <a:lnTo>
                          <a:pt x="3805" y="2501"/>
                        </a:lnTo>
                        <a:lnTo>
                          <a:pt x="3790" y="2510"/>
                        </a:lnTo>
                        <a:lnTo>
                          <a:pt x="3774" y="2520"/>
                        </a:lnTo>
                        <a:lnTo>
                          <a:pt x="3758" y="2527"/>
                        </a:lnTo>
                        <a:lnTo>
                          <a:pt x="3741" y="2536"/>
                        </a:lnTo>
                        <a:lnTo>
                          <a:pt x="3725" y="2542"/>
                        </a:lnTo>
                        <a:lnTo>
                          <a:pt x="3708" y="2548"/>
                        </a:lnTo>
                        <a:lnTo>
                          <a:pt x="3690" y="2553"/>
                        </a:lnTo>
                        <a:lnTo>
                          <a:pt x="3673" y="2556"/>
                        </a:lnTo>
                        <a:lnTo>
                          <a:pt x="3656" y="2561"/>
                        </a:lnTo>
                        <a:lnTo>
                          <a:pt x="3637" y="2562"/>
                        </a:lnTo>
                        <a:lnTo>
                          <a:pt x="3618" y="2563"/>
                        </a:lnTo>
                        <a:lnTo>
                          <a:pt x="3601" y="2565"/>
                        </a:lnTo>
                        <a:lnTo>
                          <a:pt x="3549" y="2565"/>
                        </a:lnTo>
                        <a:lnTo>
                          <a:pt x="3523" y="2611"/>
                        </a:lnTo>
                        <a:lnTo>
                          <a:pt x="3523" y="2611"/>
                        </a:lnTo>
                        <a:lnTo>
                          <a:pt x="3495" y="2656"/>
                        </a:lnTo>
                        <a:lnTo>
                          <a:pt x="3468" y="2701"/>
                        </a:lnTo>
                        <a:lnTo>
                          <a:pt x="3437" y="2744"/>
                        </a:lnTo>
                        <a:lnTo>
                          <a:pt x="3405" y="2788"/>
                        </a:lnTo>
                        <a:lnTo>
                          <a:pt x="3373" y="2830"/>
                        </a:lnTo>
                        <a:lnTo>
                          <a:pt x="3340" y="2870"/>
                        </a:lnTo>
                        <a:lnTo>
                          <a:pt x="3304" y="2909"/>
                        </a:lnTo>
                        <a:lnTo>
                          <a:pt x="3268" y="2948"/>
                        </a:lnTo>
                        <a:lnTo>
                          <a:pt x="3230" y="2985"/>
                        </a:lnTo>
                        <a:lnTo>
                          <a:pt x="3191" y="3021"/>
                        </a:lnTo>
                        <a:lnTo>
                          <a:pt x="3152" y="3056"/>
                        </a:lnTo>
                        <a:lnTo>
                          <a:pt x="3110" y="3089"/>
                        </a:lnTo>
                        <a:lnTo>
                          <a:pt x="3068" y="3122"/>
                        </a:lnTo>
                        <a:lnTo>
                          <a:pt x="3025" y="3152"/>
                        </a:lnTo>
                        <a:lnTo>
                          <a:pt x="2981" y="3181"/>
                        </a:lnTo>
                        <a:lnTo>
                          <a:pt x="2935" y="3209"/>
                        </a:lnTo>
                        <a:lnTo>
                          <a:pt x="2935" y="3209"/>
                        </a:lnTo>
                        <a:lnTo>
                          <a:pt x="2889" y="3236"/>
                        </a:lnTo>
                        <a:lnTo>
                          <a:pt x="2839" y="3262"/>
                        </a:lnTo>
                        <a:lnTo>
                          <a:pt x="2790" y="3286"/>
                        </a:lnTo>
                        <a:lnTo>
                          <a:pt x="2741" y="3309"/>
                        </a:lnTo>
                        <a:lnTo>
                          <a:pt x="2690" y="3329"/>
                        </a:lnTo>
                        <a:lnTo>
                          <a:pt x="2640" y="3348"/>
                        </a:lnTo>
                        <a:lnTo>
                          <a:pt x="2588" y="3364"/>
                        </a:lnTo>
                        <a:lnTo>
                          <a:pt x="2536" y="3380"/>
                        </a:lnTo>
                        <a:lnTo>
                          <a:pt x="2482" y="3393"/>
                        </a:lnTo>
                        <a:lnTo>
                          <a:pt x="2430" y="3404"/>
                        </a:lnTo>
                        <a:lnTo>
                          <a:pt x="2375" y="3414"/>
                        </a:lnTo>
                        <a:lnTo>
                          <a:pt x="2321" y="3423"/>
                        </a:lnTo>
                        <a:lnTo>
                          <a:pt x="2268" y="3429"/>
                        </a:lnTo>
                        <a:lnTo>
                          <a:pt x="2213" y="3435"/>
                        </a:lnTo>
                        <a:lnTo>
                          <a:pt x="2158" y="3436"/>
                        </a:lnTo>
                        <a:lnTo>
                          <a:pt x="2103" y="3438"/>
                        </a:lnTo>
                        <a:lnTo>
                          <a:pt x="2103" y="3438"/>
                        </a:lnTo>
                        <a:lnTo>
                          <a:pt x="2046" y="3436"/>
                        </a:lnTo>
                        <a:lnTo>
                          <a:pt x="1991" y="3433"/>
                        </a:lnTo>
                        <a:lnTo>
                          <a:pt x="1936" y="3429"/>
                        </a:lnTo>
                        <a:lnTo>
                          <a:pt x="1881" y="3423"/>
                        </a:lnTo>
                        <a:lnTo>
                          <a:pt x="1828" y="3414"/>
                        </a:lnTo>
                        <a:lnTo>
                          <a:pt x="1774" y="3404"/>
                        </a:lnTo>
                        <a:lnTo>
                          <a:pt x="1721" y="3393"/>
                        </a:lnTo>
                        <a:lnTo>
                          <a:pt x="1669" y="3378"/>
                        </a:lnTo>
                        <a:lnTo>
                          <a:pt x="1617" y="3364"/>
                        </a:lnTo>
                        <a:lnTo>
                          <a:pt x="1564" y="3346"/>
                        </a:lnTo>
                        <a:lnTo>
                          <a:pt x="1514" y="3328"/>
                        </a:lnTo>
                        <a:lnTo>
                          <a:pt x="1465" y="3307"/>
                        </a:lnTo>
                        <a:lnTo>
                          <a:pt x="1415" y="3286"/>
                        </a:lnTo>
                        <a:lnTo>
                          <a:pt x="1366" y="3262"/>
                        </a:lnTo>
                        <a:lnTo>
                          <a:pt x="1318" y="3236"/>
                        </a:lnTo>
                        <a:lnTo>
                          <a:pt x="1272" y="3210"/>
                        </a:lnTo>
                        <a:lnTo>
                          <a:pt x="1226" y="3183"/>
                        </a:lnTo>
                        <a:lnTo>
                          <a:pt x="1181" y="3152"/>
                        </a:lnTo>
                        <a:lnTo>
                          <a:pt x="1137" y="3122"/>
                        </a:lnTo>
                        <a:lnTo>
                          <a:pt x="1094" y="3089"/>
                        </a:lnTo>
                        <a:lnTo>
                          <a:pt x="1052" y="3054"/>
                        </a:lnTo>
                        <a:lnTo>
                          <a:pt x="1012" y="3019"/>
                        </a:lnTo>
                        <a:lnTo>
                          <a:pt x="972" y="2982"/>
                        </a:lnTo>
                        <a:lnTo>
                          <a:pt x="933" y="2944"/>
                        </a:lnTo>
                        <a:lnTo>
                          <a:pt x="896" y="2905"/>
                        </a:lnTo>
                        <a:lnTo>
                          <a:pt x="860" y="2863"/>
                        </a:lnTo>
                        <a:lnTo>
                          <a:pt x="825" y="2821"/>
                        </a:lnTo>
                        <a:lnTo>
                          <a:pt x="792" y="2778"/>
                        </a:lnTo>
                        <a:lnTo>
                          <a:pt x="760" y="2733"/>
                        </a:lnTo>
                        <a:lnTo>
                          <a:pt x="729" y="2688"/>
                        </a:lnTo>
                        <a:lnTo>
                          <a:pt x="700" y="2640"/>
                        </a:lnTo>
                        <a:lnTo>
                          <a:pt x="673" y="2592"/>
                        </a:lnTo>
                        <a:lnTo>
                          <a:pt x="644" y="2540"/>
                        </a:lnTo>
                        <a:lnTo>
                          <a:pt x="586" y="2545"/>
                        </a:lnTo>
                        <a:lnTo>
                          <a:pt x="586" y="2545"/>
                        </a:lnTo>
                        <a:lnTo>
                          <a:pt x="554" y="2546"/>
                        </a:lnTo>
                        <a:lnTo>
                          <a:pt x="554" y="2546"/>
                        </a:lnTo>
                        <a:lnTo>
                          <a:pt x="535" y="2546"/>
                        </a:lnTo>
                        <a:lnTo>
                          <a:pt x="517" y="2545"/>
                        </a:lnTo>
                        <a:lnTo>
                          <a:pt x="498" y="2542"/>
                        </a:lnTo>
                        <a:lnTo>
                          <a:pt x="479" y="2539"/>
                        </a:lnTo>
                        <a:lnTo>
                          <a:pt x="462" y="2535"/>
                        </a:lnTo>
                        <a:lnTo>
                          <a:pt x="444" y="2530"/>
                        </a:lnTo>
                        <a:lnTo>
                          <a:pt x="427" y="2524"/>
                        </a:lnTo>
                        <a:lnTo>
                          <a:pt x="410" y="2517"/>
                        </a:lnTo>
                        <a:lnTo>
                          <a:pt x="394" y="2510"/>
                        </a:lnTo>
                        <a:lnTo>
                          <a:pt x="376" y="2501"/>
                        </a:lnTo>
                        <a:lnTo>
                          <a:pt x="362" y="2493"/>
                        </a:lnTo>
                        <a:lnTo>
                          <a:pt x="346" y="2482"/>
                        </a:lnTo>
                        <a:lnTo>
                          <a:pt x="317" y="2461"/>
                        </a:lnTo>
                        <a:lnTo>
                          <a:pt x="291" y="2438"/>
                        </a:lnTo>
                        <a:lnTo>
                          <a:pt x="266" y="2410"/>
                        </a:lnTo>
                        <a:lnTo>
                          <a:pt x="245" y="2383"/>
                        </a:lnTo>
                        <a:lnTo>
                          <a:pt x="236" y="2367"/>
                        </a:lnTo>
                        <a:lnTo>
                          <a:pt x="226" y="2351"/>
                        </a:lnTo>
                        <a:lnTo>
                          <a:pt x="218" y="2335"/>
                        </a:lnTo>
                        <a:lnTo>
                          <a:pt x="211" y="2319"/>
                        </a:lnTo>
                        <a:lnTo>
                          <a:pt x="204" y="2302"/>
                        </a:lnTo>
                        <a:lnTo>
                          <a:pt x="198" y="2284"/>
                        </a:lnTo>
                        <a:lnTo>
                          <a:pt x="192" y="2267"/>
                        </a:lnTo>
                        <a:lnTo>
                          <a:pt x="188" y="2248"/>
                        </a:lnTo>
                        <a:lnTo>
                          <a:pt x="185" y="2231"/>
                        </a:lnTo>
                        <a:lnTo>
                          <a:pt x="184" y="2212"/>
                        </a:lnTo>
                        <a:lnTo>
                          <a:pt x="182" y="2193"/>
                        </a:lnTo>
                        <a:lnTo>
                          <a:pt x="181" y="2173"/>
                        </a:lnTo>
                        <a:lnTo>
                          <a:pt x="181" y="2173"/>
                        </a:lnTo>
                        <a:lnTo>
                          <a:pt x="182" y="2145"/>
                        </a:lnTo>
                        <a:lnTo>
                          <a:pt x="185" y="2116"/>
                        </a:lnTo>
                        <a:lnTo>
                          <a:pt x="191" y="2089"/>
                        </a:lnTo>
                        <a:lnTo>
                          <a:pt x="198" y="2063"/>
                        </a:lnTo>
                        <a:lnTo>
                          <a:pt x="207" y="2037"/>
                        </a:lnTo>
                        <a:lnTo>
                          <a:pt x="218" y="2011"/>
                        </a:lnTo>
                        <a:lnTo>
                          <a:pt x="230" y="1987"/>
                        </a:lnTo>
                        <a:lnTo>
                          <a:pt x="245" y="1963"/>
                        </a:lnTo>
                        <a:lnTo>
                          <a:pt x="262" y="1941"/>
                        </a:lnTo>
                        <a:lnTo>
                          <a:pt x="279" y="1921"/>
                        </a:lnTo>
                        <a:lnTo>
                          <a:pt x="298" y="1901"/>
                        </a:lnTo>
                        <a:lnTo>
                          <a:pt x="320" y="1883"/>
                        </a:lnTo>
                        <a:lnTo>
                          <a:pt x="341" y="1866"/>
                        </a:lnTo>
                        <a:lnTo>
                          <a:pt x="366" y="1851"/>
                        </a:lnTo>
                        <a:lnTo>
                          <a:pt x="391" y="1838"/>
                        </a:lnTo>
                        <a:lnTo>
                          <a:pt x="417" y="1827"/>
                        </a:lnTo>
                        <a:lnTo>
                          <a:pt x="472" y="1805"/>
                        </a:lnTo>
                        <a:lnTo>
                          <a:pt x="473" y="1746"/>
                        </a:lnTo>
                        <a:lnTo>
                          <a:pt x="473" y="1746"/>
                        </a:lnTo>
                        <a:lnTo>
                          <a:pt x="476" y="1707"/>
                        </a:lnTo>
                        <a:lnTo>
                          <a:pt x="479" y="1668"/>
                        </a:lnTo>
                        <a:lnTo>
                          <a:pt x="482" y="1629"/>
                        </a:lnTo>
                        <a:lnTo>
                          <a:pt x="488" y="1589"/>
                        </a:lnTo>
                        <a:lnTo>
                          <a:pt x="493" y="1550"/>
                        </a:lnTo>
                        <a:lnTo>
                          <a:pt x="499" y="1513"/>
                        </a:lnTo>
                        <a:lnTo>
                          <a:pt x="506" y="1474"/>
                        </a:lnTo>
                        <a:lnTo>
                          <a:pt x="515" y="1436"/>
                        </a:lnTo>
                        <a:lnTo>
                          <a:pt x="525" y="1398"/>
                        </a:lnTo>
                        <a:lnTo>
                          <a:pt x="535" y="1361"/>
                        </a:lnTo>
                        <a:lnTo>
                          <a:pt x="546" y="1325"/>
                        </a:lnTo>
                        <a:lnTo>
                          <a:pt x="559" y="1287"/>
                        </a:lnTo>
                        <a:lnTo>
                          <a:pt x="570" y="1251"/>
                        </a:lnTo>
                        <a:lnTo>
                          <a:pt x="585" y="1215"/>
                        </a:lnTo>
                        <a:lnTo>
                          <a:pt x="599" y="1178"/>
                        </a:lnTo>
                        <a:lnTo>
                          <a:pt x="615" y="1144"/>
                        </a:lnTo>
                        <a:lnTo>
                          <a:pt x="631" y="1109"/>
                        </a:lnTo>
                        <a:lnTo>
                          <a:pt x="648" y="1074"/>
                        </a:lnTo>
                        <a:lnTo>
                          <a:pt x="666" y="1040"/>
                        </a:lnTo>
                        <a:lnTo>
                          <a:pt x="684" y="1006"/>
                        </a:lnTo>
                        <a:lnTo>
                          <a:pt x="703" y="973"/>
                        </a:lnTo>
                        <a:lnTo>
                          <a:pt x="724" y="940"/>
                        </a:lnTo>
                        <a:lnTo>
                          <a:pt x="745" y="908"/>
                        </a:lnTo>
                        <a:lnTo>
                          <a:pt x="767" y="876"/>
                        </a:lnTo>
                        <a:lnTo>
                          <a:pt x="790" y="844"/>
                        </a:lnTo>
                        <a:lnTo>
                          <a:pt x="813" y="812"/>
                        </a:lnTo>
                        <a:lnTo>
                          <a:pt x="838" y="782"/>
                        </a:lnTo>
                        <a:lnTo>
                          <a:pt x="863" y="751"/>
                        </a:lnTo>
                        <a:lnTo>
                          <a:pt x="889" y="723"/>
                        </a:lnTo>
                        <a:lnTo>
                          <a:pt x="916" y="694"/>
                        </a:lnTo>
                        <a:lnTo>
                          <a:pt x="944" y="665"/>
                        </a:lnTo>
                        <a:lnTo>
                          <a:pt x="971" y="637"/>
                        </a:lnTo>
                        <a:lnTo>
                          <a:pt x="971" y="637"/>
                        </a:lnTo>
                        <a:lnTo>
                          <a:pt x="1000" y="611"/>
                        </a:lnTo>
                        <a:lnTo>
                          <a:pt x="1029" y="584"/>
                        </a:lnTo>
                        <a:lnTo>
                          <a:pt x="1059" y="559"/>
                        </a:lnTo>
                        <a:lnTo>
                          <a:pt x="1090" y="533"/>
                        </a:lnTo>
                        <a:lnTo>
                          <a:pt x="1122" y="510"/>
                        </a:lnTo>
                        <a:lnTo>
                          <a:pt x="1152" y="487"/>
                        </a:lnTo>
                        <a:lnTo>
                          <a:pt x="1185" y="463"/>
                        </a:lnTo>
                        <a:lnTo>
                          <a:pt x="1217" y="442"/>
                        </a:lnTo>
                        <a:lnTo>
                          <a:pt x="1250" y="422"/>
                        </a:lnTo>
                        <a:lnTo>
                          <a:pt x="1284" y="401"/>
                        </a:lnTo>
                        <a:lnTo>
                          <a:pt x="1317" y="382"/>
                        </a:lnTo>
                        <a:lnTo>
                          <a:pt x="1352" y="364"/>
                        </a:lnTo>
                        <a:lnTo>
                          <a:pt x="1386" y="346"/>
                        </a:lnTo>
                        <a:lnTo>
                          <a:pt x="1421" y="330"/>
                        </a:lnTo>
                        <a:lnTo>
                          <a:pt x="1456" y="314"/>
                        </a:lnTo>
                        <a:lnTo>
                          <a:pt x="1492" y="300"/>
                        </a:lnTo>
                        <a:lnTo>
                          <a:pt x="1528" y="285"/>
                        </a:lnTo>
                        <a:lnTo>
                          <a:pt x="1564" y="272"/>
                        </a:lnTo>
                        <a:lnTo>
                          <a:pt x="1602" y="259"/>
                        </a:lnTo>
                        <a:lnTo>
                          <a:pt x="1638" y="248"/>
                        </a:lnTo>
                        <a:lnTo>
                          <a:pt x="1676" y="238"/>
                        </a:lnTo>
                        <a:lnTo>
                          <a:pt x="1713" y="228"/>
                        </a:lnTo>
                        <a:lnTo>
                          <a:pt x="1751" y="219"/>
                        </a:lnTo>
                        <a:lnTo>
                          <a:pt x="1790" y="212"/>
                        </a:lnTo>
                        <a:lnTo>
                          <a:pt x="1828" y="204"/>
                        </a:lnTo>
                        <a:lnTo>
                          <a:pt x="1867" y="199"/>
                        </a:lnTo>
                        <a:lnTo>
                          <a:pt x="1906" y="193"/>
                        </a:lnTo>
                        <a:lnTo>
                          <a:pt x="1945" y="189"/>
                        </a:lnTo>
                        <a:lnTo>
                          <a:pt x="1984" y="186"/>
                        </a:lnTo>
                        <a:lnTo>
                          <a:pt x="2023" y="183"/>
                        </a:lnTo>
                        <a:lnTo>
                          <a:pt x="2062" y="183"/>
                        </a:lnTo>
                        <a:lnTo>
                          <a:pt x="2103" y="181"/>
                        </a:lnTo>
                        <a:lnTo>
                          <a:pt x="2103" y="181"/>
                        </a:lnTo>
                        <a:lnTo>
                          <a:pt x="2148" y="183"/>
                        </a:lnTo>
                        <a:lnTo>
                          <a:pt x="2194" y="184"/>
                        </a:lnTo>
                        <a:lnTo>
                          <a:pt x="2239" y="187"/>
                        </a:lnTo>
                        <a:lnTo>
                          <a:pt x="2284" y="191"/>
                        </a:lnTo>
                        <a:lnTo>
                          <a:pt x="2284" y="191"/>
                        </a:lnTo>
                        <a:lnTo>
                          <a:pt x="2294" y="191"/>
                        </a:lnTo>
                        <a:lnTo>
                          <a:pt x="2303" y="191"/>
                        </a:lnTo>
                        <a:lnTo>
                          <a:pt x="2311" y="190"/>
                        </a:lnTo>
                        <a:lnTo>
                          <a:pt x="2320" y="189"/>
                        </a:lnTo>
                        <a:lnTo>
                          <a:pt x="2336" y="181"/>
                        </a:lnTo>
                        <a:lnTo>
                          <a:pt x="2350" y="173"/>
                        </a:lnTo>
                        <a:lnTo>
                          <a:pt x="2363" y="160"/>
                        </a:lnTo>
                        <a:lnTo>
                          <a:pt x="2373" y="145"/>
                        </a:lnTo>
                        <a:lnTo>
                          <a:pt x="2376" y="138"/>
                        </a:lnTo>
                        <a:lnTo>
                          <a:pt x="2381" y="129"/>
                        </a:lnTo>
                        <a:lnTo>
                          <a:pt x="2382" y="120"/>
                        </a:lnTo>
                        <a:lnTo>
                          <a:pt x="2384" y="112"/>
                        </a:lnTo>
                        <a:lnTo>
                          <a:pt x="2384" y="112"/>
                        </a:lnTo>
                        <a:lnTo>
                          <a:pt x="2385" y="102"/>
                        </a:lnTo>
                        <a:lnTo>
                          <a:pt x="2384" y="93"/>
                        </a:lnTo>
                        <a:lnTo>
                          <a:pt x="2384" y="84"/>
                        </a:lnTo>
                        <a:lnTo>
                          <a:pt x="2381" y="76"/>
                        </a:lnTo>
                        <a:lnTo>
                          <a:pt x="2373" y="60"/>
                        </a:lnTo>
                        <a:lnTo>
                          <a:pt x="2365" y="45"/>
                        </a:lnTo>
                        <a:lnTo>
                          <a:pt x="2353" y="32"/>
                        </a:lnTo>
                        <a:lnTo>
                          <a:pt x="2339" y="22"/>
                        </a:lnTo>
                        <a:lnTo>
                          <a:pt x="2330" y="19"/>
                        </a:lnTo>
                        <a:lnTo>
                          <a:pt x="2321" y="15"/>
                        </a:lnTo>
                        <a:lnTo>
                          <a:pt x="2313" y="13"/>
                        </a:lnTo>
                        <a:lnTo>
                          <a:pt x="2304" y="12"/>
                        </a:lnTo>
                        <a:lnTo>
                          <a:pt x="2304" y="12"/>
                        </a:lnTo>
                        <a:lnTo>
                          <a:pt x="2253" y="6"/>
                        </a:lnTo>
                        <a:lnTo>
                          <a:pt x="2204" y="3"/>
                        </a:lnTo>
                        <a:lnTo>
                          <a:pt x="2153" y="2"/>
                        </a:lnTo>
                        <a:lnTo>
                          <a:pt x="2103" y="0"/>
                        </a:lnTo>
                        <a:lnTo>
                          <a:pt x="2103" y="0"/>
                        </a:lnTo>
                        <a:lnTo>
                          <a:pt x="2058" y="0"/>
                        </a:lnTo>
                        <a:lnTo>
                          <a:pt x="2015" y="3"/>
                        </a:lnTo>
                        <a:lnTo>
                          <a:pt x="1971" y="5"/>
                        </a:lnTo>
                        <a:lnTo>
                          <a:pt x="1928" y="9"/>
                        </a:lnTo>
                        <a:lnTo>
                          <a:pt x="1884" y="13"/>
                        </a:lnTo>
                        <a:lnTo>
                          <a:pt x="1841" y="19"/>
                        </a:lnTo>
                        <a:lnTo>
                          <a:pt x="1797" y="26"/>
                        </a:lnTo>
                        <a:lnTo>
                          <a:pt x="1755" y="34"/>
                        </a:lnTo>
                        <a:lnTo>
                          <a:pt x="1712" y="42"/>
                        </a:lnTo>
                        <a:lnTo>
                          <a:pt x="1670" y="52"/>
                        </a:lnTo>
                        <a:lnTo>
                          <a:pt x="1628" y="63"/>
                        </a:lnTo>
                        <a:lnTo>
                          <a:pt x="1588" y="74"/>
                        </a:lnTo>
                        <a:lnTo>
                          <a:pt x="1546" y="87"/>
                        </a:lnTo>
                        <a:lnTo>
                          <a:pt x="1505" y="102"/>
                        </a:lnTo>
                        <a:lnTo>
                          <a:pt x="1465" y="116"/>
                        </a:lnTo>
                        <a:lnTo>
                          <a:pt x="1424" y="131"/>
                        </a:lnTo>
                        <a:lnTo>
                          <a:pt x="1385" y="148"/>
                        </a:lnTo>
                        <a:lnTo>
                          <a:pt x="1346" y="165"/>
                        </a:lnTo>
                        <a:lnTo>
                          <a:pt x="1307" y="184"/>
                        </a:lnTo>
                        <a:lnTo>
                          <a:pt x="1268" y="203"/>
                        </a:lnTo>
                        <a:lnTo>
                          <a:pt x="1230" y="223"/>
                        </a:lnTo>
                        <a:lnTo>
                          <a:pt x="1192" y="245"/>
                        </a:lnTo>
                        <a:lnTo>
                          <a:pt x="1155" y="267"/>
                        </a:lnTo>
                        <a:lnTo>
                          <a:pt x="1119" y="290"/>
                        </a:lnTo>
                        <a:lnTo>
                          <a:pt x="1082" y="314"/>
                        </a:lnTo>
                        <a:lnTo>
                          <a:pt x="1046" y="339"/>
                        </a:lnTo>
                        <a:lnTo>
                          <a:pt x="1012" y="365"/>
                        </a:lnTo>
                        <a:lnTo>
                          <a:pt x="977" y="391"/>
                        </a:lnTo>
                        <a:lnTo>
                          <a:pt x="944" y="419"/>
                        </a:lnTo>
                        <a:lnTo>
                          <a:pt x="910" y="448"/>
                        </a:lnTo>
                        <a:lnTo>
                          <a:pt x="877" y="477"/>
                        </a:lnTo>
                        <a:lnTo>
                          <a:pt x="845" y="507"/>
                        </a:lnTo>
                        <a:lnTo>
                          <a:pt x="845" y="507"/>
                        </a:lnTo>
                        <a:lnTo>
                          <a:pt x="815" y="537"/>
                        </a:lnTo>
                        <a:lnTo>
                          <a:pt x="786" y="568"/>
                        </a:lnTo>
                        <a:lnTo>
                          <a:pt x="757" y="598"/>
                        </a:lnTo>
                        <a:lnTo>
                          <a:pt x="729" y="630"/>
                        </a:lnTo>
                        <a:lnTo>
                          <a:pt x="703" y="662"/>
                        </a:lnTo>
                        <a:lnTo>
                          <a:pt x="677" y="694"/>
                        </a:lnTo>
                        <a:lnTo>
                          <a:pt x="651" y="727"/>
                        </a:lnTo>
                        <a:lnTo>
                          <a:pt x="627" y="760"/>
                        </a:lnTo>
                        <a:lnTo>
                          <a:pt x="603" y="793"/>
                        </a:lnTo>
                        <a:lnTo>
                          <a:pt x="580" y="828"/>
                        </a:lnTo>
                        <a:lnTo>
                          <a:pt x="559" y="863"/>
                        </a:lnTo>
                        <a:lnTo>
                          <a:pt x="537" y="899"/>
                        </a:lnTo>
                        <a:lnTo>
                          <a:pt x="517" y="935"/>
                        </a:lnTo>
                        <a:lnTo>
                          <a:pt x="496" y="971"/>
                        </a:lnTo>
                        <a:lnTo>
                          <a:pt x="478" y="1008"/>
                        </a:lnTo>
                        <a:lnTo>
                          <a:pt x="460" y="1045"/>
                        </a:lnTo>
                        <a:lnTo>
                          <a:pt x="443" y="1083"/>
                        </a:lnTo>
                        <a:lnTo>
                          <a:pt x="427" y="1121"/>
                        </a:lnTo>
                        <a:lnTo>
                          <a:pt x="412" y="1158"/>
                        </a:lnTo>
                        <a:lnTo>
                          <a:pt x="398" y="1197"/>
                        </a:lnTo>
                        <a:lnTo>
                          <a:pt x="383" y="1236"/>
                        </a:lnTo>
                        <a:lnTo>
                          <a:pt x="372" y="1275"/>
                        </a:lnTo>
                        <a:lnTo>
                          <a:pt x="360" y="1314"/>
                        </a:lnTo>
                        <a:lnTo>
                          <a:pt x="349" y="1355"/>
                        </a:lnTo>
                        <a:lnTo>
                          <a:pt x="339" y="1396"/>
                        </a:lnTo>
                        <a:lnTo>
                          <a:pt x="330" y="1436"/>
                        </a:lnTo>
                        <a:lnTo>
                          <a:pt x="321" y="1477"/>
                        </a:lnTo>
                        <a:lnTo>
                          <a:pt x="315" y="1517"/>
                        </a:lnTo>
                        <a:lnTo>
                          <a:pt x="308" y="1558"/>
                        </a:lnTo>
                        <a:lnTo>
                          <a:pt x="304" y="1600"/>
                        </a:lnTo>
                        <a:lnTo>
                          <a:pt x="300" y="1642"/>
                        </a:lnTo>
                        <a:lnTo>
                          <a:pt x="295" y="1684"/>
                        </a:lnTo>
                        <a:lnTo>
                          <a:pt x="295" y="1684"/>
                        </a:lnTo>
                        <a:lnTo>
                          <a:pt x="266" y="1699"/>
                        </a:lnTo>
                        <a:lnTo>
                          <a:pt x="239" y="1718"/>
                        </a:lnTo>
                        <a:lnTo>
                          <a:pt x="211" y="1737"/>
                        </a:lnTo>
                        <a:lnTo>
                          <a:pt x="187" y="1759"/>
                        </a:lnTo>
                        <a:lnTo>
                          <a:pt x="162" y="1782"/>
                        </a:lnTo>
                        <a:lnTo>
                          <a:pt x="139" y="1805"/>
                        </a:lnTo>
                        <a:lnTo>
                          <a:pt x="119" y="1831"/>
                        </a:lnTo>
                        <a:lnTo>
                          <a:pt x="98" y="1859"/>
                        </a:lnTo>
                        <a:lnTo>
                          <a:pt x="98" y="1859"/>
                        </a:lnTo>
                        <a:lnTo>
                          <a:pt x="75" y="1895"/>
                        </a:lnTo>
                        <a:lnTo>
                          <a:pt x="55" y="1931"/>
                        </a:lnTo>
                        <a:lnTo>
                          <a:pt x="39" y="1969"/>
                        </a:lnTo>
                        <a:lnTo>
                          <a:pt x="25" y="2008"/>
                        </a:lnTo>
                        <a:lnTo>
                          <a:pt x="14" y="2048"/>
                        </a:lnTo>
                        <a:lnTo>
                          <a:pt x="6" y="2090"/>
                        </a:lnTo>
                        <a:lnTo>
                          <a:pt x="1" y="2131"/>
                        </a:lnTo>
                        <a:lnTo>
                          <a:pt x="0" y="2173"/>
                        </a:lnTo>
                        <a:lnTo>
                          <a:pt x="0" y="2173"/>
                        </a:lnTo>
                        <a:lnTo>
                          <a:pt x="0" y="2202"/>
                        </a:lnTo>
                        <a:lnTo>
                          <a:pt x="3" y="2229"/>
                        </a:lnTo>
                        <a:lnTo>
                          <a:pt x="6" y="2257"/>
                        </a:lnTo>
                        <a:lnTo>
                          <a:pt x="12" y="2283"/>
                        </a:lnTo>
                        <a:lnTo>
                          <a:pt x="17" y="2310"/>
                        </a:lnTo>
                        <a:lnTo>
                          <a:pt x="25" y="2336"/>
                        </a:lnTo>
                        <a:lnTo>
                          <a:pt x="33" y="2361"/>
                        </a:lnTo>
                        <a:lnTo>
                          <a:pt x="42" y="2385"/>
                        </a:lnTo>
                        <a:lnTo>
                          <a:pt x="53" y="2410"/>
                        </a:lnTo>
                        <a:lnTo>
                          <a:pt x="65" y="2433"/>
                        </a:lnTo>
                        <a:lnTo>
                          <a:pt x="78" y="2456"/>
                        </a:lnTo>
                        <a:lnTo>
                          <a:pt x="93" y="2480"/>
                        </a:lnTo>
                        <a:lnTo>
                          <a:pt x="107" y="2501"/>
                        </a:lnTo>
                        <a:lnTo>
                          <a:pt x="123" y="2521"/>
                        </a:lnTo>
                        <a:lnTo>
                          <a:pt x="140" y="2542"/>
                        </a:lnTo>
                        <a:lnTo>
                          <a:pt x="158" y="2561"/>
                        </a:lnTo>
                        <a:lnTo>
                          <a:pt x="177" y="2579"/>
                        </a:lnTo>
                        <a:lnTo>
                          <a:pt x="197" y="2597"/>
                        </a:lnTo>
                        <a:lnTo>
                          <a:pt x="217" y="2613"/>
                        </a:lnTo>
                        <a:lnTo>
                          <a:pt x="239" y="2629"/>
                        </a:lnTo>
                        <a:lnTo>
                          <a:pt x="260" y="2643"/>
                        </a:lnTo>
                        <a:lnTo>
                          <a:pt x="284" y="2656"/>
                        </a:lnTo>
                        <a:lnTo>
                          <a:pt x="307" y="2669"/>
                        </a:lnTo>
                        <a:lnTo>
                          <a:pt x="330" y="2681"/>
                        </a:lnTo>
                        <a:lnTo>
                          <a:pt x="355" y="2691"/>
                        </a:lnTo>
                        <a:lnTo>
                          <a:pt x="381" y="2700"/>
                        </a:lnTo>
                        <a:lnTo>
                          <a:pt x="405" y="2707"/>
                        </a:lnTo>
                        <a:lnTo>
                          <a:pt x="433" y="2714"/>
                        </a:lnTo>
                        <a:lnTo>
                          <a:pt x="459" y="2720"/>
                        </a:lnTo>
                        <a:lnTo>
                          <a:pt x="486" y="2724"/>
                        </a:lnTo>
                        <a:lnTo>
                          <a:pt x="514" y="2726"/>
                        </a:lnTo>
                        <a:lnTo>
                          <a:pt x="541" y="2727"/>
                        </a:lnTo>
                        <a:lnTo>
                          <a:pt x="541" y="2727"/>
                        </a:lnTo>
                        <a:lnTo>
                          <a:pt x="573" y="2779"/>
                        </a:lnTo>
                        <a:lnTo>
                          <a:pt x="605" y="2828"/>
                        </a:lnTo>
                        <a:lnTo>
                          <a:pt x="640" y="2878"/>
                        </a:lnTo>
                        <a:lnTo>
                          <a:pt x="676" y="2924"/>
                        </a:lnTo>
                        <a:lnTo>
                          <a:pt x="712" y="2970"/>
                        </a:lnTo>
                        <a:lnTo>
                          <a:pt x="751" y="3015"/>
                        </a:lnTo>
                        <a:lnTo>
                          <a:pt x="792" y="3057"/>
                        </a:lnTo>
                        <a:lnTo>
                          <a:pt x="832" y="3099"/>
                        </a:lnTo>
                        <a:lnTo>
                          <a:pt x="874" y="3139"/>
                        </a:lnTo>
                        <a:lnTo>
                          <a:pt x="917" y="3179"/>
                        </a:lnTo>
                        <a:lnTo>
                          <a:pt x="962" y="3216"/>
                        </a:lnTo>
                        <a:lnTo>
                          <a:pt x="1009" y="3252"/>
                        </a:lnTo>
                        <a:lnTo>
                          <a:pt x="1056" y="3286"/>
                        </a:lnTo>
                        <a:lnTo>
                          <a:pt x="1104" y="3319"/>
                        </a:lnTo>
                        <a:lnTo>
                          <a:pt x="1153" y="3351"/>
                        </a:lnTo>
                        <a:lnTo>
                          <a:pt x="1203" y="3380"/>
                        </a:lnTo>
                        <a:lnTo>
                          <a:pt x="1253" y="3407"/>
                        </a:lnTo>
                        <a:lnTo>
                          <a:pt x="1305" y="3435"/>
                        </a:lnTo>
                        <a:lnTo>
                          <a:pt x="1359" y="3459"/>
                        </a:lnTo>
                        <a:lnTo>
                          <a:pt x="1412" y="3482"/>
                        </a:lnTo>
                        <a:lnTo>
                          <a:pt x="1466" y="3503"/>
                        </a:lnTo>
                        <a:lnTo>
                          <a:pt x="1521" y="3523"/>
                        </a:lnTo>
                        <a:lnTo>
                          <a:pt x="1577" y="3540"/>
                        </a:lnTo>
                        <a:lnTo>
                          <a:pt x="1634" y="3558"/>
                        </a:lnTo>
                        <a:lnTo>
                          <a:pt x="1690" y="3571"/>
                        </a:lnTo>
                        <a:lnTo>
                          <a:pt x="1748" y="3584"/>
                        </a:lnTo>
                        <a:lnTo>
                          <a:pt x="1806" y="3594"/>
                        </a:lnTo>
                        <a:lnTo>
                          <a:pt x="1864" y="3603"/>
                        </a:lnTo>
                        <a:lnTo>
                          <a:pt x="1923" y="3610"/>
                        </a:lnTo>
                        <a:lnTo>
                          <a:pt x="1983" y="3614"/>
                        </a:lnTo>
                        <a:lnTo>
                          <a:pt x="2042" y="3617"/>
                        </a:lnTo>
                        <a:lnTo>
                          <a:pt x="2103" y="3619"/>
                        </a:lnTo>
                        <a:lnTo>
                          <a:pt x="2103" y="3619"/>
                        </a:lnTo>
                        <a:lnTo>
                          <a:pt x="2164" y="3617"/>
                        </a:lnTo>
                        <a:lnTo>
                          <a:pt x="2224" y="3614"/>
                        </a:lnTo>
                        <a:lnTo>
                          <a:pt x="2285" y="3610"/>
                        </a:lnTo>
                        <a:lnTo>
                          <a:pt x="2346" y="3603"/>
                        </a:lnTo>
                        <a:lnTo>
                          <a:pt x="2405" y="3594"/>
                        </a:lnTo>
                        <a:lnTo>
                          <a:pt x="2466" y="3582"/>
                        </a:lnTo>
                        <a:lnTo>
                          <a:pt x="2524" y="3569"/>
                        </a:lnTo>
                        <a:lnTo>
                          <a:pt x="2583" y="3555"/>
                        </a:lnTo>
                        <a:lnTo>
                          <a:pt x="2641" y="3537"/>
                        </a:lnTo>
                        <a:lnTo>
                          <a:pt x="2699" y="3519"/>
                        </a:lnTo>
                        <a:lnTo>
                          <a:pt x="2756" y="3497"/>
                        </a:lnTo>
                        <a:lnTo>
                          <a:pt x="2812" y="3475"/>
                        </a:lnTo>
                        <a:lnTo>
                          <a:pt x="2867" y="3451"/>
                        </a:lnTo>
                        <a:lnTo>
                          <a:pt x="2922" y="3423"/>
                        </a:lnTo>
                        <a:lnTo>
                          <a:pt x="2975" y="3396"/>
                        </a:lnTo>
                        <a:lnTo>
                          <a:pt x="3029" y="3365"/>
                        </a:lnTo>
                        <a:lnTo>
                          <a:pt x="3029" y="3365"/>
                        </a:lnTo>
                        <a:lnTo>
                          <a:pt x="3075" y="3336"/>
                        </a:lnTo>
                        <a:lnTo>
                          <a:pt x="3123" y="3304"/>
                        </a:lnTo>
                        <a:lnTo>
                          <a:pt x="3168" y="3273"/>
                        </a:lnTo>
                        <a:lnTo>
                          <a:pt x="3213" y="3239"/>
                        </a:lnTo>
                        <a:lnTo>
                          <a:pt x="3256" y="3205"/>
                        </a:lnTo>
                        <a:lnTo>
                          <a:pt x="3298" y="3168"/>
                        </a:lnTo>
                        <a:lnTo>
                          <a:pt x="3340" y="3131"/>
                        </a:lnTo>
                        <a:lnTo>
                          <a:pt x="3381" y="3092"/>
                        </a:lnTo>
                        <a:lnTo>
                          <a:pt x="3418" y="3053"/>
                        </a:lnTo>
                        <a:lnTo>
                          <a:pt x="3456" y="3012"/>
                        </a:lnTo>
                        <a:lnTo>
                          <a:pt x="3494" y="2969"/>
                        </a:lnTo>
                        <a:lnTo>
                          <a:pt x="3528" y="2927"/>
                        </a:lnTo>
                        <a:lnTo>
                          <a:pt x="3562" y="2882"/>
                        </a:lnTo>
                        <a:lnTo>
                          <a:pt x="3595" y="2837"/>
                        </a:lnTo>
                        <a:lnTo>
                          <a:pt x="3625" y="2791"/>
                        </a:lnTo>
                        <a:lnTo>
                          <a:pt x="3654" y="2743"/>
                        </a:lnTo>
                        <a:lnTo>
                          <a:pt x="3654" y="2743"/>
                        </a:lnTo>
                        <a:lnTo>
                          <a:pt x="3679" y="2740"/>
                        </a:lnTo>
                        <a:lnTo>
                          <a:pt x="3702" y="2736"/>
                        </a:lnTo>
                        <a:lnTo>
                          <a:pt x="3725" y="2731"/>
                        </a:lnTo>
                        <a:lnTo>
                          <a:pt x="3748" y="2724"/>
                        </a:lnTo>
                        <a:lnTo>
                          <a:pt x="3770" y="2718"/>
                        </a:lnTo>
                        <a:lnTo>
                          <a:pt x="3793" y="2710"/>
                        </a:lnTo>
                        <a:lnTo>
                          <a:pt x="3815" y="2701"/>
                        </a:lnTo>
                        <a:lnTo>
                          <a:pt x="3837" y="2691"/>
                        </a:lnTo>
                        <a:lnTo>
                          <a:pt x="3857" y="2681"/>
                        </a:lnTo>
                        <a:lnTo>
                          <a:pt x="3877" y="2669"/>
                        </a:lnTo>
                        <a:lnTo>
                          <a:pt x="3897" y="2656"/>
                        </a:lnTo>
                        <a:lnTo>
                          <a:pt x="3918" y="2643"/>
                        </a:lnTo>
                        <a:lnTo>
                          <a:pt x="3936" y="2629"/>
                        </a:lnTo>
                        <a:lnTo>
                          <a:pt x="3955" y="2614"/>
                        </a:lnTo>
                        <a:lnTo>
                          <a:pt x="3973" y="2598"/>
                        </a:lnTo>
                        <a:lnTo>
                          <a:pt x="3990" y="2581"/>
                        </a:lnTo>
                        <a:lnTo>
                          <a:pt x="3990" y="2581"/>
                        </a:lnTo>
                        <a:lnTo>
                          <a:pt x="4009" y="2562"/>
                        </a:lnTo>
                        <a:lnTo>
                          <a:pt x="4028" y="2540"/>
                        </a:lnTo>
                        <a:lnTo>
                          <a:pt x="4044" y="2519"/>
                        </a:lnTo>
                        <a:lnTo>
                          <a:pt x="4059" y="2497"/>
                        </a:lnTo>
                        <a:lnTo>
                          <a:pt x="4074" y="2474"/>
                        </a:lnTo>
                        <a:lnTo>
                          <a:pt x="4087" y="2451"/>
                        </a:lnTo>
                        <a:lnTo>
                          <a:pt x="4099" y="2427"/>
                        </a:lnTo>
                        <a:lnTo>
                          <a:pt x="4110" y="2403"/>
                        </a:lnTo>
                        <a:lnTo>
                          <a:pt x="4119" y="2377"/>
                        </a:lnTo>
                        <a:lnTo>
                          <a:pt x="4127" y="2352"/>
                        </a:lnTo>
                        <a:lnTo>
                          <a:pt x="4135" y="2326"/>
                        </a:lnTo>
                        <a:lnTo>
                          <a:pt x="4141" y="2300"/>
                        </a:lnTo>
                        <a:lnTo>
                          <a:pt x="4145" y="2273"/>
                        </a:lnTo>
                        <a:lnTo>
                          <a:pt x="4148" y="2247"/>
                        </a:lnTo>
                        <a:lnTo>
                          <a:pt x="4151" y="2219"/>
                        </a:lnTo>
                        <a:lnTo>
                          <a:pt x="4151" y="2192"/>
                        </a:lnTo>
                        <a:lnTo>
                          <a:pt x="4151" y="2192"/>
                        </a:lnTo>
                        <a:lnTo>
                          <a:pt x="4149" y="2158"/>
                        </a:lnTo>
                        <a:lnTo>
                          <a:pt x="4146" y="2123"/>
                        </a:lnTo>
                        <a:lnTo>
                          <a:pt x="4142" y="2090"/>
                        </a:lnTo>
                        <a:lnTo>
                          <a:pt x="4135" y="2058"/>
                        </a:lnTo>
                        <a:lnTo>
                          <a:pt x="4126" y="2027"/>
                        </a:lnTo>
                        <a:lnTo>
                          <a:pt x="4114" y="1995"/>
                        </a:lnTo>
                        <a:lnTo>
                          <a:pt x="4101" y="1964"/>
                        </a:lnTo>
                        <a:lnTo>
                          <a:pt x="4087" y="1934"/>
                        </a:lnTo>
                        <a:lnTo>
                          <a:pt x="4071" y="1905"/>
                        </a:lnTo>
                        <a:lnTo>
                          <a:pt x="4054" y="1877"/>
                        </a:lnTo>
                        <a:lnTo>
                          <a:pt x="4033" y="1851"/>
                        </a:lnTo>
                        <a:lnTo>
                          <a:pt x="4012" y="1825"/>
                        </a:lnTo>
                        <a:lnTo>
                          <a:pt x="3990" y="1801"/>
                        </a:lnTo>
                        <a:lnTo>
                          <a:pt x="3965" y="1778"/>
                        </a:lnTo>
                        <a:lnTo>
                          <a:pt x="3939" y="1756"/>
                        </a:lnTo>
                        <a:lnTo>
                          <a:pt x="3913" y="1737"/>
                        </a:lnTo>
                        <a:lnTo>
                          <a:pt x="3913" y="1737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9" name="Line 21">
                    <a:extLst>
                      <a:ext uri="{FF2B5EF4-FFF2-40B4-BE49-F238E27FC236}">
                        <a16:creationId xmlns="" xmlns:a16="http://schemas.microsoft.com/office/drawing/2014/main" id="{D7C54A18-59C7-4243-8E4C-D388ABCB72A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371513" y="-286067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Freeform 22">
                    <a:extLst>
                      <a:ext uri="{FF2B5EF4-FFF2-40B4-BE49-F238E27FC236}">
                        <a16:creationId xmlns="" xmlns:a16="http://schemas.microsoft.com/office/drawing/2014/main" id="{4F7901AD-9223-4345-A07A-6D5349ABF93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1295063" y="-2433638"/>
                    <a:ext cx="1336675" cy="487363"/>
                  </a:xfrm>
                  <a:custGeom>
                    <a:avLst/>
                    <a:gdLst/>
                    <a:ahLst/>
                    <a:cxnLst>
                      <a:cxn ang="0">
                        <a:pos x="1657" y="601"/>
                      </a:cxn>
                      <a:cxn ang="0">
                        <a:pos x="1680" y="569"/>
                      </a:cxn>
                      <a:cxn ang="0">
                        <a:pos x="1682" y="528"/>
                      </a:cxn>
                      <a:cxn ang="0">
                        <a:pos x="1662" y="486"/>
                      </a:cxn>
                      <a:cxn ang="0">
                        <a:pos x="1612" y="405"/>
                      </a:cxn>
                      <a:cxn ang="0">
                        <a:pos x="1554" y="330"/>
                      </a:cxn>
                      <a:cxn ang="0">
                        <a:pos x="1489" y="261"/>
                      </a:cxn>
                      <a:cxn ang="0">
                        <a:pos x="1417" y="198"/>
                      </a:cxn>
                      <a:cxn ang="0">
                        <a:pos x="1339" y="143"/>
                      </a:cxn>
                      <a:cxn ang="0">
                        <a:pos x="1282" y="110"/>
                      </a:cxn>
                      <a:cxn ang="0">
                        <a:pos x="1194" y="68"/>
                      </a:cxn>
                      <a:cxn ang="0">
                        <a:pos x="1101" y="36"/>
                      </a:cxn>
                      <a:cxn ang="0">
                        <a:pos x="1006" y="14"/>
                      </a:cxn>
                      <a:cxn ang="0">
                        <a:pos x="908" y="1"/>
                      </a:cxn>
                      <a:cxn ang="0">
                        <a:pos x="842" y="0"/>
                      </a:cxn>
                      <a:cxn ang="0">
                        <a:pos x="748" y="4"/>
                      </a:cxn>
                      <a:cxn ang="0">
                        <a:pos x="656" y="19"/>
                      </a:cxn>
                      <a:cxn ang="0">
                        <a:pos x="566" y="42"/>
                      </a:cxn>
                      <a:cxn ang="0">
                        <a:pos x="478" y="74"/>
                      </a:cxn>
                      <a:cxn ang="0">
                        <a:pos x="394" y="114"/>
                      </a:cxn>
                      <a:cxn ang="0">
                        <a:pos x="342" y="145"/>
                      </a:cxn>
                      <a:cxn ang="0">
                        <a:pos x="268" y="198"/>
                      </a:cxn>
                      <a:cxn ang="0">
                        <a:pos x="198" y="256"/>
                      </a:cxn>
                      <a:cxn ang="0">
                        <a:pos x="136" y="321"/>
                      </a:cxn>
                      <a:cxn ang="0">
                        <a:pos x="81" y="394"/>
                      </a:cxn>
                      <a:cxn ang="0">
                        <a:pos x="32" y="469"/>
                      </a:cxn>
                      <a:cxn ang="0">
                        <a:pos x="7" y="515"/>
                      </a:cxn>
                      <a:cxn ang="0">
                        <a:pos x="0" y="556"/>
                      </a:cxn>
                      <a:cxn ang="0">
                        <a:pos x="16" y="592"/>
                      </a:cxn>
                      <a:cxn ang="0">
                        <a:pos x="39" y="608"/>
                      </a:cxn>
                      <a:cxn ang="0">
                        <a:pos x="78" y="615"/>
                      </a:cxn>
                      <a:cxn ang="0">
                        <a:pos x="116" y="599"/>
                      </a:cxn>
                      <a:cxn ang="0">
                        <a:pos x="132" y="577"/>
                      </a:cxn>
                      <a:cxn ang="0">
                        <a:pos x="180" y="495"/>
                      </a:cxn>
                      <a:cxn ang="0">
                        <a:pos x="277" y="376"/>
                      </a:cxn>
                      <a:cxn ang="0">
                        <a:pos x="395" y="276"/>
                      </a:cxn>
                      <a:cxn ang="0">
                        <a:pos x="462" y="236"/>
                      </a:cxn>
                      <a:cxn ang="0">
                        <a:pos x="533" y="201"/>
                      </a:cxn>
                      <a:cxn ang="0">
                        <a:pos x="607" y="175"/>
                      </a:cxn>
                      <a:cxn ang="0">
                        <a:pos x="685" y="155"/>
                      </a:cxn>
                      <a:cxn ang="0">
                        <a:pos x="763" y="143"/>
                      </a:cxn>
                      <a:cxn ang="0">
                        <a:pos x="842" y="139"/>
                      </a:cxn>
                      <a:cxn ang="0">
                        <a:pos x="899" y="142"/>
                      </a:cxn>
                      <a:cxn ang="0">
                        <a:pos x="981" y="152"/>
                      </a:cxn>
                      <a:cxn ang="0">
                        <a:pos x="1062" y="171"/>
                      </a:cxn>
                      <a:cxn ang="0">
                        <a:pos x="1141" y="197"/>
                      </a:cxn>
                      <a:cxn ang="0">
                        <a:pos x="1216" y="233"/>
                      </a:cxn>
                      <a:cxn ang="0">
                        <a:pos x="1265" y="261"/>
                      </a:cxn>
                      <a:cxn ang="0">
                        <a:pos x="1332" y="308"/>
                      </a:cxn>
                      <a:cxn ang="0">
                        <a:pos x="1392" y="360"/>
                      </a:cxn>
                      <a:cxn ang="0">
                        <a:pos x="1447" y="420"/>
                      </a:cxn>
                      <a:cxn ang="0">
                        <a:pos x="1497" y="485"/>
                      </a:cxn>
                      <a:cxn ang="0">
                        <a:pos x="1540" y="553"/>
                      </a:cxn>
                      <a:cxn ang="0">
                        <a:pos x="1560" y="589"/>
                      </a:cxn>
                      <a:cxn ang="0">
                        <a:pos x="1592" y="612"/>
                      </a:cxn>
                      <a:cxn ang="0">
                        <a:pos x="1633" y="614"/>
                      </a:cxn>
                      <a:cxn ang="0">
                        <a:pos x="1646" y="608"/>
                      </a:cxn>
                    </a:cxnLst>
                    <a:rect l="0" t="0" r="r" b="b"/>
                    <a:pathLst>
                      <a:path w="1685" h="615">
                        <a:moveTo>
                          <a:pt x="1646" y="608"/>
                        </a:moveTo>
                        <a:lnTo>
                          <a:pt x="1646" y="608"/>
                        </a:lnTo>
                        <a:lnTo>
                          <a:pt x="1657" y="601"/>
                        </a:lnTo>
                        <a:lnTo>
                          <a:pt x="1667" y="592"/>
                        </a:lnTo>
                        <a:lnTo>
                          <a:pt x="1676" y="580"/>
                        </a:lnTo>
                        <a:lnTo>
                          <a:pt x="1680" y="569"/>
                        </a:lnTo>
                        <a:lnTo>
                          <a:pt x="1683" y="556"/>
                        </a:lnTo>
                        <a:lnTo>
                          <a:pt x="1685" y="541"/>
                        </a:lnTo>
                        <a:lnTo>
                          <a:pt x="1682" y="528"/>
                        </a:lnTo>
                        <a:lnTo>
                          <a:pt x="1677" y="515"/>
                        </a:lnTo>
                        <a:lnTo>
                          <a:pt x="1677" y="515"/>
                        </a:lnTo>
                        <a:lnTo>
                          <a:pt x="1662" y="486"/>
                        </a:lnTo>
                        <a:lnTo>
                          <a:pt x="1647" y="459"/>
                        </a:lnTo>
                        <a:lnTo>
                          <a:pt x="1630" y="431"/>
                        </a:lnTo>
                        <a:lnTo>
                          <a:pt x="1612" y="405"/>
                        </a:lnTo>
                        <a:lnTo>
                          <a:pt x="1594" y="379"/>
                        </a:lnTo>
                        <a:lnTo>
                          <a:pt x="1575" y="355"/>
                        </a:lnTo>
                        <a:lnTo>
                          <a:pt x="1554" y="330"/>
                        </a:lnTo>
                        <a:lnTo>
                          <a:pt x="1534" y="305"/>
                        </a:lnTo>
                        <a:lnTo>
                          <a:pt x="1512" y="282"/>
                        </a:lnTo>
                        <a:lnTo>
                          <a:pt x="1489" y="261"/>
                        </a:lnTo>
                        <a:lnTo>
                          <a:pt x="1466" y="239"/>
                        </a:lnTo>
                        <a:lnTo>
                          <a:pt x="1442" y="219"/>
                        </a:lnTo>
                        <a:lnTo>
                          <a:pt x="1417" y="198"/>
                        </a:lnTo>
                        <a:lnTo>
                          <a:pt x="1392" y="178"/>
                        </a:lnTo>
                        <a:lnTo>
                          <a:pt x="1366" y="161"/>
                        </a:lnTo>
                        <a:lnTo>
                          <a:pt x="1339" y="143"/>
                        </a:lnTo>
                        <a:lnTo>
                          <a:pt x="1339" y="143"/>
                        </a:lnTo>
                        <a:lnTo>
                          <a:pt x="1311" y="126"/>
                        </a:lnTo>
                        <a:lnTo>
                          <a:pt x="1282" y="110"/>
                        </a:lnTo>
                        <a:lnTo>
                          <a:pt x="1253" y="96"/>
                        </a:lnTo>
                        <a:lnTo>
                          <a:pt x="1223" y="81"/>
                        </a:lnTo>
                        <a:lnTo>
                          <a:pt x="1194" y="68"/>
                        </a:lnTo>
                        <a:lnTo>
                          <a:pt x="1164" y="56"/>
                        </a:lnTo>
                        <a:lnTo>
                          <a:pt x="1132" y="46"/>
                        </a:lnTo>
                        <a:lnTo>
                          <a:pt x="1101" y="36"/>
                        </a:lnTo>
                        <a:lnTo>
                          <a:pt x="1070" y="28"/>
                        </a:lnTo>
                        <a:lnTo>
                          <a:pt x="1038" y="20"/>
                        </a:lnTo>
                        <a:lnTo>
                          <a:pt x="1006" y="14"/>
                        </a:lnTo>
                        <a:lnTo>
                          <a:pt x="974" y="9"/>
                        </a:lnTo>
                        <a:lnTo>
                          <a:pt x="941" y="4"/>
                        </a:lnTo>
                        <a:lnTo>
                          <a:pt x="908" y="1"/>
                        </a:lnTo>
                        <a:lnTo>
                          <a:pt x="876" y="0"/>
                        </a:lnTo>
                        <a:lnTo>
                          <a:pt x="842" y="0"/>
                        </a:lnTo>
                        <a:lnTo>
                          <a:pt x="842" y="0"/>
                        </a:lnTo>
                        <a:lnTo>
                          <a:pt x="811" y="0"/>
                        </a:lnTo>
                        <a:lnTo>
                          <a:pt x="780" y="1"/>
                        </a:lnTo>
                        <a:lnTo>
                          <a:pt x="748" y="4"/>
                        </a:lnTo>
                        <a:lnTo>
                          <a:pt x="718" y="9"/>
                        </a:lnTo>
                        <a:lnTo>
                          <a:pt x="686" y="13"/>
                        </a:lnTo>
                        <a:lnTo>
                          <a:pt x="656" y="19"/>
                        </a:lnTo>
                        <a:lnTo>
                          <a:pt x="625" y="25"/>
                        </a:lnTo>
                        <a:lnTo>
                          <a:pt x="595" y="33"/>
                        </a:lnTo>
                        <a:lnTo>
                          <a:pt x="566" y="42"/>
                        </a:lnTo>
                        <a:lnTo>
                          <a:pt x="536" y="51"/>
                        </a:lnTo>
                        <a:lnTo>
                          <a:pt x="507" y="62"/>
                        </a:lnTo>
                        <a:lnTo>
                          <a:pt x="478" y="74"/>
                        </a:lnTo>
                        <a:lnTo>
                          <a:pt x="450" y="85"/>
                        </a:lnTo>
                        <a:lnTo>
                          <a:pt x="421" y="100"/>
                        </a:lnTo>
                        <a:lnTo>
                          <a:pt x="394" y="114"/>
                        </a:lnTo>
                        <a:lnTo>
                          <a:pt x="368" y="129"/>
                        </a:lnTo>
                        <a:lnTo>
                          <a:pt x="368" y="129"/>
                        </a:lnTo>
                        <a:lnTo>
                          <a:pt x="342" y="145"/>
                        </a:lnTo>
                        <a:lnTo>
                          <a:pt x="316" y="162"/>
                        </a:lnTo>
                        <a:lnTo>
                          <a:pt x="291" y="179"/>
                        </a:lnTo>
                        <a:lnTo>
                          <a:pt x="268" y="198"/>
                        </a:lnTo>
                        <a:lnTo>
                          <a:pt x="243" y="217"/>
                        </a:lnTo>
                        <a:lnTo>
                          <a:pt x="222" y="236"/>
                        </a:lnTo>
                        <a:lnTo>
                          <a:pt x="198" y="256"/>
                        </a:lnTo>
                        <a:lnTo>
                          <a:pt x="178" y="278"/>
                        </a:lnTo>
                        <a:lnTo>
                          <a:pt x="156" y="300"/>
                        </a:lnTo>
                        <a:lnTo>
                          <a:pt x="136" y="321"/>
                        </a:lnTo>
                        <a:lnTo>
                          <a:pt x="117" y="344"/>
                        </a:lnTo>
                        <a:lnTo>
                          <a:pt x="99" y="369"/>
                        </a:lnTo>
                        <a:lnTo>
                          <a:pt x="81" y="394"/>
                        </a:lnTo>
                        <a:lnTo>
                          <a:pt x="64" y="418"/>
                        </a:lnTo>
                        <a:lnTo>
                          <a:pt x="48" y="443"/>
                        </a:lnTo>
                        <a:lnTo>
                          <a:pt x="32" y="469"/>
                        </a:lnTo>
                        <a:lnTo>
                          <a:pt x="32" y="469"/>
                        </a:lnTo>
                        <a:lnTo>
                          <a:pt x="7" y="515"/>
                        </a:lnTo>
                        <a:lnTo>
                          <a:pt x="7" y="515"/>
                        </a:lnTo>
                        <a:lnTo>
                          <a:pt x="3" y="528"/>
                        </a:lnTo>
                        <a:lnTo>
                          <a:pt x="0" y="541"/>
                        </a:lnTo>
                        <a:lnTo>
                          <a:pt x="0" y="556"/>
                        </a:lnTo>
                        <a:lnTo>
                          <a:pt x="3" y="569"/>
                        </a:lnTo>
                        <a:lnTo>
                          <a:pt x="9" y="580"/>
                        </a:lnTo>
                        <a:lnTo>
                          <a:pt x="16" y="592"/>
                        </a:lnTo>
                        <a:lnTo>
                          <a:pt x="26" y="601"/>
                        </a:lnTo>
                        <a:lnTo>
                          <a:pt x="39" y="608"/>
                        </a:lnTo>
                        <a:lnTo>
                          <a:pt x="39" y="608"/>
                        </a:lnTo>
                        <a:lnTo>
                          <a:pt x="52" y="614"/>
                        </a:lnTo>
                        <a:lnTo>
                          <a:pt x="65" y="615"/>
                        </a:lnTo>
                        <a:lnTo>
                          <a:pt x="78" y="615"/>
                        </a:lnTo>
                        <a:lnTo>
                          <a:pt x="91" y="612"/>
                        </a:lnTo>
                        <a:lnTo>
                          <a:pt x="104" y="606"/>
                        </a:lnTo>
                        <a:lnTo>
                          <a:pt x="116" y="599"/>
                        </a:lnTo>
                        <a:lnTo>
                          <a:pt x="125" y="589"/>
                        </a:lnTo>
                        <a:lnTo>
                          <a:pt x="132" y="577"/>
                        </a:lnTo>
                        <a:lnTo>
                          <a:pt x="132" y="577"/>
                        </a:lnTo>
                        <a:lnTo>
                          <a:pt x="154" y="538"/>
                        </a:lnTo>
                        <a:lnTo>
                          <a:pt x="154" y="538"/>
                        </a:lnTo>
                        <a:lnTo>
                          <a:pt x="180" y="495"/>
                        </a:lnTo>
                        <a:lnTo>
                          <a:pt x="210" y="453"/>
                        </a:lnTo>
                        <a:lnTo>
                          <a:pt x="242" y="414"/>
                        </a:lnTo>
                        <a:lnTo>
                          <a:pt x="277" y="376"/>
                        </a:lnTo>
                        <a:lnTo>
                          <a:pt x="314" y="340"/>
                        </a:lnTo>
                        <a:lnTo>
                          <a:pt x="353" y="307"/>
                        </a:lnTo>
                        <a:lnTo>
                          <a:pt x="395" y="276"/>
                        </a:lnTo>
                        <a:lnTo>
                          <a:pt x="439" y="249"/>
                        </a:lnTo>
                        <a:lnTo>
                          <a:pt x="439" y="249"/>
                        </a:lnTo>
                        <a:lnTo>
                          <a:pt x="462" y="236"/>
                        </a:lnTo>
                        <a:lnTo>
                          <a:pt x="485" y="224"/>
                        </a:lnTo>
                        <a:lnTo>
                          <a:pt x="508" y="213"/>
                        </a:lnTo>
                        <a:lnTo>
                          <a:pt x="533" y="201"/>
                        </a:lnTo>
                        <a:lnTo>
                          <a:pt x="557" y="192"/>
                        </a:lnTo>
                        <a:lnTo>
                          <a:pt x="582" y="182"/>
                        </a:lnTo>
                        <a:lnTo>
                          <a:pt x="607" y="175"/>
                        </a:lnTo>
                        <a:lnTo>
                          <a:pt x="633" y="168"/>
                        </a:lnTo>
                        <a:lnTo>
                          <a:pt x="659" y="161"/>
                        </a:lnTo>
                        <a:lnTo>
                          <a:pt x="685" y="155"/>
                        </a:lnTo>
                        <a:lnTo>
                          <a:pt x="709" y="151"/>
                        </a:lnTo>
                        <a:lnTo>
                          <a:pt x="737" y="146"/>
                        </a:lnTo>
                        <a:lnTo>
                          <a:pt x="763" y="143"/>
                        </a:lnTo>
                        <a:lnTo>
                          <a:pt x="789" y="140"/>
                        </a:lnTo>
                        <a:lnTo>
                          <a:pt x="815" y="140"/>
                        </a:lnTo>
                        <a:lnTo>
                          <a:pt x="842" y="139"/>
                        </a:lnTo>
                        <a:lnTo>
                          <a:pt x="842" y="139"/>
                        </a:lnTo>
                        <a:lnTo>
                          <a:pt x="870" y="140"/>
                        </a:lnTo>
                        <a:lnTo>
                          <a:pt x="899" y="142"/>
                        </a:lnTo>
                        <a:lnTo>
                          <a:pt x="926" y="143"/>
                        </a:lnTo>
                        <a:lnTo>
                          <a:pt x="954" y="148"/>
                        </a:lnTo>
                        <a:lnTo>
                          <a:pt x="981" y="152"/>
                        </a:lnTo>
                        <a:lnTo>
                          <a:pt x="1009" y="156"/>
                        </a:lnTo>
                        <a:lnTo>
                          <a:pt x="1035" y="164"/>
                        </a:lnTo>
                        <a:lnTo>
                          <a:pt x="1062" y="171"/>
                        </a:lnTo>
                        <a:lnTo>
                          <a:pt x="1088" y="178"/>
                        </a:lnTo>
                        <a:lnTo>
                          <a:pt x="1115" y="188"/>
                        </a:lnTo>
                        <a:lnTo>
                          <a:pt x="1141" y="197"/>
                        </a:lnTo>
                        <a:lnTo>
                          <a:pt x="1167" y="208"/>
                        </a:lnTo>
                        <a:lnTo>
                          <a:pt x="1191" y="220"/>
                        </a:lnTo>
                        <a:lnTo>
                          <a:pt x="1216" y="233"/>
                        </a:lnTo>
                        <a:lnTo>
                          <a:pt x="1240" y="246"/>
                        </a:lnTo>
                        <a:lnTo>
                          <a:pt x="1265" y="261"/>
                        </a:lnTo>
                        <a:lnTo>
                          <a:pt x="1265" y="261"/>
                        </a:lnTo>
                        <a:lnTo>
                          <a:pt x="1288" y="276"/>
                        </a:lnTo>
                        <a:lnTo>
                          <a:pt x="1310" y="291"/>
                        </a:lnTo>
                        <a:lnTo>
                          <a:pt x="1332" y="308"/>
                        </a:lnTo>
                        <a:lnTo>
                          <a:pt x="1352" y="324"/>
                        </a:lnTo>
                        <a:lnTo>
                          <a:pt x="1372" y="343"/>
                        </a:lnTo>
                        <a:lnTo>
                          <a:pt x="1392" y="360"/>
                        </a:lnTo>
                        <a:lnTo>
                          <a:pt x="1411" y="381"/>
                        </a:lnTo>
                        <a:lnTo>
                          <a:pt x="1430" y="399"/>
                        </a:lnTo>
                        <a:lnTo>
                          <a:pt x="1447" y="420"/>
                        </a:lnTo>
                        <a:lnTo>
                          <a:pt x="1465" y="441"/>
                        </a:lnTo>
                        <a:lnTo>
                          <a:pt x="1482" y="462"/>
                        </a:lnTo>
                        <a:lnTo>
                          <a:pt x="1497" y="485"/>
                        </a:lnTo>
                        <a:lnTo>
                          <a:pt x="1512" y="507"/>
                        </a:lnTo>
                        <a:lnTo>
                          <a:pt x="1526" y="530"/>
                        </a:lnTo>
                        <a:lnTo>
                          <a:pt x="1540" y="553"/>
                        </a:lnTo>
                        <a:lnTo>
                          <a:pt x="1552" y="577"/>
                        </a:lnTo>
                        <a:lnTo>
                          <a:pt x="1552" y="577"/>
                        </a:lnTo>
                        <a:lnTo>
                          <a:pt x="1560" y="589"/>
                        </a:lnTo>
                        <a:lnTo>
                          <a:pt x="1569" y="599"/>
                        </a:lnTo>
                        <a:lnTo>
                          <a:pt x="1581" y="606"/>
                        </a:lnTo>
                        <a:lnTo>
                          <a:pt x="1592" y="612"/>
                        </a:lnTo>
                        <a:lnTo>
                          <a:pt x="1605" y="615"/>
                        </a:lnTo>
                        <a:lnTo>
                          <a:pt x="1620" y="615"/>
                        </a:lnTo>
                        <a:lnTo>
                          <a:pt x="1633" y="614"/>
                        </a:lnTo>
                        <a:lnTo>
                          <a:pt x="1646" y="608"/>
                        </a:lnTo>
                        <a:lnTo>
                          <a:pt x="1646" y="608"/>
                        </a:lnTo>
                        <a:close/>
                        <a:moveTo>
                          <a:pt x="1646" y="608"/>
                        </a:moveTo>
                        <a:lnTo>
                          <a:pt x="1646" y="60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1" name="Line 24">
                    <a:extLst>
                      <a:ext uri="{FF2B5EF4-FFF2-40B4-BE49-F238E27FC236}">
                        <a16:creationId xmlns="" xmlns:a16="http://schemas.microsoft.com/office/drawing/2014/main" id="{BA275347-50DA-4DAC-A955-4EE73BFD85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601576" y="-195262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2" name="Freeform 13">
                    <a:extLst>
                      <a:ext uri="{FF2B5EF4-FFF2-40B4-BE49-F238E27FC236}">
                        <a16:creationId xmlns="" xmlns:a16="http://schemas.microsoft.com/office/drawing/2014/main" id="{DAAAF9DE-0EE5-43ED-875F-D2ECEBD5D32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2315826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1" y="110"/>
                      </a:cxn>
                      <a:cxn ang="0">
                        <a:pos x="464" y="152"/>
                      </a:cxn>
                      <a:cxn ang="0">
                        <a:pos x="479" y="200"/>
                      </a:cxn>
                      <a:cxn ang="0">
                        <a:pos x="483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4" y="372"/>
                      </a:cxn>
                      <a:cxn ang="0">
                        <a:pos x="428" y="411"/>
                      </a:cxn>
                      <a:cxn ang="0">
                        <a:pos x="395" y="446"/>
                      </a:cxn>
                      <a:cxn ang="0">
                        <a:pos x="357" y="474"/>
                      </a:cxn>
                      <a:cxn ang="0">
                        <a:pos x="314" y="492"/>
                      </a:cxn>
                      <a:cxn ang="0">
                        <a:pos x="266" y="503"/>
                      </a:cxn>
                      <a:cxn ang="0">
                        <a:pos x="241" y="504"/>
                      </a:cxn>
                      <a:cxn ang="0">
                        <a:pos x="194" y="498"/>
                      </a:cxn>
                      <a:cxn ang="0">
                        <a:pos x="147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6" y="303"/>
                      </a:cxn>
                      <a:cxn ang="0">
                        <a:pos x="0" y="252"/>
                      </a:cxn>
                      <a:cxn ang="0">
                        <a:pos x="1" y="226"/>
                      </a:cxn>
                      <a:cxn ang="0">
                        <a:pos x="11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7" y="31"/>
                      </a:cxn>
                      <a:cxn ang="0">
                        <a:pos x="171" y="12"/>
                      </a:cxn>
                      <a:cxn ang="0">
                        <a:pos x="217" y="2"/>
                      </a:cxn>
                      <a:cxn ang="0">
                        <a:pos x="241" y="0"/>
                      </a:cxn>
                      <a:cxn ang="0">
                        <a:pos x="289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3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1" y="110"/>
                        </a:lnTo>
                        <a:lnTo>
                          <a:pt x="453" y="131"/>
                        </a:lnTo>
                        <a:lnTo>
                          <a:pt x="464" y="152"/>
                        </a:lnTo>
                        <a:lnTo>
                          <a:pt x="472" y="176"/>
                        </a:lnTo>
                        <a:lnTo>
                          <a:pt x="479" y="200"/>
                        </a:lnTo>
                        <a:lnTo>
                          <a:pt x="482" y="226"/>
                        </a:lnTo>
                        <a:lnTo>
                          <a:pt x="483" y="252"/>
                        </a:lnTo>
                        <a:lnTo>
                          <a:pt x="483" y="252"/>
                        </a:lnTo>
                        <a:lnTo>
                          <a:pt x="482" y="278"/>
                        </a:lnTo>
                        <a:lnTo>
                          <a:pt x="479" y="303"/>
                        </a:lnTo>
                        <a:lnTo>
                          <a:pt x="472" y="327"/>
                        </a:lnTo>
                        <a:lnTo>
                          <a:pt x="464" y="349"/>
                        </a:lnTo>
                        <a:lnTo>
                          <a:pt x="454" y="372"/>
                        </a:lnTo>
                        <a:lnTo>
                          <a:pt x="441" y="393"/>
                        </a:lnTo>
                        <a:lnTo>
                          <a:pt x="428" y="411"/>
                        </a:lnTo>
                        <a:lnTo>
                          <a:pt x="412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7" y="474"/>
                        </a:lnTo>
                        <a:lnTo>
                          <a:pt x="335" y="484"/>
                        </a:lnTo>
                        <a:lnTo>
                          <a:pt x="314" y="492"/>
                        </a:lnTo>
                        <a:lnTo>
                          <a:pt x="291" y="498"/>
                        </a:lnTo>
                        <a:lnTo>
                          <a:pt x="266" y="503"/>
                        </a:lnTo>
                        <a:lnTo>
                          <a:pt x="241" y="504"/>
                        </a:lnTo>
                        <a:lnTo>
                          <a:pt x="241" y="504"/>
                        </a:lnTo>
                        <a:lnTo>
                          <a:pt x="217" y="503"/>
                        </a:lnTo>
                        <a:lnTo>
                          <a:pt x="194" y="498"/>
                        </a:lnTo>
                        <a:lnTo>
                          <a:pt x="171" y="492"/>
                        </a:lnTo>
                        <a:lnTo>
                          <a:pt x="147" y="484"/>
                        </a:lnTo>
                        <a:lnTo>
                          <a:pt x="127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1" y="327"/>
                        </a:lnTo>
                        <a:lnTo>
                          <a:pt x="6" y="303"/>
                        </a:lnTo>
                        <a:lnTo>
                          <a:pt x="1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1" y="226"/>
                        </a:lnTo>
                        <a:lnTo>
                          <a:pt x="6" y="202"/>
                        </a:lnTo>
                        <a:lnTo>
                          <a:pt x="11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7" y="31"/>
                        </a:lnTo>
                        <a:lnTo>
                          <a:pt x="147" y="21"/>
                        </a:lnTo>
                        <a:lnTo>
                          <a:pt x="171" y="12"/>
                        </a:lnTo>
                        <a:lnTo>
                          <a:pt x="194" y="5"/>
                        </a:lnTo>
                        <a:lnTo>
                          <a:pt x="217" y="2"/>
                        </a:lnTo>
                        <a:lnTo>
                          <a:pt x="241" y="0"/>
                        </a:lnTo>
                        <a:lnTo>
                          <a:pt x="241" y="0"/>
                        </a:lnTo>
                        <a:lnTo>
                          <a:pt x="266" y="2"/>
                        </a:lnTo>
                        <a:lnTo>
                          <a:pt x="289" y="5"/>
                        </a:lnTo>
                        <a:lnTo>
                          <a:pt x="312" y="11"/>
                        </a:lnTo>
                        <a:lnTo>
                          <a:pt x="334" y="19"/>
                        </a:lnTo>
                        <a:lnTo>
                          <a:pt x="356" y="29"/>
                        </a:lnTo>
                        <a:lnTo>
                          <a:pt x="375" y="42"/>
                        </a:lnTo>
                        <a:lnTo>
                          <a:pt x="393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  <a:close/>
                        <a:moveTo>
                          <a:pt x="411" y="73"/>
                        </a:moveTo>
                        <a:lnTo>
                          <a:pt x="411" y="7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3" name="Freeform 16">
                    <a:extLst>
                      <a:ext uri="{FF2B5EF4-FFF2-40B4-BE49-F238E27FC236}">
                        <a16:creationId xmlns="" xmlns:a16="http://schemas.microsoft.com/office/drawing/2014/main" id="{9AC2276B-CBD8-4C38-9395-31F3742F741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1174413" y="-3041650"/>
                    <a:ext cx="384175" cy="400050"/>
                  </a:xfrm>
                  <a:custGeom>
                    <a:avLst/>
                    <a:gdLst/>
                    <a:ahLst/>
                    <a:cxnLst>
                      <a:cxn ang="0">
                        <a:pos x="411" y="73"/>
                      </a:cxn>
                      <a:cxn ang="0">
                        <a:pos x="442" y="110"/>
                      </a:cxn>
                      <a:cxn ang="0">
                        <a:pos x="463" y="152"/>
                      </a:cxn>
                      <a:cxn ang="0">
                        <a:pos x="478" y="200"/>
                      </a:cxn>
                      <a:cxn ang="0">
                        <a:pos x="484" y="252"/>
                      </a:cxn>
                      <a:cxn ang="0">
                        <a:pos x="482" y="278"/>
                      </a:cxn>
                      <a:cxn ang="0">
                        <a:pos x="472" y="327"/>
                      </a:cxn>
                      <a:cxn ang="0">
                        <a:pos x="455" y="372"/>
                      </a:cxn>
                      <a:cxn ang="0">
                        <a:pos x="429" y="411"/>
                      </a:cxn>
                      <a:cxn ang="0">
                        <a:pos x="395" y="446"/>
                      </a:cxn>
                      <a:cxn ang="0">
                        <a:pos x="356" y="474"/>
                      </a:cxn>
                      <a:cxn ang="0">
                        <a:pos x="313" y="492"/>
                      </a:cxn>
                      <a:cxn ang="0">
                        <a:pos x="266" y="503"/>
                      </a:cxn>
                      <a:cxn ang="0">
                        <a:pos x="242" y="504"/>
                      </a:cxn>
                      <a:cxn ang="0">
                        <a:pos x="193" y="498"/>
                      </a:cxn>
                      <a:cxn ang="0">
                        <a:pos x="148" y="484"/>
                      </a:cxn>
                      <a:cxn ang="0">
                        <a:pos x="107" y="461"/>
                      </a:cxn>
                      <a:cxn ang="0">
                        <a:pos x="71" y="430"/>
                      </a:cxn>
                      <a:cxn ang="0">
                        <a:pos x="42" y="393"/>
                      </a:cxn>
                      <a:cxn ang="0">
                        <a:pos x="19" y="349"/>
                      </a:cxn>
                      <a:cxn ang="0">
                        <a:pos x="5" y="303"/>
                      </a:cxn>
                      <a:cxn ang="0">
                        <a:pos x="0" y="252"/>
                      </a:cxn>
                      <a:cxn ang="0">
                        <a:pos x="2" y="226"/>
                      </a:cxn>
                      <a:cxn ang="0">
                        <a:pos x="12" y="177"/>
                      </a:cxn>
                      <a:cxn ang="0">
                        <a:pos x="29" y="132"/>
                      </a:cxn>
                      <a:cxn ang="0">
                        <a:pos x="55" y="92"/>
                      </a:cxn>
                      <a:cxn ang="0">
                        <a:pos x="88" y="58"/>
                      </a:cxn>
                      <a:cxn ang="0">
                        <a:pos x="126" y="31"/>
                      </a:cxn>
                      <a:cxn ang="0">
                        <a:pos x="169" y="12"/>
                      </a:cxn>
                      <a:cxn ang="0">
                        <a:pos x="217" y="2"/>
                      </a:cxn>
                      <a:cxn ang="0">
                        <a:pos x="242" y="0"/>
                      </a:cxn>
                      <a:cxn ang="0">
                        <a:pos x="290" y="5"/>
                      </a:cxn>
                      <a:cxn ang="0">
                        <a:pos x="334" y="19"/>
                      </a:cxn>
                      <a:cxn ang="0">
                        <a:pos x="375" y="42"/>
                      </a:cxn>
                      <a:cxn ang="0">
                        <a:pos x="411" y="73"/>
                      </a:cxn>
                      <a:cxn ang="0">
                        <a:pos x="411" y="73"/>
                      </a:cxn>
                    </a:cxnLst>
                    <a:rect l="0" t="0" r="r" b="b"/>
                    <a:pathLst>
                      <a:path w="484" h="504">
                        <a:moveTo>
                          <a:pt x="411" y="73"/>
                        </a:moveTo>
                        <a:lnTo>
                          <a:pt x="411" y="73"/>
                        </a:lnTo>
                        <a:lnTo>
                          <a:pt x="427" y="90"/>
                        </a:lnTo>
                        <a:lnTo>
                          <a:pt x="442" y="110"/>
                        </a:lnTo>
                        <a:lnTo>
                          <a:pt x="453" y="131"/>
                        </a:lnTo>
                        <a:lnTo>
                          <a:pt x="463" y="152"/>
                        </a:lnTo>
                        <a:lnTo>
                          <a:pt x="472" y="176"/>
                        </a:lnTo>
                        <a:lnTo>
                          <a:pt x="478" y="200"/>
                        </a:lnTo>
                        <a:lnTo>
                          <a:pt x="482" y="226"/>
                        </a:lnTo>
                        <a:lnTo>
                          <a:pt x="484" y="252"/>
                        </a:lnTo>
                        <a:lnTo>
                          <a:pt x="484" y="252"/>
                        </a:lnTo>
                        <a:lnTo>
                          <a:pt x="482" y="278"/>
                        </a:lnTo>
                        <a:lnTo>
                          <a:pt x="478" y="303"/>
                        </a:lnTo>
                        <a:lnTo>
                          <a:pt x="472" y="327"/>
                        </a:lnTo>
                        <a:lnTo>
                          <a:pt x="465" y="349"/>
                        </a:lnTo>
                        <a:lnTo>
                          <a:pt x="455" y="372"/>
                        </a:lnTo>
                        <a:lnTo>
                          <a:pt x="442" y="393"/>
                        </a:lnTo>
                        <a:lnTo>
                          <a:pt x="429" y="411"/>
                        </a:lnTo>
                        <a:lnTo>
                          <a:pt x="413" y="430"/>
                        </a:lnTo>
                        <a:lnTo>
                          <a:pt x="395" y="446"/>
                        </a:lnTo>
                        <a:lnTo>
                          <a:pt x="376" y="461"/>
                        </a:lnTo>
                        <a:lnTo>
                          <a:pt x="356" y="474"/>
                        </a:lnTo>
                        <a:lnTo>
                          <a:pt x="336" y="484"/>
                        </a:lnTo>
                        <a:lnTo>
                          <a:pt x="313" y="492"/>
                        </a:lnTo>
                        <a:lnTo>
                          <a:pt x="290" y="498"/>
                        </a:lnTo>
                        <a:lnTo>
                          <a:pt x="266" y="503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17" y="503"/>
                        </a:lnTo>
                        <a:lnTo>
                          <a:pt x="193" y="498"/>
                        </a:lnTo>
                        <a:lnTo>
                          <a:pt x="169" y="492"/>
                        </a:lnTo>
                        <a:lnTo>
                          <a:pt x="148" y="484"/>
                        </a:lnTo>
                        <a:lnTo>
                          <a:pt x="126" y="474"/>
                        </a:lnTo>
                        <a:lnTo>
                          <a:pt x="107" y="461"/>
                        </a:lnTo>
                        <a:lnTo>
                          <a:pt x="88" y="446"/>
                        </a:lnTo>
                        <a:lnTo>
                          <a:pt x="71" y="430"/>
                        </a:lnTo>
                        <a:lnTo>
                          <a:pt x="55" y="411"/>
                        </a:lnTo>
                        <a:lnTo>
                          <a:pt x="42" y="393"/>
                        </a:lnTo>
                        <a:lnTo>
                          <a:pt x="29" y="372"/>
                        </a:lnTo>
                        <a:lnTo>
                          <a:pt x="19" y="349"/>
                        </a:lnTo>
                        <a:lnTo>
                          <a:pt x="12" y="327"/>
                        </a:lnTo>
                        <a:lnTo>
                          <a:pt x="5" y="303"/>
                        </a:lnTo>
                        <a:lnTo>
                          <a:pt x="2" y="278"/>
                        </a:lnTo>
                        <a:lnTo>
                          <a:pt x="0" y="252"/>
                        </a:lnTo>
                        <a:lnTo>
                          <a:pt x="0" y="252"/>
                        </a:lnTo>
                        <a:lnTo>
                          <a:pt x="2" y="226"/>
                        </a:lnTo>
                        <a:lnTo>
                          <a:pt x="5" y="202"/>
                        </a:lnTo>
                        <a:lnTo>
                          <a:pt x="12" y="177"/>
                        </a:lnTo>
                        <a:lnTo>
                          <a:pt x="19" y="154"/>
                        </a:lnTo>
                        <a:lnTo>
                          <a:pt x="29" y="132"/>
                        </a:lnTo>
                        <a:lnTo>
                          <a:pt x="42" y="112"/>
                        </a:lnTo>
                        <a:lnTo>
                          <a:pt x="55" y="92"/>
                        </a:lnTo>
                        <a:lnTo>
                          <a:pt x="71" y="74"/>
                        </a:lnTo>
                        <a:lnTo>
                          <a:pt x="88" y="58"/>
                        </a:lnTo>
                        <a:lnTo>
                          <a:pt x="107" y="44"/>
                        </a:lnTo>
                        <a:lnTo>
                          <a:pt x="126" y="31"/>
                        </a:lnTo>
                        <a:lnTo>
                          <a:pt x="148" y="21"/>
                        </a:lnTo>
                        <a:lnTo>
                          <a:pt x="169" y="12"/>
                        </a:lnTo>
                        <a:lnTo>
                          <a:pt x="193" y="5"/>
                        </a:lnTo>
                        <a:lnTo>
                          <a:pt x="217" y="2"/>
                        </a:lnTo>
                        <a:lnTo>
                          <a:pt x="242" y="0"/>
                        </a:lnTo>
                        <a:lnTo>
                          <a:pt x="242" y="0"/>
                        </a:lnTo>
                        <a:lnTo>
                          <a:pt x="266" y="2"/>
                        </a:lnTo>
                        <a:lnTo>
                          <a:pt x="290" y="5"/>
                        </a:lnTo>
                        <a:lnTo>
                          <a:pt x="313" y="11"/>
                        </a:lnTo>
                        <a:lnTo>
                          <a:pt x="334" y="19"/>
                        </a:lnTo>
                        <a:lnTo>
                          <a:pt x="355" y="29"/>
                        </a:lnTo>
                        <a:lnTo>
                          <a:pt x="375" y="42"/>
                        </a:lnTo>
                        <a:lnTo>
                          <a:pt x="394" y="57"/>
                        </a:lnTo>
                        <a:lnTo>
                          <a:pt x="411" y="73"/>
                        </a:lnTo>
                        <a:lnTo>
                          <a:pt x="411" y="73"/>
                        </a:lnTo>
                        <a:close/>
                        <a:moveTo>
                          <a:pt x="411" y="73"/>
                        </a:moveTo>
                        <a:lnTo>
                          <a:pt x="411" y="7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4" name="Freeform 19">
                    <a:extLst>
                      <a:ext uri="{FF2B5EF4-FFF2-40B4-BE49-F238E27FC236}">
                        <a16:creationId xmlns="" xmlns:a16="http://schemas.microsoft.com/office/drawing/2014/main" id="{49300CD0-29C0-46EE-AF6C-3A1CF8C1996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0264776" y="-4238625"/>
                    <a:ext cx="3294063" cy="2871788"/>
                  </a:xfrm>
                  <a:custGeom>
                    <a:avLst/>
                    <a:gdLst/>
                    <a:ahLst/>
                    <a:cxnLst>
                      <a:cxn ang="0">
                        <a:pos x="3835" y="1280"/>
                      </a:cxn>
                      <a:cxn ang="0">
                        <a:pos x="3569" y="747"/>
                      </a:cxn>
                      <a:cxn ang="0">
                        <a:pos x="3475" y="712"/>
                      </a:cxn>
                      <a:cxn ang="0">
                        <a:pos x="3418" y="753"/>
                      </a:cxn>
                      <a:cxn ang="0">
                        <a:pos x="3423" y="853"/>
                      </a:cxn>
                      <a:cxn ang="0">
                        <a:pos x="3669" y="1356"/>
                      </a:cxn>
                      <a:cxn ang="0">
                        <a:pos x="3779" y="1866"/>
                      </a:cxn>
                      <a:cxn ang="0">
                        <a:pos x="3918" y="2003"/>
                      </a:cxn>
                      <a:cxn ang="0">
                        <a:pos x="3970" y="2192"/>
                      </a:cxn>
                      <a:cxn ang="0">
                        <a:pos x="3935" y="2351"/>
                      </a:cxn>
                      <a:cxn ang="0">
                        <a:pos x="3848" y="2466"/>
                      </a:cxn>
                      <a:cxn ang="0">
                        <a:pos x="3708" y="2548"/>
                      </a:cxn>
                      <a:cxn ang="0">
                        <a:pos x="3523" y="2611"/>
                      </a:cxn>
                      <a:cxn ang="0">
                        <a:pos x="3230" y="2985"/>
                      </a:cxn>
                      <a:cxn ang="0">
                        <a:pos x="2889" y="3236"/>
                      </a:cxn>
                      <a:cxn ang="0">
                        <a:pos x="2430" y="3404"/>
                      </a:cxn>
                      <a:cxn ang="0">
                        <a:pos x="1991" y="3433"/>
                      </a:cxn>
                      <a:cxn ang="0">
                        <a:pos x="1514" y="3328"/>
                      </a:cxn>
                      <a:cxn ang="0">
                        <a:pos x="1094" y="3089"/>
                      </a:cxn>
                      <a:cxn ang="0">
                        <a:pos x="760" y="2733"/>
                      </a:cxn>
                      <a:cxn ang="0">
                        <a:pos x="535" y="2546"/>
                      </a:cxn>
                      <a:cxn ang="0">
                        <a:pos x="376" y="2501"/>
                      </a:cxn>
                      <a:cxn ang="0">
                        <a:pos x="218" y="2335"/>
                      </a:cxn>
                      <a:cxn ang="0">
                        <a:pos x="181" y="2173"/>
                      </a:cxn>
                      <a:cxn ang="0">
                        <a:pos x="245" y="1963"/>
                      </a:cxn>
                      <a:cxn ang="0">
                        <a:pos x="472" y="1805"/>
                      </a:cxn>
                      <a:cxn ang="0">
                        <a:pos x="506" y="1474"/>
                      </a:cxn>
                      <a:cxn ang="0">
                        <a:pos x="615" y="1144"/>
                      </a:cxn>
                      <a:cxn ang="0">
                        <a:pos x="790" y="844"/>
                      </a:cxn>
                      <a:cxn ang="0">
                        <a:pos x="1000" y="611"/>
                      </a:cxn>
                      <a:cxn ang="0">
                        <a:pos x="1284" y="401"/>
                      </a:cxn>
                      <a:cxn ang="0">
                        <a:pos x="1602" y="259"/>
                      </a:cxn>
                      <a:cxn ang="0">
                        <a:pos x="1945" y="189"/>
                      </a:cxn>
                      <a:cxn ang="0">
                        <a:pos x="2284" y="191"/>
                      </a:cxn>
                      <a:cxn ang="0">
                        <a:pos x="2373" y="145"/>
                      </a:cxn>
                      <a:cxn ang="0">
                        <a:pos x="2381" y="76"/>
                      </a:cxn>
                      <a:cxn ang="0">
                        <a:pos x="2304" y="12"/>
                      </a:cxn>
                      <a:cxn ang="0">
                        <a:pos x="1928" y="9"/>
                      </a:cxn>
                      <a:cxn ang="0">
                        <a:pos x="1546" y="87"/>
                      </a:cxn>
                      <a:cxn ang="0">
                        <a:pos x="1192" y="245"/>
                      </a:cxn>
                      <a:cxn ang="0">
                        <a:pos x="877" y="477"/>
                      </a:cxn>
                      <a:cxn ang="0">
                        <a:pos x="651" y="727"/>
                      </a:cxn>
                      <a:cxn ang="0">
                        <a:pos x="460" y="1045"/>
                      </a:cxn>
                      <a:cxn ang="0">
                        <a:pos x="339" y="1396"/>
                      </a:cxn>
                      <a:cxn ang="0">
                        <a:pos x="266" y="1699"/>
                      </a:cxn>
                      <a:cxn ang="0">
                        <a:pos x="75" y="1895"/>
                      </a:cxn>
                      <a:cxn ang="0">
                        <a:pos x="0" y="2202"/>
                      </a:cxn>
                      <a:cxn ang="0">
                        <a:pos x="65" y="2433"/>
                      </a:cxn>
                      <a:cxn ang="0">
                        <a:pos x="217" y="2613"/>
                      </a:cxn>
                      <a:cxn ang="0">
                        <a:pos x="433" y="2714"/>
                      </a:cxn>
                      <a:cxn ang="0">
                        <a:pos x="676" y="2924"/>
                      </a:cxn>
                      <a:cxn ang="0">
                        <a:pos x="1056" y="3286"/>
                      </a:cxn>
                      <a:cxn ang="0">
                        <a:pos x="1521" y="3523"/>
                      </a:cxn>
                      <a:cxn ang="0">
                        <a:pos x="2042" y="3617"/>
                      </a:cxn>
                      <a:cxn ang="0">
                        <a:pos x="2524" y="3569"/>
                      </a:cxn>
                      <a:cxn ang="0">
                        <a:pos x="3029" y="3365"/>
                      </a:cxn>
                      <a:cxn ang="0">
                        <a:pos x="3381" y="3092"/>
                      </a:cxn>
                      <a:cxn ang="0">
                        <a:pos x="3654" y="2743"/>
                      </a:cxn>
                      <a:cxn ang="0">
                        <a:pos x="3857" y="2681"/>
                      </a:cxn>
                      <a:cxn ang="0">
                        <a:pos x="4009" y="2562"/>
                      </a:cxn>
                      <a:cxn ang="0">
                        <a:pos x="4127" y="2352"/>
                      </a:cxn>
                      <a:cxn ang="0">
                        <a:pos x="4146" y="2123"/>
                      </a:cxn>
                      <a:cxn ang="0">
                        <a:pos x="4033" y="1851"/>
                      </a:cxn>
                    </a:cxnLst>
                    <a:rect l="0" t="0" r="r" b="b"/>
                    <a:pathLst>
                      <a:path w="4151" h="3619">
                        <a:moveTo>
                          <a:pt x="3913" y="1737"/>
                        </a:moveTo>
                        <a:lnTo>
                          <a:pt x="3913" y="1737"/>
                        </a:lnTo>
                        <a:lnTo>
                          <a:pt x="3909" y="1669"/>
                        </a:lnTo>
                        <a:lnTo>
                          <a:pt x="3903" y="1602"/>
                        </a:lnTo>
                        <a:lnTo>
                          <a:pt x="3894" y="1537"/>
                        </a:lnTo>
                        <a:lnTo>
                          <a:pt x="3883" y="1472"/>
                        </a:lnTo>
                        <a:lnTo>
                          <a:pt x="3870" y="1407"/>
                        </a:lnTo>
                        <a:lnTo>
                          <a:pt x="3854" y="1342"/>
                        </a:lnTo>
                        <a:lnTo>
                          <a:pt x="3835" y="1280"/>
                        </a:lnTo>
                        <a:lnTo>
                          <a:pt x="3815" y="1216"/>
                        </a:lnTo>
                        <a:lnTo>
                          <a:pt x="3792" y="1154"/>
                        </a:lnTo>
                        <a:lnTo>
                          <a:pt x="3767" y="1093"/>
                        </a:lnTo>
                        <a:lnTo>
                          <a:pt x="3740" y="1032"/>
                        </a:lnTo>
                        <a:lnTo>
                          <a:pt x="3709" y="974"/>
                        </a:lnTo>
                        <a:lnTo>
                          <a:pt x="3677" y="915"/>
                        </a:lnTo>
                        <a:lnTo>
                          <a:pt x="3644" y="859"/>
                        </a:lnTo>
                        <a:lnTo>
                          <a:pt x="3608" y="802"/>
                        </a:lnTo>
                        <a:lnTo>
                          <a:pt x="3569" y="747"/>
                        </a:lnTo>
                        <a:lnTo>
                          <a:pt x="3569" y="747"/>
                        </a:lnTo>
                        <a:lnTo>
                          <a:pt x="3563" y="740"/>
                        </a:lnTo>
                        <a:lnTo>
                          <a:pt x="3557" y="733"/>
                        </a:lnTo>
                        <a:lnTo>
                          <a:pt x="3550" y="728"/>
                        </a:lnTo>
                        <a:lnTo>
                          <a:pt x="3543" y="723"/>
                        </a:lnTo>
                        <a:lnTo>
                          <a:pt x="3527" y="715"/>
                        </a:lnTo>
                        <a:lnTo>
                          <a:pt x="3510" y="711"/>
                        </a:lnTo>
                        <a:lnTo>
                          <a:pt x="3492" y="710"/>
                        </a:lnTo>
                        <a:lnTo>
                          <a:pt x="3475" y="712"/>
                        </a:lnTo>
                        <a:lnTo>
                          <a:pt x="3466" y="714"/>
                        </a:lnTo>
                        <a:lnTo>
                          <a:pt x="3459" y="718"/>
                        </a:lnTo>
                        <a:lnTo>
                          <a:pt x="3450" y="723"/>
                        </a:lnTo>
                        <a:lnTo>
                          <a:pt x="3443" y="727"/>
                        </a:lnTo>
                        <a:lnTo>
                          <a:pt x="3443" y="727"/>
                        </a:lnTo>
                        <a:lnTo>
                          <a:pt x="3436" y="733"/>
                        </a:lnTo>
                        <a:lnTo>
                          <a:pt x="3428" y="740"/>
                        </a:lnTo>
                        <a:lnTo>
                          <a:pt x="3423" y="746"/>
                        </a:lnTo>
                        <a:lnTo>
                          <a:pt x="3418" y="753"/>
                        </a:lnTo>
                        <a:lnTo>
                          <a:pt x="3411" y="769"/>
                        </a:lnTo>
                        <a:lnTo>
                          <a:pt x="3407" y="786"/>
                        </a:lnTo>
                        <a:lnTo>
                          <a:pt x="3405" y="804"/>
                        </a:lnTo>
                        <a:lnTo>
                          <a:pt x="3407" y="821"/>
                        </a:lnTo>
                        <a:lnTo>
                          <a:pt x="3410" y="830"/>
                        </a:lnTo>
                        <a:lnTo>
                          <a:pt x="3413" y="838"/>
                        </a:lnTo>
                        <a:lnTo>
                          <a:pt x="3417" y="846"/>
                        </a:lnTo>
                        <a:lnTo>
                          <a:pt x="3423" y="853"/>
                        </a:lnTo>
                        <a:lnTo>
                          <a:pt x="3423" y="853"/>
                        </a:lnTo>
                        <a:lnTo>
                          <a:pt x="3459" y="905"/>
                        </a:lnTo>
                        <a:lnTo>
                          <a:pt x="3492" y="958"/>
                        </a:lnTo>
                        <a:lnTo>
                          <a:pt x="3524" y="1012"/>
                        </a:lnTo>
                        <a:lnTo>
                          <a:pt x="3554" y="1067"/>
                        </a:lnTo>
                        <a:lnTo>
                          <a:pt x="3582" y="1123"/>
                        </a:lnTo>
                        <a:lnTo>
                          <a:pt x="3606" y="1180"/>
                        </a:lnTo>
                        <a:lnTo>
                          <a:pt x="3630" y="1238"/>
                        </a:lnTo>
                        <a:lnTo>
                          <a:pt x="3650" y="1297"/>
                        </a:lnTo>
                        <a:lnTo>
                          <a:pt x="3669" y="1356"/>
                        </a:lnTo>
                        <a:lnTo>
                          <a:pt x="3685" y="1416"/>
                        </a:lnTo>
                        <a:lnTo>
                          <a:pt x="3699" y="1477"/>
                        </a:lnTo>
                        <a:lnTo>
                          <a:pt x="3711" y="1537"/>
                        </a:lnTo>
                        <a:lnTo>
                          <a:pt x="3719" y="1600"/>
                        </a:lnTo>
                        <a:lnTo>
                          <a:pt x="3727" y="1662"/>
                        </a:lnTo>
                        <a:lnTo>
                          <a:pt x="3731" y="1725"/>
                        </a:lnTo>
                        <a:lnTo>
                          <a:pt x="3732" y="1788"/>
                        </a:lnTo>
                        <a:lnTo>
                          <a:pt x="3734" y="1840"/>
                        </a:lnTo>
                        <a:lnTo>
                          <a:pt x="3779" y="1866"/>
                        </a:lnTo>
                        <a:lnTo>
                          <a:pt x="3779" y="1866"/>
                        </a:lnTo>
                        <a:lnTo>
                          <a:pt x="3800" y="1879"/>
                        </a:lnTo>
                        <a:lnTo>
                          <a:pt x="3821" y="1893"/>
                        </a:lnTo>
                        <a:lnTo>
                          <a:pt x="3839" y="1909"/>
                        </a:lnTo>
                        <a:lnTo>
                          <a:pt x="3858" y="1925"/>
                        </a:lnTo>
                        <a:lnTo>
                          <a:pt x="3876" y="1944"/>
                        </a:lnTo>
                        <a:lnTo>
                          <a:pt x="3892" y="1963"/>
                        </a:lnTo>
                        <a:lnTo>
                          <a:pt x="3905" y="1983"/>
                        </a:lnTo>
                        <a:lnTo>
                          <a:pt x="3918" y="2003"/>
                        </a:lnTo>
                        <a:lnTo>
                          <a:pt x="3931" y="2025"/>
                        </a:lnTo>
                        <a:lnTo>
                          <a:pt x="3941" y="2047"/>
                        </a:lnTo>
                        <a:lnTo>
                          <a:pt x="3949" y="2070"/>
                        </a:lnTo>
                        <a:lnTo>
                          <a:pt x="3957" y="2093"/>
                        </a:lnTo>
                        <a:lnTo>
                          <a:pt x="3963" y="2118"/>
                        </a:lnTo>
                        <a:lnTo>
                          <a:pt x="3967" y="2142"/>
                        </a:lnTo>
                        <a:lnTo>
                          <a:pt x="3968" y="2167"/>
                        </a:lnTo>
                        <a:lnTo>
                          <a:pt x="3970" y="2192"/>
                        </a:lnTo>
                        <a:lnTo>
                          <a:pt x="3970" y="2192"/>
                        </a:lnTo>
                        <a:lnTo>
                          <a:pt x="3970" y="2210"/>
                        </a:lnTo>
                        <a:lnTo>
                          <a:pt x="3968" y="2228"/>
                        </a:lnTo>
                        <a:lnTo>
                          <a:pt x="3965" y="2247"/>
                        </a:lnTo>
                        <a:lnTo>
                          <a:pt x="3963" y="2264"/>
                        </a:lnTo>
                        <a:lnTo>
                          <a:pt x="3958" y="2283"/>
                        </a:lnTo>
                        <a:lnTo>
                          <a:pt x="3954" y="2300"/>
                        </a:lnTo>
                        <a:lnTo>
                          <a:pt x="3948" y="2316"/>
                        </a:lnTo>
                        <a:lnTo>
                          <a:pt x="3942" y="2333"/>
                        </a:lnTo>
                        <a:lnTo>
                          <a:pt x="3935" y="2351"/>
                        </a:lnTo>
                        <a:lnTo>
                          <a:pt x="3926" y="2367"/>
                        </a:lnTo>
                        <a:lnTo>
                          <a:pt x="3918" y="2383"/>
                        </a:lnTo>
                        <a:lnTo>
                          <a:pt x="3908" y="2397"/>
                        </a:lnTo>
                        <a:lnTo>
                          <a:pt x="3897" y="2411"/>
                        </a:lnTo>
                        <a:lnTo>
                          <a:pt x="3886" y="2426"/>
                        </a:lnTo>
                        <a:lnTo>
                          <a:pt x="3874" y="2440"/>
                        </a:lnTo>
                        <a:lnTo>
                          <a:pt x="3861" y="2453"/>
                        </a:lnTo>
                        <a:lnTo>
                          <a:pt x="3861" y="2453"/>
                        </a:lnTo>
                        <a:lnTo>
                          <a:pt x="3848" y="2466"/>
                        </a:lnTo>
                        <a:lnTo>
                          <a:pt x="3834" y="2480"/>
                        </a:lnTo>
                        <a:lnTo>
                          <a:pt x="3821" y="2490"/>
                        </a:lnTo>
                        <a:lnTo>
                          <a:pt x="3805" y="2501"/>
                        </a:lnTo>
                        <a:lnTo>
                          <a:pt x="3790" y="2510"/>
                        </a:lnTo>
                        <a:lnTo>
                          <a:pt x="3774" y="2520"/>
                        </a:lnTo>
                        <a:lnTo>
                          <a:pt x="3758" y="2527"/>
                        </a:lnTo>
                        <a:lnTo>
                          <a:pt x="3741" y="2536"/>
                        </a:lnTo>
                        <a:lnTo>
                          <a:pt x="3725" y="2542"/>
                        </a:lnTo>
                        <a:lnTo>
                          <a:pt x="3708" y="2548"/>
                        </a:lnTo>
                        <a:lnTo>
                          <a:pt x="3690" y="2553"/>
                        </a:lnTo>
                        <a:lnTo>
                          <a:pt x="3673" y="2556"/>
                        </a:lnTo>
                        <a:lnTo>
                          <a:pt x="3656" y="2561"/>
                        </a:lnTo>
                        <a:lnTo>
                          <a:pt x="3637" y="2562"/>
                        </a:lnTo>
                        <a:lnTo>
                          <a:pt x="3618" y="2563"/>
                        </a:lnTo>
                        <a:lnTo>
                          <a:pt x="3601" y="2565"/>
                        </a:lnTo>
                        <a:lnTo>
                          <a:pt x="3549" y="2565"/>
                        </a:lnTo>
                        <a:lnTo>
                          <a:pt x="3523" y="2611"/>
                        </a:lnTo>
                        <a:lnTo>
                          <a:pt x="3523" y="2611"/>
                        </a:lnTo>
                        <a:lnTo>
                          <a:pt x="3495" y="2656"/>
                        </a:lnTo>
                        <a:lnTo>
                          <a:pt x="3468" y="2701"/>
                        </a:lnTo>
                        <a:lnTo>
                          <a:pt x="3437" y="2744"/>
                        </a:lnTo>
                        <a:lnTo>
                          <a:pt x="3405" y="2788"/>
                        </a:lnTo>
                        <a:lnTo>
                          <a:pt x="3373" y="2830"/>
                        </a:lnTo>
                        <a:lnTo>
                          <a:pt x="3340" y="2870"/>
                        </a:lnTo>
                        <a:lnTo>
                          <a:pt x="3304" y="2909"/>
                        </a:lnTo>
                        <a:lnTo>
                          <a:pt x="3268" y="2948"/>
                        </a:lnTo>
                        <a:lnTo>
                          <a:pt x="3230" y="2985"/>
                        </a:lnTo>
                        <a:lnTo>
                          <a:pt x="3191" y="3021"/>
                        </a:lnTo>
                        <a:lnTo>
                          <a:pt x="3152" y="3056"/>
                        </a:lnTo>
                        <a:lnTo>
                          <a:pt x="3110" y="3089"/>
                        </a:lnTo>
                        <a:lnTo>
                          <a:pt x="3068" y="3122"/>
                        </a:lnTo>
                        <a:lnTo>
                          <a:pt x="3025" y="3152"/>
                        </a:lnTo>
                        <a:lnTo>
                          <a:pt x="2981" y="3181"/>
                        </a:lnTo>
                        <a:lnTo>
                          <a:pt x="2935" y="3209"/>
                        </a:lnTo>
                        <a:lnTo>
                          <a:pt x="2935" y="3209"/>
                        </a:lnTo>
                        <a:lnTo>
                          <a:pt x="2889" y="3236"/>
                        </a:lnTo>
                        <a:lnTo>
                          <a:pt x="2839" y="3262"/>
                        </a:lnTo>
                        <a:lnTo>
                          <a:pt x="2790" y="3286"/>
                        </a:lnTo>
                        <a:lnTo>
                          <a:pt x="2741" y="3309"/>
                        </a:lnTo>
                        <a:lnTo>
                          <a:pt x="2690" y="3329"/>
                        </a:lnTo>
                        <a:lnTo>
                          <a:pt x="2640" y="3348"/>
                        </a:lnTo>
                        <a:lnTo>
                          <a:pt x="2588" y="3364"/>
                        </a:lnTo>
                        <a:lnTo>
                          <a:pt x="2536" y="3380"/>
                        </a:lnTo>
                        <a:lnTo>
                          <a:pt x="2482" y="3393"/>
                        </a:lnTo>
                        <a:lnTo>
                          <a:pt x="2430" y="3404"/>
                        </a:lnTo>
                        <a:lnTo>
                          <a:pt x="2375" y="3414"/>
                        </a:lnTo>
                        <a:lnTo>
                          <a:pt x="2321" y="3423"/>
                        </a:lnTo>
                        <a:lnTo>
                          <a:pt x="2268" y="3429"/>
                        </a:lnTo>
                        <a:lnTo>
                          <a:pt x="2213" y="3435"/>
                        </a:lnTo>
                        <a:lnTo>
                          <a:pt x="2158" y="3436"/>
                        </a:lnTo>
                        <a:lnTo>
                          <a:pt x="2103" y="3438"/>
                        </a:lnTo>
                        <a:lnTo>
                          <a:pt x="2103" y="3438"/>
                        </a:lnTo>
                        <a:lnTo>
                          <a:pt x="2046" y="3436"/>
                        </a:lnTo>
                        <a:lnTo>
                          <a:pt x="1991" y="3433"/>
                        </a:lnTo>
                        <a:lnTo>
                          <a:pt x="1936" y="3429"/>
                        </a:lnTo>
                        <a:lnTo>
                          <a:pt x="1881" y="3423"/>
                        </a:lnTo>
                        <a:lnTo>
                          <a:pt x="1828" y="3414"/>
                        </a:lnTo>
                        <a:lnTo>
                          <a:pt x="1774" y="3404"/>
                        </a:lnTo>
                        <a:lnTo>
                          <a:pt x="1721" y="3393"/>
                        </a:lnTo>
                        <a:lnTo>
                          <a:pt x="1669" y="3378"/>
                        </a:lnTo>
                        <a:lnTo>
                          <a:pt x="1617" y="3364"/>
                        </a:lnTo>
                        <a:lnTo>
                          <a:pt x="1564" y="3346"/>
                        </a:lnTo>
                        <a:lnTo>
                          <a:pt x="1514" y="3328"/>
                        </a:lnTo>
                        <a:lnTo>
                          <a:pt x="1465" y="3307"/>
                        </a:lnTo>
                        <a:lnTo>
                          <a:pt x="1415" y="3286"/>
                        </a:lnTo>
                        <a:lnTo>
                          <a:pt x="1366" y="3262"/>
                        </a:lnTo>
                        <a:lnTo>
                          <a:pt x="1318" y="3236"/>
                        </a:lnTo>
                        <a:lnTo>
                          <a:pt x="1272" y="3210"/>
                        </a:lnTo>
                        <a:lnTo>
                          <a:pt x="1226" y="3183"/>
                        </a:lnTo>
                        <a:lnTo>
                          <a:pt x="1181" y="3152"/>
                        </a:lnTo>
                        <a:lnTo>
                          <a:pt x="1137" y="3122"/>
                        </a:lnTo>
                        <a:lnTo>
                          <a:pt x="1094" y="3089"/>
                        </a:lnTo>
                        <a:lnTo>
                          <a:pt x="1052" y="3054"/>
                        </a:lnTo>
                        <a:lnTo>
                          <a:pt x="1012" y="3019"/>
                        </a:lnTo>
                        <a:lnTo>
                          <a:pt x="972" y="2982"/>
                        </a:lnTo>
                        <a:lnTo>
                          <a:pt x="933" y="2944"/>
                        </a:lnTo>
                        <a:lnTo>
                          <a:pt x="896" y="2905"/>
                        </a:lnTo>
                        <a:lnTo>
                          <a:pt x="860" y="2863"/>
                        </a:lnTo>
                        <a:lnTo>
                          <a:pt x="825" y="2821"/>
                        </a:lnTo>
                        <a:lnTo>
                          <a:pt x="792" y="2778"/>
                        </a:lnTo>
                        <a:lnTo>
                          <a:pt x="760" y="2733"/>
                        </a:lnTo>
                        <a:lnTo>
                          <a:pt x="729" y="2688"/>
                        </a:lnTo>
                        <a:lnTo>
                          <a:pt x="700" y="2640"/>
                        </a:lnTo>
                        <a:lnTo>
                          <a:pt x="673" y="2592"/>
                        </a:lnTo>
                        <a:lnTo>
                          <a:pt x="644" y="2540"/>
                        </a:lnTo>
                        <a:lnTo>
                          <a:pt x="586" y="2545"/>
                        </a:lnTo>
                        <a:lnTo>
                          <a:pt x="586" y="2545"/>
                        </a:lnTo>
                        <a:lnTo>
                          <a:pt x="554" y="2546"/>
                        </a:lnTo>
                        <a:lnTo>
                          <a:pt x="554" y="2546"/>
                        </a:lnTo>
                        <a:lnTo>
                          <a:pt x="535" y="2546"/>
                        </a:lnTo>
                        <a:lnTo>
                          <a:pt x="517" y="2545"/>
                        </a:lnTo>
                        <a:lnTo>
                          <a:pt x="498" y="2542"/>
                        </a:lnTo>
                        <a:lnTo>
                          <a:pt x="479" y="2539"/>
                        </a:lnTo>
                        <a:lnTo>
                          <a:pt x="462" y="2535"/>
                        </a:lnTo>
                        <a:lnTo>
                          <a:pt x="444" y="2530"/>
                        </a:lnTo>
                        <a:lnTo>
                          <a:pt x="427" y="2524"/>
                        </a:lnTo>
                        <a:lnTo>
                          <a:pt x="410" y="2517"/>
                        </a:lnTo>
                        <a:lnTo>
                          <a:pt x="394" y="2510"/>
                        </a:lnTo>
                        <a:lnTo>
                          <a:pt x="376" y="2501"/>
                        </a:lnTo>
                        <a:lnTo>
                          <a:pt x="362" y="2493"/>
                        </a:lnTo>
                        <a:lnTo>
                          <a:pt x="346" y="2482"/>
                        </a:lnTo>
                        <a:lnTo>
                          <a:pt x="317" y="2461"/>
                        </a:lnTo>
                        <a:lnTo>
                          <a:pt x="291" y="2438"/>
                        </a:lnTo>
                        <a:lnTo>
                          <a:pt x="266" y="2410"/>
                        </a:lnTo>
                        <a:lnTo>
                          <a:pt x="245" y="2383"/>
                        </a:lnTo>
                        <a:lnTo>
                          <a:pt x="236" y="2367"/>
                        </a:lnTo>
                        <a:lnTo>
                          <a:pt x="226" y="2351"/>
                        </a:lnTo>
                        <a:lnTo>
                          <a:pt x="218" y="2335"/>
                        </a:lnTo>
                        <a:lnTo>
                          <a:pt x="211" y="2319"/>
                        </a:lnTo>
                        <a:lnTo>
                          <a:pt x="204" y="2302"/>
                        </a:lnTo>
                        <a:lnTo>
                          <a:pt x="198" y="2284"/>
                        </a:lnTo>
                        <a:lnTo>
                          <a:pt x="192" y="2267"/>
                        </a:lnTo>
                        <a:lnTo>
                          <a:pt x="188" y="2248"/>
                        </a:lnTo>
                        <a:lnTo>
                          <a:pt x="185" y="2231"/>
                        </a:lnTo>
                        <a:lnTo>
                          <a:pt x="184" y="2212"/>
                        </a:lnTo>
                        <a:lnTo>
                          <a:pt x="182" y="2193"/>
                        </a:lnTo>
                        <a:lnTo>
                          <a:pt x="181" y="2173"/>
                        </a:lnTo>
                        <a:lnTo>
                          <a:pt x="181" y="2173"/>
                        </a:lnTo>
                        <a:lnTo>
                          <a:pt x="182" y="2145"/>
                        </a:lnTo>
                        <a:lnTo>
                          <a:pt x="185" y="2116"/>
                        </a:lnTo>
                        <a:lnTo>
                          <a:pt x="191" y="2089"/>
                        </a:lnTo>
                        <a:lnTo>
                          <a:pt x="198" y="2063"/>
                        </a:lnTo>
                        <a:lnTo>
                          <a:pt x="207" y="2037"/>
                        </a:lnTo>
                        <a:lnTo>
                          <a:pt x="218" y="2011"/>
                        </a:lnTo>
                        <a:lnTo>
                          <a:pt x="230" y="1987"/>
                        </a:lnTo>
                        <a:lnTo>
                          <a:pt x="245" y="1963"/>
                        </a:lnTo>
                        <a:lnTo>
                          <a:pt x="262" y="1941"/>
                        </a:lnTo>
                        <a:lnTo>
                          <a:pt x="279" y="1921"/>
                        </a:lnTo>
                        <a:lnTo>
                          <a:pt x="298" y="1901"/>
                        </a:lnTo>
                        <a:lnTo>
                          <a:pt x="320" y="1883"/>
                        </a:lnTo>
                        <a:lnTo>
                          <a:pt x="341" y="1866"/>
                        </a:lnTo>
                        <a:lnTo>
                          <a:pt x="366" y="1851"/>
                        </a:lnTo>
                        <a:lnTo>
                          <a:pt x="391" y="1838"/>
                        </a:lnTo>
                        <a:lnTo>
                          <a:pt x="417" y="1827"/>
                        </a:lnTo>
                        <a:lnTo>
                          <a:pt x="472" y="1805"/>
                        </a:lnTo>
                        <a:lnTo>
                          <a:pt x="473" y="1746"/>
                        </a:lnTo>
                        <a:lnTo>
                          <a:pt x="473" y="1746"/>
                        </a:lnTo>
                        <a:lnTo>
                          <a:pt x="476" y="1707"/>
                        </a:lnTo>
                        <a:lnTo>
                          <a:pt x="479" y="1668"/>
                        </a:lnTo>
                        <a:lnTo>
                          <a:pt x="482" y="1629"/>
                        </a:lnTo>
                        <a:lnTo>
                          <a:pt x="488" y="1589"/>
                        </a:lnTo>
                        <a:lnTo>
                          <a:pt x="493" y="1550"/>
                        </a:lnTo>
                        <a:lnTo>
                          <a:pt x="499" y="1513"/>
                        </a:lnTo>
                        <a:lnTo>
                          <a:pt x="506" y="1474"/>
                        </a:lnTo>
                        <a:lnTo>
                          <a:pt x="515" y="1436"/>
                        </a:lnTo>
                        <a:lnTo>
                          <a:pt x="525" y="1398"/>
                        </a:lnTo>
                        <a:lnTo>
                          <a:pt x="535" y="1361"/>
                        </a:lnTo>
                        <a:lnTo>
                          <a:pt x="546" y="1325"/>
                        </a:lnTo>
                        <a:lnTo>
                          <a:pt x="559" y="1287"/>
                        </a:lnTo>
                        <a:lnTo>
                          <a:pt x="570" y="1251"/>
                        </a:lnTo>
                        <a:lnTo>
                          <a:pt x="585" y="1215"/>
                        </a:lnTo>
                        <a:lnTo>
                          <a:pt x="599" y="1178"/>
                        </a:lnTo>
                        <a:lnTo>
                          <a:pt x="615" y="1144"/>
                        </a:lnTo>
                        <a:lnTo>
                          <a:pt x="631" y="1109"/>
                        </a:lnTo>
                        <a:lnTo>
                          <a:pt x="648" y="1074"/>
                        </a:lnTo>
                        <a:lnTo>
                          <a:pt x="666" y="1040"/>
                        </a:lnTo>
                        <a:lnTo>
                          <a:pt x="684" y="1006"/>
                        </a:lnTo>
                        <a:lnTo>
                          <a:pt x="703" y="973"/>
                        </a:lnTo>
                        <a:lnTo>
                          <a:pt x="724" y="940"/>
                        </a:lnTo>
                        <a:lnTo>
                          <a:pt x="745" y="908"/>
                        </a:lnTo>
                        <a:lnTo>
                          <a:pt x="767" y="876"/>
                        </a:lnTo>
                        <a:lnTo>
                          <a:pt x="790" y="844"/>
                        </a:lnTo>
                        <a:lnTo>
                          <a:pt x="813" y="812"/>
                        </a:lnTo>
                        <a:lnTo>
                          <a:pt x="838" y="782"/>
                        </a:lnTo>
                        <a:lnTo>
                          <a:pt x="863" y="751"/>
                        </a:lnTo>
                        <a:lnTo>
                          <a:pt x="889" y="723"/>
                        </a:lnTo>
                        <a:lnTo>
                          <a:pt x="916" y="694"/>
                        </a:lnTo>
                        <a:lnTo>
                          <a:pt x="944" y="665"/>
                        </a:lnTo>
                        <a:lnTo>
                          <a:pt x="971" y="637"/>
                        </a:lnTo>
                        <a:lnTo>
                          <a:pt x="971" y="637"/>
                        </a:lnTo>
                        <a:lnTo>
                          <a:pt x="1000" y="611"/>
                        </a:lnTo>
                        <a:lnTo>
                          <a:pt x="1029" y="584"/>
                        </a:lnTo>
                        <a:lnTo>
                          <a:pt x="1059" y="559"/>
                        </a:lnTo>
                        <a:lnTo>
                          <a:pt x="1090" y="533"/>
                        </a:lnTo>
                        <a:lnTo>
                          <a:pt x="1122" y="510"/>
                        </a:lnTo>
                        <a:lnTo>
                          <a:pt x="1152" y="487"/>
                        </a:lnTo>
                        <a:lnTo>
                          <a:pt x="1185" y="463"/>
                        </a:lnTo>
                        <a:lnTo>
                          <a:pt x="1217" y="442"/>
                        </a:lnTo>
                        <a:lnTo>
                          <a:pt x="1250" y="422"/>
                        </a:lnTo>
                        <a:lnTo>
                          <a:pt x="1284" y="401"/>
                        </a:lnTo>
                        <a:lnTo>
                          <a:pt x="1317" y="382"/>
                        </a:lnTo>
                        <a:lnTo>
                          <a:pt x="1352" y="364"/>
                        </a:lnTo>
                        <a:lnTo>
                          <a:pt x="1386" y="346"/>
                        </a:lnTo>
                        <a:lnTo>
                          <a:pt x="1421" y="330"/>
                        </a:lnTo>
                        <a:lnTo>
                          <a:pt x="1456" y="314"/>
                        </a:lnTo>
                        <a:lnTo>
                          <a:pt x="1492" y="300"/>
                        </a:lnTo>
                        <a:lnTo>
                          <a:pt x="1528" y="285"/>
                        </a:lnTo>
                        <a:lnTo>
                          <a:pt x="1564" y="272"/>
                        </a:lnTo>
                        <a:lnTo>
                          <a:pt x="1602" y="259"/>
                        </a:lnTo>
                        <a:lnTo>
                          <a:pt x="1638" y="248"/>
                        </a:lnTo>
                        <a:lnTo>
                          <a:pt x="1676" y="238"/>
                        </a:lnTo>
                        <a:lnTo>
                          <a:pt x="1713" y="228"/>
                        </a:lnTo>
                        <a:lnTo>
                          <a:pt x="1751" y="219"/>
                        </a:lnTo>
                        <a:lnTo>
                          <a:pt x="1790" y="212"/>
                        </a:lnTo>
                        <a:lnTo>
                          <a:pt x="1828" y="204"/>
                        </a:lnTo>
                        <a:lnTo>
                          <a:pt x="1867" y="199"/>
                        </a:lnTo>
                        <a:lnTo>
                          <a:pt x="1906" y="193"/>
                        </a:lnTo>
                        <a:lnTo>
                          <a:pt x="1945" y="189"/>
                        </a:lnTo>
                        <a:lnTo>
                          <a:pt x="1984" y="186"/>
                        </a:lnTo>
                        <a:lnTo>
                          <a:pt x="2023" y="183"/>
                        </a:lnTo>
                        <a:lnTo>
                          <a:pt x="2062" y="183"/>
                        </a:lnTo>
                        <a:lnTo>
                          <a:pt x="2103" y="181"/>
                        </a:lnTo>
                        <a:lnTo>
                          <a:pt x="2103" y="181"/>
                        </a:lnTo>
                        <a:lnTo>
                          <a:pt x="2148" y="183"/>
                        </a:lnTo>
                        <a:lnTo>
                          <a:pt x="2194" y="184"/>
                        </a:lnTo>
                        <a:lnTo>
                          <a:pt x="2239" y="187"/>
                        </a:lnTo>
                        <a:lnTo>
                          <a:pt x="2284" y="191"/>
                        </a:lnTo>
                        <a:lnTo>
                          <a:pt x="2284" y="191"/>
                        </a:lnTo>
                        <a:lnTo>
                          <a:pt x="2294" y="191"/>
                        </a:lnTo>
                        <a:lnTo>
                          <a:pt x="2303" y="191"/>
                        </a:lnTo>
                        <a:lnTo>
                          <a:pt x="2311" y="190"/>
                        </a:lnTo>
                        <a:lnTo>
                          <a:pt x="2320" y="189"/>
                        </a:lnTo>
                        <a:lnTo>
                          <a:pt x="2336" y="181"/>
                        </a:lnTo>
                        <a:lnTo>
                          <a:pt x="2350" y="173"/>
                        </a:lnTo>
                        <a:lnTo>
                          <a:pt x="2363" y="160"/>
                        </a:lnTo>
                        <a:lnTo>
                          <a:pt x="2373" y="145"/>
                        </a:lnTo>
                        <a:lnTo>
                          <a:pt x="2376" y="138"/>
                        </a:lnTo>
                        <a:lnTo>
                          <a:pt x="2381" y="129"/>
                        </a:lnTo>
                        <a:lnTo>
                          <a:pt x="2382" y="120"/>
                        </a:lnTo>
                        <a:lnTo>
                          <a:pt x="2384" y="112"/>
                        </a:lnTo>
                        <a:lnTo>
                          <a:pt x="2384" y="112"/>
                        </a:lnTo>
                        <a:lnTo>
                          <a:pt x="2385" y="102"/>
                        </a:lnTo>
                        <a:lnTo>
                          <a:pt x="2384" y="93"/>
                        </a:lnTo>
                        <a:lnTo>
                          <a:pt x="2384" y="84"/>
                        </a:lnTo>
                        <a:lnTo>
                          <a:pt x="2381" y="76"/>
                        </a:lnTo>
                        <a:lnTo>
                          <a:pt x="2373" y="60"/>
                        </a:lnTo>
                        <a:lnTo>
                          <a:pt x="2365" y="45"/>
                        </a:lnTo>
                        <a:lnTo>
                          <a:pt x="2353" y="32"/>
                        </a:lnTo>
                        <a:lnTo>
                          <a:pt x="2339" y="22"/>
                        </a:lnTo>
                        <a:lnTo>
                          <a:pt x="2330" y="19"/>
                        </a:lnTo>
                        <a:lnTo>
                          <a:pt x="2321" y="15"/>
                        </a:lnTo>
                        <a:lnTo>
                          <a:pt x="2313" y="13"/>
                        </a:lnTo>
                        <a:lnTo>
                          <a:pt x="2304" y="12"/>
                        </a:lnTo>
                        <a:lnTo>
                          <a:pt x="2304" y="12"/>
                        </a:lnTo>
                        <a:lnTo>
                          <a:pt x="2253" y="6"/>
                        </a:lnTo>
                        <a:lnTo>
                          <a:pt x="2204" y="3"/>
                        </a:lnTo>
                        <a:lnTo>
                          <a:pt x="2153" y="2"/>
                        </a:lnTo>
                        <a:lnTo>
                          <a:pt x="2103" y="0"/>
                        </a:lnTo>
                        <a:lnTo>
                          <a:pt x="2103" y="0"/>
                        </a:lnTo>
                        <a:lnTo>
                          <a:pt x="2058" y="0"/>
                        </a:lnTo>
                        <a:lnTo>
                          <a:pt x="2015" y="3"/>
                        </a:lnTo>
                        <a:lnTo>
                          <a:pt x="1971" y="5"/>
                        </a:lnTo>
                        <a:lnTo>
                          <a:pt x="1928" y="9"/>
                        </a:lnTo>
                        <a:lnTo>
                          <a:pt x="1884" y="13"/>
                        </a:lnTo>
                        <a:lnTo>
                          <a:pt x="1841" y="19"/>
                        </a:lnTo>
                        <a:lnTo>
                          <a:pt x="1797" y="26"/>
                        </a:lnTo>
                        <a:lnTo>
                          <a:pt x="1755" y="34"/>
                        </a:lnTo>
                        <a:lnTo>
                          <a:pt x="1712" y="42"/>
                        </a:lnTo>
                        <a:lnTo>
                          <a:pt x="1670" y="52"/>
                        </a:lnTo>
                        <a:lnTo>
                          <a:pt x="1628" y="63"/>
                        </a:lnTo>
                        <a:lnTo>
                          <a:pt x="1588" y="74"/>
                        </a:lnTo>
                        <a:lnTo>
                          <a:pt x="1546" y="87"/>
                        </a:lnTo>
                        <a:lnTo>
                          <a:pt x="1505" y="102"/>
                        </a:lnTo>
                        <a:lnTo>
                          <a:pt x="1465" y="116"/>
                        </a:lnTo>
                        <a:lnTo>
                          <a:pt x="1424" y="131"/>
                        </a:lnTo>
                        <a:lnTo>
                          <a:pt x="1385" y="148"/>
                        </a:lnTo>
                        <a:lnTo>
                          <a:pt x="1346" y="165"/>
                        </a:lnTo>
                        <a:lnTo>
                          <a:pt x="1307" y="184"/>
                        </a:lnTo>
                        <a:lnTo>
                          <a:pt x="1268" y="203"/>
                        </a:lnTo>
                        <a:lnTo>
                          <a:pt x="1230" y="223"/>
                        </a:lnTo>
                        <a:lnTo>
                          <a:pt x="1192" y="245"/>
                        </a:lnTo>
                        <a:lnTo>
                          <a:pt x="1155" y="267"/>
                        </a:lnTo>
                        <a:lnTo>
                          <a:pt x="1119" y="290"/>
                        </a:lnTo>
                        <a:lnTo>
                          <a:pt x="1082" y="314"/>
                        </a:lnTo>
                        <a:lnTo>
                          <a:pt x="1046" y="339"/>
                        </a:lnTo>
                        <a:lnTo>
                          <a:pt x="1012" y="365"/>
                        </a:lnTo>
                        <a:lnTo>
                          <a:pt x="977" y="391"/>
                        </a:lnTo>
                        <a:lnTo>
                          <a:pt x="944" y="419"/>
                        </a:lnTo>
                        <a:lnTo>
                          <a:pt x="910" y="448"/>
                        </a:lnTo>
                        <a:lnTo>
                          <a:pt x="877" y="477"/>
                        </a:lnTo>
                        <a:lnTo>
                          <a:pt x="845" y="507"/>
                        </a:lnTo>
                        <a:lnTo>
                          <a:pt x="845" y="507"/>
                        </a:lnTo>
                        <a:lnTo>
                          <a:pt x="815" y="537"/>
                        </a:lnTo>
                        <a:lnTo>
                          <a:pt x="786" y="568"/>
                        </a:lnTo>
                        <a:lnTo>
                          <a:pt x="757" y="598"/>
                        </a:lnTo>
                        <a:lnTo>
                          <a:pt x="729" y="630"/>
                        </a:lnTo>
                        <a:lnTo>
                          <a:pt x="703" y="662"/>
                        </a:lnTo>
                        <a:lnTo>
                          <a:pt x="677" y="694"/>
                        </a:lnTo>
                        <a:lnTo>
                          <a:pt x="651" y="727"/>
                        </a:lnTo>
                        <a:lnTo>
                          <a:pt x="627" y="760"/>
                        </a:lnTo>
                        <a:lnTo>
                          <a:pt x="603" y="793"/>
                        </a:lnTo>
                        <a:lnTo>
                          <a:pt x="580" y="828"/>
                        </a:lnTo>
                        <a:lnTo>
                          <a:pt x="559" y="863"/>
                        </a:lnTo>
                        <a:lnTo>
                          <a:pt x="537" y="899"/>
                        </a:lnTo>
                        <a:lnTo>
                          <a:pt x="517" y="935"/>
                        </a:lnTo>
                        <a:lnTo>
                          <a:pt x="496" y="971"/>
                        </a:lnTo>
                        <a:lnTo>
                          <a:pt x="478" y="1008"/>
                        </a:lnTo>
                        <a:lnTo>
                          <a:pt x="460" y="1045"/>
                        </a:lnTo>
                        <a:lnTo>
                          <a:pt x="443" y="1083"/>
                        </a:lnTo>
                        <a:lnTo>
                          <a:pt x="427" y="1121"/>
                        </a:lnTo>
                        <a:lnTo>
                          <a:pt x="412" y="1158"/>
                        </a:lnTo>
                        <a:lnTo>
                          <a:pt x="398" y="1197"/>
                        </a:lnTo>
                        <a:lnTo>
                          <a:pt x="383" y="1236"/>
                        </a:lnTo>
                        <a:lnTo>
                          <a:pt x="372" y="1275"/>
                        </a:lnTo>
                        <a:lnTo>
                          <a:pt x="360" y="1314"/>
                        </a:lnTo>
                        <a:lnTo>
                          <a:pt x="349" y="1355"/>
                        </a:lnTo>
                        <a:lnTo>
                          <a:pt x="339" y="1396"/>
                        </a:lnTo>
                        <a:lnTo>
                          <a:pt x="330" y="1436"/>
                        </a:lnTo>
                        <a:lnTo>
                          <a:pt x="321" y="1477"/>
                        </a:lnTo>
                        <a:lnTo>
                          <a:pt x="315" y="1517"/>
                        </a:lnTo>
                        <a:lnTo>
                          <a:pt x="308" y="1558"/>
                        </a:lnTo>
                        <a:lnTo>
                          <a:pt x="304" y="1600"/>
                        </a:lnTo>
                        <a:lnTo>
                          <a:pt x="300" y="1642"/>
                        </a:lnTo>
                        <a:lnTo>
                          <a:pt x="295" y="1684"/>
                        </a:lnTo>
                        <a:lnTo>
                          <a:pt x="295" y="1684"/>
                        </a:lnTo>
                        <a:lnTo>
                          <a:pt x="266" y="1699"/>
                        </a:lnTo>
                        <a:lnTo>
                          <a:pt x="239" y="1718"/>
                        </a:lnTo>
                        <a:lnTo>
                          <a:pt x="211" y="1737"/>
                        </a:lnTo>
                        <a:lnTo>
                          <a:pt x="187" y="1759"/>
                        </a:lnTo>
                        <a:lnTo>
                          <a:pt x="162" y="1782"/>
                        </a:lnTo>
                        <a:lnTo>
                          <a:pt x="139" y="1805"/>
                        </a:lnTo>
                        <a:lnTo>
                          <a:pt x="119" y="1831"/>
                        </a:lnTo>
                        <a:lnTo>
                          <a:pt x="98" y="1859"/>
                        </a:lnTo>
                        <a:lnTo>
                          <a:pt x="98" y="1859"/>
                        </a:lnTo>
                        <a:lnTo>
                          <a:pt x="75" y="1895"/>
                        </a:lnTo>
                        <a:lnTo>
                          <a:pt x="55" y="1931"/>
                        </a:lnTo>
                        <a:lnTo>
                          <a:pt x="39" y="1969"/>
                        </a:lnTo>
                        <a:lnTo>
                          <a:pt x="25" y="2008"/>
                        </a:lnTo>
                        <a:lnTo>
                          <a:pt x="14" y="2048"/>
                        </a:lnTo>
                        <a:lnTo>
                          <a:pt x="6" y="2090"/>
                        </a:lnTo>
                        <a:lnTo>
                          <a:pt x="1" y="2131"/>
                        </a:lnTo>
                        <a:lnTo>
                          <a:pt x="0" y="2173"/>
                        </a:lnTo>
                        <a:lnTo>
                          <a:pt x="0" y="2173"/>
                        </a:lnTo>
                        <a:lnTo>
                          <a:pt x="0" y="2202"/>
                        </a:lnTo>
                        <a:lnTo>
                          <a:pt x="3" y="2229"/>
                        </a:lnTo>
                        <a:lnTo>
                          <a:pt x="6" y="2257"/>
                        </a:lnTo>
                        <a:lnTo>
                          <a:pt x="12" y="2283"/>
                        </a:lnTo>
                        <a:lnTo>
                          <a:pt x="17" y="2310"/>
                        </a:lnTo>
                        <a:lnTo>
                          <a:pt x="25" y="2336"/>
                        </a:lnTo>
                        <a:lnTo>
                          <a:pt x="33" y="2361"/>
                        </a:lnTo>
                        <a:lnTo>
                          <a:pt x="42" y="2385"/>
                        </a:lnTo>
                        <a:lnTo>
                          <a:pt x="53" y="2410"/>
                        </a:lnTo>
                        <a:lnTo>
                          <a:pt x="65" y="2433"/>
                        </a:lnTo>
                        <a:lnTo>
                          <a:pt x="78" y="2456"/>
                        </a:lnTo>
                        <a:lnTo>
                          <a:pt x="93" y="2480"/>
                        </a:lnTo>
                        <a:lnTo>
                          <a:pt x="107" y="2501"/>
                        </a:lnTo>
                        <a:lnTo>
                          <a:pt x="123" y="2521"/>
                        </a:lnTo>
                        <a:lnTo>
                          <a:pt x="140" y="2542"/>
                        </a:lnTo>
                        <a:lnTo>
                          <a:pt x="158" y="2561"/>
                        </a:lnTo>
                        <a:lnTo>
                          <a:pt x="177" y="2579"/>
                        </a:lnTo>
                        <a:lnTo>
                          <a:pt x="197" y="2597"/>
                        </a:lnTo>
                        <a:lnTo>
                          <a:pt x="217" y="2613"/>
                        </a:lnTo>
                        <a:lnTo>
                          <a:pt x="239" y="2629"/>
                        </a:lnTo>
                        <a:lnTo>
                          <a:pt x="260" y="2643"/>
                        </a:lnTo>
                        <a:lnTo>
                          <a:pt x="284" y="2656"/>
                        </a:lnTo>
                        <a:lnTo>
                          <a:pt x="307" y="2669"/>
                        </a:lnTo>
                        <a:lnTo>
                          <a:pt x="330" y="2681"/>
                        </a:lnTo>
                        <a:lnTo>
                          <a:pt x="355" y="2691"/>
                        </a:lnTo>
                        <a:lnTo>
                          <a:pt x="381" y="2700"/>
                        </a:lnTo>
                        <a:lnTo>
                          <a:pt x="405" y="2707"/>
                        </a:lnTo>
                        <a:lnTo>
                          <a:pt x="433" y="2714"/>
                        </a:lnTo>
                        <a:lnTo>
                          <a:pt x="459" y="2720"/>
                        </a:lnTo>
                        <a:lnTo>
                          <a:pt x="486" y="2724"/>
                        </a:lnTo>
                        <a:lnTo>
                          <a:pt x="514" y="2726"/>
                        </a:lnTo>
                        <a:lnTo>
                          <a:pt x="541" y="2727"/>
                        </a:lnTo>
                        <a:lnTo>
                          <a:pt x="541" y="2727"/>
                        </a:lnTo>
                        <a:lnTo>
                          <a:pt x="573" y="2779"/>
                        </a:lnTo>
                        <a:lnTo>
                          <a:pt x="605" y="2828"/>
                        </a:lnTo>
                        <a:lnTo>
                          <a:pt x="640" y="2878"/>
                        </a:lnTo>
                        <a:lnTo>
                          <a:pt x="676" y="2924"/>
                        </a:lnTo>
                        <a:lnTo>
                          <a:pt x="712" y="2970"/>
                        </a:lnTo>
                        <a:lnTo>
                          <a:pt x="751" y="3015"/>
                        </a:lnTo>
                        <a:lnTo>
                          <a:pt x="792" y="3057"/>
                        </a:lnTo>
                        <a:lnTo>
                          <a:pt x="832" y="3099"/>
                        </a:lnTo>
                        <a:lnTo>
                          <a:pt x="874" y="3139"/>
                        </a:lnTo>
                        <a:lnTo>
                          <a:pt x="917" y="3179"/>
                        </a:lnTo>
                        <a:lnTo>
                          <a:pt x="962" y="3216"/>
                        </a:lnTo>
                        <a:lnTo>
                          <a:pt x="1009" y="3252"/>
                        </a:lnTo>
                        <a:lnTo>
                          <a:pt x="1056" y="3286"/>
                        </a:lnTo>
                        <a:lnTo>
                          <a:pt x="1104" y="3319"/>
                        </a:lnTo>
                        <a:lnTo>
                          <a:pt x="1153" y="3351"/>
                        </a:lnTo>
                        <a:lnTo>
                          <a:pt x="1203" y="3380"/>
                        </a:lnTo>
                        <a:lnTo>
                          <a:pt x="1253" y="3407"/>
                        </a:lnTo>
                        <a:lnTo>
                          <a:pt x="1305" y="3435"/>
                        </a:lnTo>
                        <a:lnTo>
                          <a:pt x="1359" y="3459"/>
                        </a:lnTo>
                        <a:lnTo>
                          <a:pt x="1412" y="3482"/>
                        </a:lnTo>
                        <a:lnTo>
                          <a:pt x="1466" y="3503"/>
                        </a:lnTo>
                        <a:lnTo>
                          <a:pt x="1521" y="3523"/>
                        </a:lnTo>
                        <a:lnTo>
                          <a:pt x="1577" y="3540"/>
                        </a:lnTo>
                        <a:lnTo>
                          <a:pt x="1634" y="3558"/>
                        </a:lnTo>
                        <a:lnTo>
                          <a:pt x="1690" y="3571"/>
                        </a:lnTo>
                        <a:lnTo>
                          <a:pt x="1748" y="3584"/>
                        </a:lnTo>
                        <a:lnTo>
                          <a:pt x="1806" y="3594"/>
                        </a:lnTo>
                        <a:lnTo>
                          <a:pt x="1864" y="3603"/>
                        </a:lnTo>
                        <a:lnTo>
                          <a:pt x="1923" y="3610"/>
                        </a:lnTo>
                        <a:lnTo>
                          <a:pt x="1983" y="3614"/>
                        </a:lnTo>
                        <a:lnTo>
                          <a:pt x="2042" y="3617"/>
                        </a:lnTo>
                        <a:lnTo>
                          <a:pt x="2103" y="3619"/>
                        </a:lnTo>
                        <a:lnTo>
                          <a:pt x="2103" y="3619"/>
                        </a:lnTo>
                        <a:lnTo>
                          <a:pt x="2164" y="3617"/>
                        </a:lnTo>
                        <a:lnTo>
                          <a:pt x="2224" y="3614"/>
                        </a:lnTo>
                        <a:lnTo>
                          <a:pt x="2285" y="3610"/>
                        </a:lnTo>
                        <a:lnTo>
                          <a:pt x="2346" y="3603"/>
                        </a:lnTo>
                        <a:lnTo>
                          <a:pt x="2405" y="3594"/>
                        </a:lnTo>
                        <a:lnTo>
                          <a:pt x="2466" y="3582"/>
                        </a:lnTo>
                        <a:lnTo>
                          <a:pt x="2524" y="3569"/>
                        </a:lnTo>
                        <a:lnTo>
                          <a:pt x="2583" y="3555"/>
                        </a:lnTo>
                        <a:lnTo>
                          <a:pt x="2641" y="3537"/>
                        </a:lnTo>
                        <a:lnTo>
                          <a:pt x="2699" y="3519"/>
                        </a:lnTo>
                        <a:lnTo>
                          <a:pt x="2756" y="3497"/>
                        </a:lnTo>
                        <a:lnTo>
                          <a:pt x="2812" y="3475"/>
                        </a:lnTo>
                        <a:lnTo>
                          <a:pt x="2867" y="3451"/>
                        </a:lnTo>
                        <a:lnTo>
                          <a:pt x="2922" y="3423"/>
                        </a:lnTo>
                        <a:lnTo>
                          <a:pt x="2975" y="3396"/>
                        </a:lnTo>
                        <a:lnTo>
                          <a:pt x="3029" y="3365"/>
                        </a:lnTo>
                        <a:lnTo>
                          <a:pt x="3029" y="3365"/>
                        </a:lnTo>
                        <a:lnTo>
                          <a:pt x="3075" y="3336"/>
                        </a:lnTo>
                        <a:lnTo>
                          <a:pt x="3123" y="3304"/>
                        </a:lnTo>
                        <a:lnTo>
                          <a:pt x="3168" y="3273"/>
                        </a:lnTo>
                        <a:lnTo>
                          <a:pt x="3213" y="3239"/>
                        </a:lnTo>
                        <a:lnTo>
                          <a:pt x="3256" y="3205"/>
                        </a:lnTo>
                        <a:lnTo>
                          <a:pt x="3298" y="3168"/>
                        </a:lnTo>
                        <a:lnTo>
                          <a:pt x="3340" y="3131"/>
                        </a:lnTo>
                        <a:lnTo>
                          <a:pt x="3381" y="3092"/>
                        </a:lnTo>
                        <a:lnTo>
                          <a:pt x="3418" y="3053"/>
                        </a:lnTo>
                        <a:lnTo>
                          <a:pt x="3456" y="3012"/>
                        </a:lnTo>
                        <a:lnTo>
                          <a:pt x="3494" y="2969"/>
                        </a:lnTo>
                        <a:lnTo>
                          <a:pt x="3528" y="2927"/>
                        </a:lnTo>
                        <a:lnTo>
                          <a:pt x="3562" y="2882"/>
                        </a:lnTo>
                        <a:lnTo>
                          <a:pt x="3595" y="2837"/>
                        </a:lnTo>
                        <a:lnTo>
                          <a:pt x="3625" y="2791"/>
                        </a:lnTo>
                        <a:lnTo>
                          <a:pt x="3654" y="2743"/>
                        </a:lnTo>
                        <a:lnTo>
                          <a:pt x="3654" y="2743"/>
                        </a:lnTo>
                        <a:lnTo>
                          <a:pt x="3679" y="2740"/>
                        </a:lnTo>
                        <a:lnTo>
                          <a:pt x="3702" y="2736"/>
                        </a:lnTo>
                        <a:lnTo>
                          <a:pt x="3725" y="2731"/>
                        </a:lnTo>
                        <a:lnTo>
                          <a:pt x="3748" y="2724"/>
                        </a:lnTo>
                        <a:lnTo>
                          <a:pt x="3770" y="2718"/>
                        </a:lnTo>
                        <a:lnTo>
                          <a:pt x="3793" y="2710"/>
                        </a:lnTo>
                        <a:lnTo>
                          <a:pt x="3815" y="2701"/>
                        </a:lnTo>
                        <a:lnTo>
                          <a:pt x="3837" y="2691"/>
                        </a:lnTo>
                        <a:lnTo>
                          <a:pt x="3857" y="2681"/>
                        </a:lnTo>
                        <a:lnTo>
                          <a:pt x="3877" y="2669"/>
                        </a:lnTo>
                        <a:lnTo>
                          <a:pt x="3897" y="2656"/>
                        </a:lnTo>
                        <a:lnTo>
                          <a:pt x="3918" y="2643"/>
                        </a:lnTo>
                        <a:lnTo>
                          <a:pt x="3936" y="2629"/>
                        </a:lnTo>
                        <a:lnTo>
                          <a:pt x="3955" y="2614"/>
                        </a:lnTo>
                        <a:lnTo>
                          <a:pt x="3973" y="2598"/>
                        </a:lnTo>
                        <a:lnTo>
                          <a:pt x="3990" y="2581"/>
                        </a:lnTo>
                        <a:lnTo>
                          <a:pt x="3990" y="2581"/>
                        </a:lnTo>
                        <a:lnTo>
                          <a:pt x="4009" y="2562"/>
                        </a:lnTo>
                        <a:lnTo>
                          <a:pt x="4028" y="2540"/>
                        </a:lnTo>
                        <a:lnTo>
                          <a:pt x="4044" y="2519"/>
                        </a:lnTo>
                        <a:lnTo>
                          <a:pt x="4059" y="2497"/>
                        </a:lnTo>
                        <a:lnTo>
                          <a:pt x="4074" y="2474"/>
                        </a:lnTo>
                        <a:lnTo>
                          <a:pt x="4087" y="2451"/>
                        </a:lnTo>
                        <a:lnTo>
                          <a:pt x="4099" y="2427"/>
                        </a:lnTo>
                        <a:lnTo>
                          <a:pt x="4110" y="2403"/>
                        </a:lnTo>
                        <a:lnTo>
                          <a:pt x="4119" y="2377"/>
                        </a:lnTo>
                        <a:lnTo>
                          <a:pt x="4127" y="2352"/>
                        </a:lnTo>
                        <a:lnTo>
                          <a:pt x="4135" y="2326"/>
                        </a:lnTo>
                        <a:lnTo>
                          <a:pt x="4141" y="2300"/>
                        </a:lnTo>
                        <a:lnTo>
                          <a:pt x="4145" y="2273"/>
                        </a:lnTo>
                        <a:lnTo>
                          <a:pt x="4148" y="2247"/>
                        </a:lnTo>
                        <a:lnTo>
                          <a:pt x="4151" y="2219"/>
                        </a:lnTo>
                        <a:lnTo>
                          <a:pt x="4151" y="2192"/>
                        </a:lnTo>
                        <a:lnTo>
                          <a:pt x="4151" y="2192"/>
                        </a:lnTo>
                        <a:lnTo>
                          <a:pt x="4149" y="2158"/>
                        </a:lnTo>
                        <a:lnTo>
                          <a:pt x="4146" y="2123"/>
                        </a:lnTo>
                        <a:lnTo>
                          <a:pt x="4142" y="2090"/>
                        </a:lnTo>
                        <a:lnTo>
                          <a:pt x="4135" y="2058"/>
                        </a:lnTo>
                        <a:lnTo>
                          <a:pt x="4126" y="2027"/>
                        </a:lnTo>
                        <a:lnTo>
                          <a:pt x="4114" y="1995"/>
                        </a:lnTo>
                        <a:lnTo>
                          <a:pt x="4101" y="1964"/>
                        </a:lnTo>
                        <a:lnTo>
                          <a:pt x="4087" y="1934"/>
                        </a:lnTo>
                        <a:lnTo>
                          <a:pt x="4071" y="1905"/>
                        </a:lnTo>
                        <a:lnTo>
                          <a:pt x="4054" y="1877"/>
                        </a:lnTo>
                        <a:lnTo>
                          <a:pt x="4033" y="1851"/>
                        </a:lnTo>
                        <a:lnTo>
                          <a:pt x="4012" y="1825"/>
                        </a:lnTo>
                        <a:lnTo>
                          <a:pt x="3990" y="1801"/>
                        </a:lnTo>
                        <a:lnTo>
                          <a:pt x="3965" y="1778"/>
                        </a:lnTo>
                        <a:lnTo>
                          <a:pt x="3939" y="1756"/>
                        </a:lnTo>
                        <a:lnTo>
                          <a:pt x="3913" y="1737"/>
                        </a:lnTo>
                        <a:lnTo>
                          <a:pt x="3913" y="1737"/>
                        </a:lnTo>
                        <a:close/>
                        <a:moveTo>
                          <a:pt x="3913" y="1737"/>
                        </a:moveTo>
                        <a:lnTo>
                          <a:pt x="3913" y="173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5" name="Freeform 25">
                    <a:extLst>
                      <a:ext uri="{FF2B5EF4-FFF2-40B4-BE49-F238E27FC236}">
                        <a16:creationId xmlns="" xmlns:a16="http://schemas.microsoft.com/office/drawing/2014/main" id="{ABFA4A35-5178-43EC-B238-196F902D6E4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2053888" y="-4470400"/>
                    <a:ext cx="796925" cy="909638"/>
                  </a:xfrm>
                  <a:custGeom>
                    <a:avLst/>
                    <a:gdLst/>
                    <a:ahLst/>
                    <a:cxnLst>
                      <a:cxn ang="0">
                        <a:pos x="392" y="963"/>
                      </a:cxn>
                      <a:cxn ang="0">
                        <a:pos x="320" y="948"/>
                      </a:cxn>
                      <a:cxn ang="0">
                        <a:pos x="249" y="919"/>
                      </a:cxn>
                      <a:cxn ang="0">
                        <a:pos x="184" y="878"/>
                      </a:cxn>
                      <a:cxn ang="0">
                        <a:pos x="147" y="846"/>
                      </a:cxn>
                      <a:cxn ang="0">
                        <a:pos x="107" y="827"/>
                      </a:cxn>
                      <a:cxn ang="0">
                        <a:pos x="48" y="836"/>
                      </a:cxn>
                      <a:cxn ang="0">
                        <a:pos x="26" y="851"/>
                      </a:cxn>
                      <a:cxn ang="0">
                        <a:pos x="7" y="882"/>
                      </a:cxn>
                      <a:cxn ang="0">
                        <a:pos x="7" y="950"/>
                      </a:cxn>
                      <a:cxn ang="0">
                        <a:pos x="27" y="980"/>
                      </a:cxn>
                      <a:cxn ang="0">
                        <a:pos x="94" y="1037"/>
                      </a:cxn>
                      <a:cxn ang="0">
                        <a:pos x="191" y="1093"/>
                      </a:cxn>
                      <a:cxn ang="0">
                        <a:pos x="295" y="1129"/>
                      </a:cxn>
                      <a:cxn ang="0">
                        <a:pos x="402" y="1144"/>
                      </a:cxn>
                      <a:cxn ang="0">
                        <a:pos x="486" y="1142"/>
                      </a:cxn>
                      <a:cxn ang="0">
                        <a:pos x="595" y="1121"/>
                      </a:cxn>
                      <a:cxn ang="0">
                        <a:pos x="699" y="1079"/>
                      </a:cxn>
                      <a:cxn ang="0">
                        <a:pos x="794" y="1015"/>
                      </a:cxn>
                      <a:cxn ang="0">
                        <a:pos x="858" y="954"/>
                      </a:cxn>
                      <a:cxn ang="0">
                        <a:pos x="925" y="864"/>
                      </a:cxn>
                      <a:cxn ang="0">
                        <a:pos x="971" y="763"/>
                      </a:cxn>
                      <a:cxn ang="0">
                        <a:pos x="997" y="655"/>
                      </a:cxn>
                      <a:cxn ang="0">
                        <a:pos x="1003" y="569"/>
                      </a:cxn>
                      <a:cxn ang="0">
                        <a:pos x="991" y="456"/>
                      </a:cxn>
                      <a:cxn ang="0">
                        <a:pos x="958" y="351"/>
                      </a:cxn>
                      <a:cxn ang="0">
                        <a:pos x="906" y="252"/>
                      </a:cxn>
                      <a:cxn ang="0">
                        <a:pos x="833" y="165"/>
                      </a:cxn>
                      <a:cxn ang="0">
                        <a:pos x="770" y="112"/>
                      </a:cxn>
                      <a:cxn ang="0">
                        <a:pos x="677" y="57"/>
                      </a:cxn>
                      <a:cxn ang="0">
                        <a:pos x="576" y="19"/>
                      </a:cxn>
                      <a:cxn ang="0">
                        <a:pos x="467" y="2"/>
                      </a:cxn>
                      <a:cxn ang="0">
                        <a:pos x="422" y="2"/>
                      </a:cxn>
                      <a:cxn ang="0">
                        <a:pos x="376" y="27"/>
                      </a:cxn>
                      <a:cxn ang="0">
                        <a:pos x="350" y="71"/>
                      </a:cxn>
                      <a:cxn ang="0">
                        <a:pos x="349" y="99"/>
                      </a:cxn>
                      <a:cxn ang="0">
                        <a:pos x="363" y="141"/>
                      </a:cxn>
                      <a:cxn ang="0">
                        <a:pos x="411" y="177"/>
                      </a:cxn>
                      <a:cxn ang="0">
                        <a:pos x="437" y="181"/>
                      </a:cxn>
                      <a:cxn ang="0">
                        <a:pos x="512" y="190"/>
                      </a:cxn>
                      <a:cxn ang="0">
                        <a:pos x="582" y="212"/>
                      </a:cxn>
                      <a:cxn ang="0">
                        <a:pos x="647" y="247"/>
                      </a:cxn>
                      <a:cxn ang="0">
                        <a:pos x="706" y="294"/>
                      </a:cxn>
                      <a:cxn ang="0">
                        <a:pos x="744" y="338"/>
                      </a:cxn>
                      <a:cxn ang="0">
                        <a:pos x="784" y="404"/>
                      </a:cxn>
                      <a:cxn ang="0">
                        <a:pos x="810" y="475"/>
                      </a:cxn>
                      <a:cxn ang="0">
                        <a:pos x="822" y="550"/>
                      </a:cxn>
                      <a:cxn ang="0">
                        <a:pos x="820" y="610"/>
                      </a:cxn>
                      <a:cxn ang="0">
                        <a:pos x="806" y="685"/>
                      </a:cxn>
                      <a:cxn ang="0">
                        <a:pos x="777" y="754"/>
                      </a:cxn>
                      <a:cxn ang="0">
                        <a:pos x="735" y="820"/>
                      </a:cxn>
                      <a:cxn ang="0">
                        <a:pos x="694" y="862"/>
                      </a:cxn>
                      <a:cxn ang="0">
                        <a:pos x="631" y="909"/>
                      </a:cxn>
                      <a:cxn ang="0">
                        <a:pos x="561" y="943"/>
                      </a:cxn>
                      <a:cxn ang="0">
                        <a:pos x="486" y="960"/>
                      </a:cxn>
                      <a:cxn ang="0">
                        <a:pos x="430" y="964"/>
                      </a:cxn>
                    </a:cxnLst>
                    <a:rect l="0" t="0" r="r" b="b"/>
                    <a:pathLst>
                      <a:path w="1003" h="1145">
                        <a:moveTo>
                          <a:pt x="430" y="964"/>
                        </a:moveTo>
                        <a:lnTo>
                          <a:pt x="430" y="964"/>
                        </a:lnTo>
                        <a:lnTo>
                          <a:pt x="411" y="964"/>
                        </a:lnTo>
                        <a:lnTo>
                          <a:pt x="392" y="963"/>
                        </a:lnTo>
                        <a:lnTo>
                          <a:pt x="375" y="960"/>
                        </a:lnTo>
                        <a:lnTo>
                          <a:pt x="356" y="957"/>
                        </a:lnTo>
                        <a:lnTo>
                          <a:pt x="337" y="953"/>
                        </a:lnTo>
                        <a:lnTo>
                          <a:pt x="320" y="948"/>
                        </a:lnTo>
                        <a:lnTo>
                          <a:pt x="301" y="943"/>
                        </a:lnTo>
                        <a:lnTo>
                          <a:pt x="283" y="935"/>
                        </a:lnTo>
                        <a:lnTo>
                          <a:pt x="266" y="928"/>
                        </a:lnTo>
                        <a:lnTo>
                          <a:pt x="249" y="919"/>
                        </a:lnTo>
                        <a:lnTo>
                          <a:pt x="233" y="911"/>
                        </a:lnTo>
                        <a:lnTo>
                          <a:pt x="215" y="901"/>
                        </a:lnTo>
                        <a:lnTo>
                          <a:pt x="199" y="889"/>
                        </a:lnTo>
                        <a:lnTo>
                          <a:pt x="184" y="878"/>
                        </a:lnTo>
                        <a:lnTo>
                          <a:pt x="169" y="864"/>
                        </a:lnTo>
                        <a:lnTo>
                          <a:pt x="155" y="851"/>
                        </a:lnTo>
                        <a:lnTo>
                          <a:pt x="155" y="851"/>
                        </a:lnTo>
                        <a:lnTo>
                          <a:pt x="147" y="846"/>
                        </a:lnTo>
                        <a:lnTo>
                          <a:pt x="140" y="840"/>
                        </a:lnTo>
                        <a:lnTo>
                          <a:pt x="133" y="836"/>
                        </a:lnTo>
                        <a:lnTo>
                          <a:pt x="124" y="831"/>
                        </a:lnTo>
                        <a:lnTo>
                          <a:pt x="107" y="827"/>
                        </a:lnTo>
                        <a:lnTo>
                          <a:pt x="91" y="825"/>
                        </a:lnTo>
                        <a:lnTo>
                          <a:pt x="74" y="827"/>
                        </a:lnTo>
                        <a:lnTo>
                          <a:pt x="56" y="833"/>
                        </a:lnTo>
                        <a:lnTo>
                          <a:pt x="48" y="836"/>
                        </a:lnTo>
                        <a:lnTo>
                          <a:pt x="40" y="840"/>
                        </a:lnTo>
                        <a:lnTo>
                          <a:pt x="33" y="846"/>
                        </a:lnTo>
                        <a:lnTo>
                          <a:pt x="26" y="851"/>
                        </a:lnTo>
                        <a:lnTo>
                          <a:pt x="26" y="851"/>
                        </a:lnTo>
                        <a:lnTo>
                          <a:pt x="20" y="859"/>
                        </a:lnTo>
                        <a:lnTo>
                          <a:pt x="14" y="866"/>
                        </a:lnTo>
                        <a:lnTo>
                          <a:pt x="10" y="875"/>
                        </a:lnTo>
                        <a:lnTo>
                          <a:pt x="7" y="882"/>
                        </a:lnTo>
                        <a:lnTo>
                          <a:pt x="1" y="899"/>
                        </a:lnTo>
                        <a:lnTo>
                          <a:pt x="0" y="917"/>
                        </a:lnTo>
                        <a:lnTo>
                          <a:pt x="1" y="934"/>
                        </a:lnTo>
                        <a:lnTo>
                          <a:pt x="7" y="950"/>
                        </a:lnTo>
                        <a:lnTo>
                          <a:pt x="11" y="959"/>
                        </a:lnTo>
                        <a:lnTo>
                          <a:pt x="16" y="966"/>
                        </a:lnTo>
                        <a:lnTo>
                          <a:pt x="21" y="973"/>
                        </a:lnTo>
                        <a:lnTo>
                          <a:pt x="27" y="980"/>
                        </a:lnTo>
                        <a:lnTo>
                          <a:pt x="27" y="980"/>
                        </a:lnTo>
                        <a:lnTo>
                          <a:pt x="49" y="1001"/>
                        </a:lnTo>
                        <a:lnTo>
                          <a:pt x="71" y="1019"/>
                        </a:lnTo>
                        <a:lnTo>
                          <a:pt x="94" y="1037"/>
                        </a:lnTo>
                        <a:lnTo>
                          <a:pt x="117" y="1053"/>
                        </a:lnTo>
                        <a:lnTo>
                          <a:pt x="140" y="1067"/>
                        </a:lnTo>
                        <a:lnTo>
                          <a:pt x="165" y="1080"/>
                        </a:lnTo>
                        <a:lnTo>
                          <a:pt x="191" y="1093"/>
                        </a:lnTo>
                        <a:lnTo>
                          <a:pt x="215" y="1103"/>
                        </a:lnTo>
                        <a:lnTo>
                          <a:pt x="241" y="1113"/>
                        </a:lnTo>
                        <a:lnTo>
                          <a:pt x="267" y="1122"/>
                        </a:lnTo>
                        <a:lnTo>
                          <a:pt x="295" y="1129"/>
                        </a:lnTo>
                        <a:lnTo>
                          <a:pt x="321" y="1135"/>
                        </a:lnTo>
                        <a:lnTo>
                          <a:pt x="349" y="1139"/>
                        </a:lnTo>
                        <a:lnTo>
                          <a:pt x="376" y="1142"/>
                        </a:lnTo>
                        <a:lnTo>
                          <a:pt x="402" y="1144"/>
                        </a:lnTo>
                        <a:lnTo>
                          <a:pt x="430" y="1145"/>
                        </a:lnTo>
                        <a:lnTo>
                          <a:pt x="430" y="1145"/>
                        </a:lnTo>
                        <a:lnTo>
                          <a:pt x="457" y="1144"/>
                        </a:lnTo>
                        <a:lnTo>
                          <a:pt x="486" y="1142"/>
                        </a:lnTo>
                        <a:lnTo>
                          <a:pt x="514" y="1139"/>
                        </a:lnTo>
                        <a:lnTo>
                          <a:pt x="541" y="1135"/>
                        </a:lnTo>
                        <a:lnTo>
                          <a:pt x="567" y="1128"/>
                        </a:lnTo>
                        <a:lnTo>
                          <a:pt x="595" y="1121"/>
                        </a:lnTo>
                        <a:lnTo>
                          <a:pt x="621" y="1112"/>
                        </a:lnTo>
                        <a:lnTo>
                          <a:pt x="647" y="1103"/>
                        </a:lnTo>
                        <a:lnTo>
                          <a:pt x="673" y="1092"/>
                        </a:lnTo>
                        <a:lnTo>
                          <a:pt x="699" y="1079"/>
                        </a:lnTo>
                        <a:lnTo>
                          <a:pt x="723" y="1064"/>
                        </a:lnTo>
                        <a:lnTo>
                          <a:pt x="748" y="1050"/>
                        </a:lnTo>
                        <a:lnTo>
                          <a:pt x="771" y="1032"/>
                        </a:lnTo>
                        <a:lnTo>
                          <a:pt x="794" y="1015"/>
                        </a:lnTo>
                        <a:lnTo>
                          <a:pt x="816" y="996"/>
                        </a:lnTo>
                        <a:lnTo>
                          <a:pt x="838" y="976"/>
                        </a:lnTo>
                        <a:lnTo>
                          <a:pt x="838" y="976"/>
                        </a:lnTo>
                        <a:lnTo>
                          <a:pt x="858" y="954"/>
                        </a:lnTo>
                        <a:lnTo>
                          <a:pt x="875" y="933"/>
                        </a:lnTo>
                        <a:lnTo>
                          <a:pt x="893" y="911"/>
                        </a:lnTo>
                        <a:lnTo>
                          <a:pt x="909" y="888"/>
                        </a:lnTo>
                        <a:lnTo>
                          <a:pt x="925" y="864"/>
                        </a:lnTo>
                        <a:lnTo>
                          <a:pt x="938" y="840"/>
                        </a:lnTo>
                        <a:lnTo>
                          <a:pt x="951" y="814"/>
                        </a:lnTo>
                        <a:lnTo>
                          <a:pt x="961" y="789"/>
                        </a:lnTo>
                        <a:lnTo>
                          <a:pt x="971" y="763"/>
                        </a:lnTo>
                        <a:lnTo>
                          <a:pt x="980" y="737"/>
                        </a:lnTo>
                        <a:lnTo>
                          <a:pt x="987" y="710"/>
                        </a:lnTo>
                        <a:lnTo>
                          <a:pt x="993" y="682"/>
                        </a:lnTo>
                        <a:lnTo>
                          <a:pt x="997" y="655"/>
                        </a:lnTo>
                        <a:lnTo>
                          <a:pt x="1001" y="627"/>
                        </a:lnTo>
                        <a:lnTo>
                          <a:pt x="1003" y="598"/>
                        </a:lnTo>
                        <a:lnTo>
                          <a:pt x="1003" y="569"/>
                        </a:lnTo>
                        <a:lnTo>
                          <a:pt x="1003" y="569"/>
                        </a:lnTo>
                        <a:lnTo>
                          <a:pt x="1003" y="540"/>
                        </a:lnTo>
                        <a:lnTo>
                          <a:pt x="1000" y="513"/>
                        </a:lnTo>
                        <a:lnTo>
                          <a:pt x="997" y="485"/>
                        </a:lnTo>
                        <a:lnTo>
                          <a:pt x="991" y="456"/>
                        </a:lnTo>
                        <a:lnTo>
                          <a:pt x="985" y="430"/>
                        </a:lnTo>
                        <a:lnTo>
                          <a:pt x="978" y="403"/>
                        </a:lnTo>
                        <a:lnTo>
                          <a:pt x="969" y="377"/>
                        </a:lnTo>
                        <a:lnTo>
                          <a:pt x="958" y="351"/>
                        </a:lnTo>
                        <a:lnTo>
                          <a:pt x="948" y="325"/>
                        </a:lnTo>
                        <a:lnTo>
                          <a:pt x="935" y="300"/>
                        </a:lnTo>
                        <a:lnTo>
                          <a:pt x="920" y="277"/>
                        </a:lnTo>
                        <a:lnTo>
                          <a:pt x="906" y="252"/>
                        </a:lnTo>
                        <a:lnTo>
                          <a:pt x="888" y="229"/>
                        </a:lnTo>
                        <a:lnTo>
                          <a:pt x="871" y="207"/>
                        </a:lnTo>
                        <a:lnTo>
                          <a:pt x="852" y="186"/>
                        </a:lnTo>
                        <a:lnTo>
                          <a:pt x="833" y="165"/>
                        </a:lnTo>
                        <a:lnTo>
                          <a:pt x="833" y="165"/>
                        </a:lnTo>
                        <a:lnTo>
                          <a:pt x="813" y="147"/>
                        </a:lnTo>
                        <a:lnTo>
                          <a:pt x="791" y="129"/>
                        </a:lnTo>
                        <a:lnTo>
                          <a:pt x="770" y="112"/>
                        </a:lnTo>
                        <a:lnTo>
                          <a:pt x="748" y="96"/>
                        </a:lnTo>
                        <a:lnTo>
                          <a:pt x="725" y="82"/>
                        </a:lnTo>
                        <a:lnTo>
                          <a:pt x="702" y="68"/>
                        </a:lnTo>
                        <a:lnTo>
                          <a:pt x="677" y="57"/>
                        </a:lnTo>
                        <a:lnTo>
                          <a:pt x="652" y="45"/>
                        </a:lnTo>
                        <a:lnTo>
                          <a:pt x="628" y="35"/>
                        </a:lnTo>
                        <a:lnTo>
                          <a:pt x="602" y="27"/>
                        </a:lnTo>
                        <a:lnTo>
                          <a:pt x="576" y="19"/>
                        </a:lnTo>
                        <a:lnTo>
                          <a:pt x="550" y="14"/>
                        </a:lnTo>
                        <a:lnTo>
                          <a:pt x="522" y="8"/>
                        </a:lnTo>
                        <a:lnTo>
                          <a:pt x="495" y="5"/>
                        </a:lnTo>
                        <a:lnTo>
                          <a:pt x="467" y="2"/>
                        </a:lnTo>
                        <a:lnTo>
                          <a:pt x="440" y="0"/>
                        </a:lnTo>
                        <a:lnTo>
                          <a:pt x="440" y="0"/>
                        </a:lnTo>
                        <a:lnTo>
                          <a:pt x="431" y="0"/>
                        </a:lnTo>
                        <a:lnTo>
                          <a:pt x="422" y="2"/>
                        </a:lnTo>
                        <a:lnTo>
                          <a:pt x="414" y="5"/>
                        </a:lnTo>
                        <a:lnTo>
                          <a:pt x="405" y="8"/>
                        </a:lnTo>
                        <a:lnTo>
                          <a:pt x="389" y="15"/>
                        </a:lnTo>
                        <a:lnTo>
                          <a:pt x="376" y="27"/>
                        </a:lnTo>
                        <a:lnTo>
                          <a:pt x="364" y="40"/>
                        </a:lnTo>
                        <a:lnTo>
                          <a:pt x="356" y="54"/>
                        </a:lnTo>
                        <a:lnTo>
                          <a:pt x="353" y="63"/>
                        </a:lnTo>
                        <a:lnTo>
                          <a:pt x="350" y="71"/>
                        </a:lnTo>
                        <a:lnTo>
                          <a:pt x="349" y="80"/>
                        </a:lnTo>
                        <a:lnTo>
                          <a:pt x="349" y="89"/>
                        </a:lnTo>
                        <a:lnTo>
                          <a:pt x="349" y="89"/>
                        </a:lnTo>
                        <a:lnTo>
                          <a:pt x="349" y="99"/>
                        </a:lnTo>
                        <a:lnTo>
                          <a:pt x="350" y="108"/>
                        </a:lnTo>
                        <a:lnTo>
                          <a:pt x="351" y="116"/>
                        </a:lnTo>
                        <a:lnTo>
                          <a:pt x="354" y="125"/>
                        </a:lnTo>
                        <a:lnTo>
                          <a:pt x="363" y="141"/>
                        </a:lnTo>
                        <a:lnTo>
                          <a:pt x="373" y="154"/>
                        </a:lnTo>
                        <a:lnTo>
                          <a:pt x="386" y="165"/>
                        </a:lnTo>
                        <a:lnTo>
                          <a:pt x="402" y="174"/>
                        </a:lnTo>
                        <a:lnTo>
                          <a:pt x="411" y="177"/>
                        </a:lnTo>
                        <a:lnTo>
                          <a:pt x="419" y="180"/>
                        </a:lnTo>
                        <a:lnTo>
                          <a:pt x="428" y="181"/>
                        </a:lnTo>
                        <a:lnTo>
                          <a:pt x="437" y="181"/>
                        </a:lnTo>
                        <a:lnTo>
                          <a:pt x="437" y="181"/>
                        </a:lnTo>
                        <a:lnTo>
                          <a:pt x="456" y="183"/>
                        </a:lnTo>
                        <a:lnTo>
                          <a:pt x="474" y="184"/>
                        </a:lnTo>
                        <a:lnTo>
                          <a:pt x="493" y="187"/>
                        </a:lnTo>
                        <a:lnTo>
                          <a:pt x="512" y="190"/>
                        </a:lnTo>
                        <a:lnTo>
                          <a:pt x="529" y="194"/>
                        </a:lnTo>
                        <a:lnTo>
                          <a:pt x="547" y="199"/>
                        </a:lnTo>
                        <a:lnTo>
                          <a:pt x="566" y="206"/>
                        </a:lnTo>
                        <a:lnTo>
                          <a:pt x="582" y="212"/>
                        </a:lnTo>
                        <a:lnTo>
                          <a:pt x="599" y="219"/>
                        </a:lnTo>
                        <a:lnTo>
                          <a:pt x="616" y="228"/>
                        </a:lnTo>
                        <a:lnTo>
                          <a:pt x="632" y="238"/>
                        </a:lnTo>
                        <a:lnTo>
                          <a:pt x="647" y="247"/>
                        </a:lnTo>
                        <a:lnTo>
                          <a:pt x="663" y="258"/>
                        </a:lnTo>
                        <a:lnTo>
                          <a:pt x="677" y="270"/>
                        </a:lnTo>
                        <a:lnTo>
                          <a:pt x="692" y="281"/>
                        </a:lnTo>
                        <a:lnTo>
                          <a:pt x="706" y="294"/>
                        </a:lnTo>
                        <a:lnTo>
                          <a:pt x="706" y="294"/>
                        </a:lnTo>
                        <a:lnTo>
                          <a:pt x="719" y="309"/>
                        </a:lnTo>
                        <a:lnTo>
                          <a:pt x="732" y="323"/>
                        </a:lnTo>
                        <a:lnTo>
                          <a:pt x="744" y="338"/>
                        </a:lnTo>
                        <a:lnTo>
                          <a:pt x="755" y="354"/>
                        </a:lnTo>
                        <a:lnTo>
                          <a:pt x="765" y="370"/>
                        </a:lnTo>
                        <a:lnTo>
                          <a:pt x="775" y="387"/>
                        </a:lnTo>
                        <a:lnTo>
                          <a:pt x="784" y="404"/>
                        </a:lnTo>
                        <a:lnTo>
                          <a:pt x="791" y="422"/>
                        </a:lnTo>
                        <a:lnTo>
                          <a:pt x="799" y="439"/>
                        </a:lnTo>
                        <a:lnTo>
                          <a:pt x="804" y="456"/>
                        </a:lnTo>
                        <a:lnTo>
                          <a:pt x="810" y="475"/>
                        </a:lnTo>
                        <a:lnTo>
                          <a:pt x="815" y="494"/>
                        </a:lnTo>
                        <a:lnTo>
                          <a:pt x="817" y="513"/>
                        </a:lnTo>
                        <a:lnTo>
                          <a:pt x="820" y="532"/>
                        </a:lnTo>
                        <a:lnTo>
                          <a:pt x="822" y="550"/>
                        </a:lnTo>
                        <a:lnTo>
                          <a:pt x="822" y="571"/>
                        </a:lnTo>
                        <a:lnTo>
                          <a:pt x="822" y="571"/>
                        </a:lnTo>
                        <a:lnTo>
                          <a:pt x="822" y="590"/>
                        </a:lnTo>
                        <a:lnTo>
                          <a:pt x="820" y="610"/>
                        </a:lnTo>
                        <a:lnTo>
                          <a:pt x="817" y="629"/>
                        </a:lnTo>
                        <a:lnTo>
                          <a:pt x="815" y="647"/>
                        </a:lnTo>
                        <a:lnTo>
                          <a:pt x="810" y="666"/>
                        </a:lnTo>
                        <a:lnTo>
                          <a:pt x="806" y="685"/>
                        </a:lnTo>
                        <a:lnTo>
                          <a:pt x="800" y="702"/>
                        </a:lnTo>
                        <a:lnTo>
                          <a:pt x="793" y="721"/>
                        </a:lnTo>
                        <a:lnTo>
                          <a:pt x="786" y="739"/>
                        </a:lnTo>
                        <a:lnTo>
                          <a:pt x="777" y="754"/>
                        </a:lnTo>
                        <a:lnTo>
                          <a:pt x="768" y="772"/>
                        </a:lnTo>
                        <a:lnTo>
                          <a:pt x="758" y="788"/>
                        </a:lnTo>
                        <a:lnTo>
                          <a:pt x="747" y="804"/>
                        </a:lnTo>
                        <a:lnTo>
                          <a:pt x="735" y="820"/>
                        </a:lnTo>
                        <a:lnTo>
                          <a:pt x="722" y="834"/>
                        </a:lnTo>
                        <a:lnTo>
                          <a:pt x="709" y="849"/>
                        </a:lnTo>
                        <a:lnTo>
                          <a:pt x="709" y="849"/>
                        </a:lnTo>
                        <a:lnTo>
                          <a:pt x="694" y="862"/>
                        </a:lnTo>
                        <a:lnTo>
                          <a:pt x="679" y="875"/>
                        </a:lnTo>
                        <a:lnTo>
                          <a:pt x="663" y="888"/>
                        </a:lnTo>
                        <a:lnTo>
                          <a:pt x="647" y="899"/>
                        </a:lnTo>
                        <a:lnTo>
                          <a:pt x="631" y="909"/>
                        </a:lnTo>
                        <a:lnTo>
                          <a:pt x="613" y="919"/>
                        </a:lnTo>
                        <a:lnTo>
                          <a:pt x="596" y="927"/>
                        </a:lnTo>
                        <a:lnTo>
                          <a:pt x="579" y="935"/>
                        </a:lnTo>
                        <a:lnTo>
                          <a:pt x="561" y="943"/>
                        </a:lnTo>
                        <a:lnTo>
                          <a:pt x="542" y="948"/>
                        </a:lnTo>
                        <a:lnTo>
                          <a:pt x="524" y="953"/>
                        </a:lnTo>
                        <a:lnTo>
                          <a:pt x="505" y="957"/>
                        </a:lnTo>
                        <a:lnTo>
                          <a:pt x="486" y="960"/>
                        </a:lnTo>
                        <a:lnTo>
                          <a:pt x="467" y="963"/>
                        </a:lnTo>
                        <a:lnTo>
                          <a:pt x="448" y="964"/>
                        </a:lnTo>
                        <a:lnTo>
                          <a:pt x="430" y="964"/>
                        </a:lnTo>
                        <a:lnTo>
                          <a:pt x="430" y="964"/>
                        </a:lnTo>
                        <a:close/>
                        <a:moveTo>
                          <a:pt x="430" y="964"/>
                        </a:moveTo>
                        <a:lnTo>
                          <a:pt x="430" y="96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Freeform 26">
                    <a:extLst>
                      <a:ext uri="{FF2B5EF4-FFF2-40B4-BE49-F238E27FC236}">
                        <a16:creationId xmlns="" xmlns:a16="http://schemas.microsoft.com/office/drawing/2014/main" id="{2B19D6CC-31DD-4402-9B32-ABC82872A9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053888" y="-4470400"/>
                    <a:ext cx="796925" cy="909638"/>
                  </a:xfrm>
                  <a:custGeom>
                    <a:avLst/>
                    <a:gdLst/>
                    <a:ahLst/>
                    <a:cxnLst>
                      <a:cxn ang="0">
                        <a:pos x="392" y="963"/>
                      </a:cxn>
                      <a:cxn ang="0">
                        <a:pos x="320" y="948"/>
                      </a:cxn>
                      <a:cxn ang="0">
                        <a:pos x="249" y="919"/>
                      </a:cxn>
                      <a:cxn ang="0">
                        <a:pos x="184" y="878"/>
                      </a:cxn>
                      <a:cxn ang="0">
                        <a:pos x="147" y="846"/>
                      </a:cxn>
                      <a:cxn ang="0">
                        <a:pos x="107" y="827"/>
                      </a:cxn>
                      <a:cxn ang="0">
                        <a:pos x="48" y="836"/>
                      </a:cxn>
                      <a:cxn ang="0">
                        <a:pos x="26" y="851"/>
                      </a:cxn>
                      <a:cxn ang="0">
                        <a:pos x="7" y="882"/>
                      </a:cxn>
                      <a:cxn ang="0">
                        <a:pos x="7" y="950"/>
                      </a:cxn>
                      <a:cxn ang="0">
                        <a:pos x="27" y="980"/>
                      </a:cxn>
                      <a:cxn ang="0">
                        <a:pos x="94" y="1037"/>
                      </a:cxn>
                      <a:cxn ang="0">
                        <a:pos x="191" y="1093"/>
                      </a:cxn>
                      <a:cxn ang="0">
                        <a:pos x="295" y="1129"/>
                      </a:cxn>
                      <a:cxn ang="0">
                        <a:pos x="402" y="1144"/>
                      </a:cxn>
                      <a:cxn ang="0">
                        <a:pos x="486" y="1142"/>
                      </a:cxn>
                      <a:cxn ang="0">
                        <a:pos x="595" y="1121"/>
                      </a:cxn>
                      <a:cxn ang="0">
                        <a:pos x="699" y="1079"/>
                      </a:cxn>
                      <a:cxn ang="0">
                        <a:pos x="794" y="1015"/>
                      </a:cxn>
                      <a:cxn ang="0">
                        <a:pos x="858" y="954"/>
                      </a:cxn>
                      <a:cxn ang="0">
                        <a:pos x="925" y="864"/>
                      </a:cxn>
                      <a:cxn ang="0">
                        <a:pos x="971" y="763"/>
                      </a:cxn>
                      <a:cxn ang="0">
                        <a:pos x="997" y="655"/>
                      </a:cxn>
                      <a:cxn ang="0">
                        <a:pos x="1003" y="569"/>
                      </a:cxn>
                      <a:cxn ang="0">
                        <a:pos x="991" y="456"/>
                      </a:cxn>
                      <a:cxn ang="0">
                        <a:pos x="958" y="351"/>
                      </a:cxn>
                      <a:cxn ang="0">
                        <a:pos x="906" y="252"/>
                      </a:cxn>
                      <a:cxn ang="0">
                        <a:pos x="833" y="165"/>
                      </a:cxn>
                      <a:cxn ang="0">
                        <a:pos x="770" y="112"/>
                      </a:cxn>
                      <a:cxn ang="0">
                        <a:pos x="677" y="57"/>
                      </a:cxn>
                      <a:cxn ang="0">
                        <a:pos x="576" y="19"/>
                      </a:cxn>
                      <a:cxn ang="0">
                        <a:pos x="467" y="2"/>
                      </a:cxn>
                      <a:cxn ang="0">
                        <a:pos x="422" y="2"/>
                      </a:cxn>
                      <a:cxn ang="0">
                        <a:pos x="376" y="27"/>
                      </a:cxn>
                      <a:cxn ang="0">
                        <a:pos x="350" y="71"/>
                      </a:cxn>
                      <a:cxn ang="0">
                        <a:pos x="349" y="99"/>
                      </a:cxn>
                      <a:cxn ang="0">
                        <a:pos x="363" y="141"/>
                      </a:cxn>
                      <a:cxn ang="0">
                        <a:pos x="411" y="177"/>
                      </a:cxn>
                      <a:cxn ang="0">
                        <a:pos x="437" y="181"/>
                      </a:cxn>
                      <a:cxn ang="0">
                        <a:pos x="512" y="190"/>
                      </a:cxn>
                      <a:cxn ang="0">
                        <a:pos x="582" y="212"/>
                      </a:cxn>
                      <a:cxn ang="0">
                        <a:pos x="647" y="247"/>
                      </a:cxn>
                      <a:cxn ang="0">
                        <a:pos x="706" y="294"/>
                      </a:cxn>
                      <a:cxn ang="0">
                        <a:pos x="744" y="338"/>
                      </a:cxn>
                      <a:cxn ang="0">
                        <a:pos x="784" y="404"/>
                      </a:cxn>
                      <a:cxn ang="0">
                        <a:pos x="810" y="475"/>
                      </a:cxn>
                      <a:cxn ang="0">
                        <a:pos x="822" y="550"/>
                      </a:cxn>
                      <a:cxn ang="0">
                        <a:pos x="820" y="610"/>
                      </a:cxn>
                      <a:cxn ang="0">
                        <a:pos x="806" y="685"/>
                      </a:cxn>
                      <a:cxn ang="0">
                        <a:pos x="777" y="754"/>
                      </a:cxn>
                      <a:cxn ang="0">
                        <a:pos x="735" y="820"/>
                      </a:cxn>
                      <a:cxn ang="0">
                        <a:pos x="694" y="862"/>
                      </a:cxn>
                      <a:cxn ang="0">
                        <a:pos x="631" y="909"/>
                      </a:cxn>
                      <a:cxn ang="0">
                        <a:pos x="561" y="943"/>
                      </a:cxn>
                      <a:cxn ang="0">
                        <a:pos x="486" y="960"/>
                      </a:cxn>
                      <a:cxn ang="0">
                        <a:pos x="430" y="964"/>
                      </a:cxn>
                    </a:cxnLst>
                    <a:rect l="0" t="0" r="r" b="b"/>
                    <a:pathLst>
                      <a:path w="1003" h="1145">
                        <a:moveTo>
                          <a:pt x="430" y="964"/>
                        </a:moveTo>
                        <a:lnTo>
                          <a:pt x="430" y="964"/>
                        </a:lnTo>
                        <a:lnTo>
                          <a:pt x="411" y="964"/>
                        </a:lnTo>
                        <a:lnTo>
                          <a:pt x="392" y="963"/>
                        </a:lnTo>
                        <a:lnTo>
                          <a:pt x="375" y="960"/>
                        </a:lnTo>
                        <a:lnTo>
                          <a:pt x="356" y="957"/>
                        </a:lnTo>
                        <a:lnTo>
                          <a:pt x="337" y="953"/>
                        </a:lnTo>
                        <a:lnTo>
                          <a:pt x="320" y="948"/>
                        </a:lnTo>
                        <a:lnTo>
                          <a:pt x="301" y="943"/>
                        </a:lnTo>
                        <a:lnTo>
                          <a:pt x="283" y="935"/>
                        </a:lnTo>
                        <a:lnTo>
                          <a:pt x="266" y="928"/>
                        </a:lnTo>
                        <a:lnTo>
                          <a:pt x="249" y="919"/>
                        </a:lnTo>
                        <a:lnTo>
                          <a:pt x="233" y="911"/>
                        </a:lnTo>
                        <a:lnTo>
                          <a:pt x="215" y="901"/>
                        </a:lnTo>
                        <a:lnTo>
                          <a:pt x="199" y="889"/>
                        </a:lnTo>
                        <a:lnTo>
                          <a:pt x="184" y="878"/>
                        </a:lnTo>
                        <a:lnTo>
                          <a:pt x="169" y="864"/>
                        </a:lnTo>
                        <a:lnTo>
                          <a:pt x="155" y="851"/>
                        </a:lnTo>
                        <a:lnTo>
                          <a:pt x="155" y="851"/>
                        </a:lnTo>
                        <a:lnTo>
                          <a:pt x="147" y="846"/>
                        </a:lnTo>
                        <a:lnTo>
                          <a:pt x="140" y="840"/>
                        </a:lnTo>
                        <a:lnTo>
                          <a:pt x="133" y="836"/>
                        </a:lnTo>
                        <a:lnTo>
                          <a:pt x="124" y="831"/>
                        </a:lnTo>
                        <a:lnTo>
                          <a:pt x="107" y="827"/>
                        </a:lnTo>
                        <a:lnTo>
                          <a:pt x="91" y="825"/>
                        </a:lnTo>
                        <a:lnTo>
                          <a:pt x="74" y="827"/>
                        </a:lnTo>
                        <a:lnTo>
                          <a:pt x="56" y="833"/>
                        </a:lnTo>
                        <a:lnTo>
                          <a:pt x="48" y="836"/>
                        </a:lnTo>
                        <a:lnTo>
                          <a:pt x="40" y="840"/>
                        </a:lnTo>
                        <a:lnTo>
                          <a:pt x="33" y="846"/>
                        </a:lnTo>
                        <a:lnTo>
                          <a:pt x="26" y="851"/>
                        </a:lnTo>
                        <a:lnTo>
                          <a:pt x="26" y="851"/>
                        </a:lnTo>
                        <a:lnTo>
                          <a:pt x="20" y="859"/>
                        </a:lnTo>
                        <a:lnTo>
                          <a:pt x="14" y="866"/>
                        </a:lnTo>
                        <a:lnTo>
                          <a:pt x="10" y="875"/>
                        </a:lnTo>
                        <a:lnTo>
                          <a:pt x="7" y="882"/>
                        </a:lnTo>
                        <a:lnTo>
                          <a:pt x="1" y="899"/>
                        </a:lnTo>
                        <a:lnTo>
                          <a:pt x="0" y="917"/>
                        </a:lnTo>
                        <a:lnTo>
                          <a:pt x="1" y="934"/>
                        </a:lnTo>
                        <a:lnTo>
                          <a:pt x="7" y="950"/>
                        </a:lnTo>
                        <a:lnTo>
                          <a:pt x="11" y="959"/>
                        </a:lnTo>
                        <a:lnTo>
                          <a:pt x="16" y="966"/>
                        </a:lnTo>
                        <a:lnTo>
                          <a:pt x="21" y="973"/>
                        </a:lnTo>
                        <a:lnTo>
                          <a:pt x="27" y="980"/>
                        </a:lnTo>
                        <a:lnTo>
                          <a:pt x="27" y="980"/>
                        </a:lnTo>
                        <a:lnTo>
                          <a:pt x="49" y="1001"/>
                        </a:lnTo>
                        <a:lnTo>
                          <a:pt x="71" y="1019"/>
                        </a:lnTo>
                        <a:lnTo>
                          <a:pt x="94" y="1037"/>
                        </a:lnTo>
                        <a:lnTo>
                          <a:pt x="117" y="1053"/>
                        </a:lnTo>
                        <a:lnTo>
                          <a:pt x="140" y="1067"/>
                        </a:lnTo>
                        <a:lnTo>
                          <a:pt x="165" y="1080"/>
                        </a:lnTo>
                        <a:lnTo>
                          <a:pt x="191" y="1093"/>
                        </a:lnTo>
                        <a:lnTo>
                          <a:pt x="215" y="1103"/>
                        </a:lnTo>
                        <a:lnTo>
                          <a:pt x="241" y="1113"/>
                        </a:lnTo>
                        <a:lnTo>
                          <a:pt x="267" y="1122"/>
                        </a:lnTo>
                        <a:lnTo>
                          <a:pt x="295" y="1129"/>
                        </a:lnTo>
                        <a:lnTo>
                          <a:pt x="321" y="1135"/>
                        </a:lnTo>
                        <a:lnTo>
                          <a:pt x="349" y="1139"/>
                        </a:lnTo>
                        <a:lnTo>
                          <a:pt x="376" y="1142"/>
                        </a:lnTo>
                        <a:lnTo>
                          <a:pt x="402" y="1144"/>
                        </a:lnTo>
                        <a:lnTo>
                          <a:pt x="430" y="1145"/>
                        </a:lnTo>
                        <a:lnTo>
                          <a:pt x="430" y="1145"/>
                        </a:lnTo>
                        <a:lnTo>
                          <a:pt x="457" y="1144"/>
                        </a:lnTo>
                        <a:lnTo>
                          <a:pt x="486" y="1142"/>
                        </a:lnTo>
                        <a:lnTo>
                          <a:pt x="514" y="1139"/>
                        </a:lnTo>
                        <a:lnTo>
                          <a:pt x="541" y="1135"/>
                        </a:lnTo>
                        <a:lnTo>
                          <a:pt x="567" y="1128"/>
                        </a:lnTo>
                        <a:lnTo>
                          <a:pt x="595" y="1121"/>
                        </a:lnTo>
                        <a:lnTo>
                          <a:pt x="621" y="1112"/>
                        </a:lnTo>
                        <a:lnTo>
                          <a:pt x="647" y="1103"/>
                        </a:lnTo>
                        <a:lnTo>
                          <a:pt x="673" y="1092"/>
                        </a:lnTo>
                        <a:lnTo>
                          <a:pt x="699" y="1079"/>
                        </a:lnTo>
                        <a:lnTo>
                          <a:pt x="723" y="1064"/>
                        </a:lnTo>
                        <a:lnTo>
                          <a:pt x="748" y="1050"/>
                        </a:lnTo>
                        <a:lnTo>
                          <a:pt x="771" y="1032"/>
                        </a:lnTo>
                        <a:lnTo>
                          <a:pt x="794" y="1015"/>
                        </a:lnTo>
                        <a:lnTo>
                          <a:pt x="816" y="996"/>
                        </a:lnTo>
                        <a:lnTo>
                          <a:pt x="838" y="976"/>
                        </a:lnTo>
                        <a:lnTo>
                          <a:pt x="838" y="976"/>
                        </a:lnTo>
                        <a:lnTo>
                          <a:pt x="858" y="954"/>
                        </a:lnTo>
                        <a:lnTo>
                          <a:pt x="875" y="933"/>
                        </a:lnTo>
                        <a:lnTo>
                          <a:pt x="893" y="911"/>
                        </a:lnTo>
                        <a:lnTo>
                          <a:pt x="909" y="888"/>
                        </a:lnTo>
                        <a:lnTo>
                          <a:pt x="925" y="864"/>
                        </a:lnTo>
                        <a:lnTo>
                          <a:pt x="938" y="840"/>
                        </a:lnTo>
                        <a:lnTo>
                          <a:pt x="951" y="814"/>
                        </a:lnTo>
                        <a:lnTo>
                          <a:pt x="961" y="789"/>
                        </a:lnTo>
                        <a:lnTo>
                          <a:pt x="971" y="763"/>
                        </a:lnTo>
                        <a:lnTo>
                          <a:pt x="980" y="737"/>
                        </a:lnTo>
                        <a:lnTo>
                          <a:pt x="987" y="710"/>
                        </a:lnTo>
                        <a:lnTo>
                          <a:pt x="993" y="682"/>
                        </a:lnTo>
                        <a:lnTo>
                          <a:pt x="997" y="655"/>
                        </a:lnTo>
                        <a:lnTo>
                          <a:pt x="1001" y="627"/>
                        </a:lnTo>
                        <a:lnTo>
                          <a:pt x="1003" y="598"/>
                        </a:lnTo>
                        <a:lnTo>
                          <a:pt x="1003" y="569"/>
                        </a:lnTo>
                        <a:lnTo>
                          <a:pt x="1003" y="569"/>
                        </a:lnTo>
                        <a:lnTo>
                          <a:pt x="1003" y="540"/>
                        </a:lnTo>
                        <a:lnTo>
                          <a:pt x="1000" y="513"/>
                        </a:lnTo>
                        <a:lnTo>
                          <a:pt x="997" y="485"/>
                        </a:lnTo>
                        <a:lnTo>
                          <a:pt x="991" y="456"/>
                        </a:lnTo>
                        <a:lnTo>
                          <a:pt x="985" y="430"/>
                        </a:lnTo>
                        <a:lnTo>
                          <a:pt x="978" y="403"/>
                        </a:lnTo>
                        <a:lnTo>
                          <a:pt x="969" y="377"/>
                        </a:lnTo>
                        <a:lnTo>
                          <a:pt x="958" y="351"/>
                        </a:lnTo>
                        <a:lnTo>
                          <a:pt x="948" y="325"/>
                        </a:lnTo>
                        <a:lnTo>
                          <a:pt x="935" y="300"/>
                        </a:lnTo>
                        <a:lnTo>
                          <a:pt x="920" y="277"/>
                        </a:lnTo>
                        <a:lnTo>
                          <a:pt x="906" y="252"/>
                        </a:lnTo>
                        <a:lnTo>
                          <a:pt x="888" y="229"/>
                        </a:lnTo>
                        <a:lnTo>
                          <a:pt x="871" y="207"/>
                        </a:lnTo>
                        <a:lnTo>
                          <a:pt x="852" y="186"/>
                        </a:lnTo>
                        <a:lnTo>
                          <a:pt x="833" y="165"/>
                        </a:lnTo>
                        <a:lnTo>
                          <a:pt x="833" y="165"/>
                        </a:lnTo>
                        <a:lnTo>
                          <a:pt x="813" y="147"/>
                        </a:lnTo>
                        <a:lnTo>
                          <a:pt x="791" y="129"/>
                        </a:lnTo>
                        <a:lnTo>
                          <a:pt x="770" y="112"/>
                        </a:lnTo>
                        <a:lnTo>
                          <a:pt x="748" y="96"/>
                        </a:lnTo>
                        <a:lnTo>
                          <a:pt x="725" y="82"/>
                        </a:lnTo>
                        <a:lnTo>
                          <a:pt x="702" y="68"/>
                        </a:lnTo>
                        <a:lnTo>
                          <a:pt x="677" y="57"/>
                        </a:lnTo>
                        <a:lnTo>
                          <a:pt x="652" y="45"/>
                        </a:lnTo>
                        <a:lnTo>
                          <a:pt x="628" y="35"/>
                        </a:lnTo>
                        <a:lnTo>
                          <a:pt x="602" y="27"/>
                        </a:lnTo>
                        <a:lnTo>
                          <a:pt x="576" y="19"/>
                        </a:lnTo>
                        <a:lnTo>
                          <a:pt x="550" y="14"/>
                        </a:lnTo>
                        <a:lnTo>
                          <a:pt x="522" y="8"/>
                        </a:lnTo>
                        <a:lnTo>
                          <a:pt x="495" y="5"/>
                        </a:lnTo>
                        <a:lnTo>
                          <a:pt x="467" y="2"/>
                        </a:lnTo>
                        <a:lnTo>
                          <a:pt x="440" y="0"/>
                        </a:lnTo>
                        <a:lnTo>
                          <a:pt x="440" y="0"/>
                        </a:lnTo>
                        <a:lnTo>
                          <a:pt x="431" y="0"/>
                        </a:lnTo>
                        <a:lnTo>
                          <a:pt x="422" y="2"/>
                        </a:lnTo>
                        <a:lnTo>
                          <a:pt x="414" y="5"/>
                        </a:lnTo>
                        <a:lnTo>
                          <a:pt x="405" y="8"/>
                        </a:lnTo>
                        <a:lnTo>
                          <a:pt x="389" y="15"/>
                        </a:lnTo>
                        <a:lnTo>
                          <a:pt x="376" y="27"/>
                        </a:lnTo>
                        <a:lnTo>
                          <a:pt x="364" y="40"/>
                        </a:lnTo>
                        <a:lnTo>
                          <a:pt x="356" y="54"/>
                        </a:lnTo>
                        <a:lnTo>
                          <a:pt x="353" y="63"/>
                        </a:lnTo>
                        <a:lnTo>
                          <a:pt x="350" y="71"/>
                        </a:lnTo>
                        <a:lnTo>
                          <a:pt x="349" y="80"/>
                        </a:lnTo>
                        <a:lnTo>
                          <a:pt x="349" y="89"/>
                        </a:lnTo>
                        <a:lnTo>
                          <a:pt x="349" y="89"/>
                        </a:lnTo>
                        <a:lnTo>
                          <a:pt x="349" y="99"/>
                        </a:lnTo>
                        <a:lnTo>
                          <a:pt x="350" y="108"/>
                        </a:lnTo>
                        <a:lnTo>
                          <a:pt x="351" y="116"/>
                        </a:lnTo>
                        <a:lnTo>
                          <a:pt x="354" y="125"/>
                        </a:lnTo>
                        <a:lnTo>
                          <a:pt x="363" y="141"/>
                        </a:lnTo>
                        <a:lnTo>
                          <a:pt x="373" y="154"/>
                        </a:lnTo>
                        <a:lnTo>
                          <a:pt x="386" y="165"/>
                        </a:lnTo>
                        <a:lnTo>
                          <a:pt x="402" y="174"/>
                        </a:lnTo>
                        <a:lnTo>
                          <a:pt x="411" y="177"/>
                        </a:lnTo>
                        <a:lnTo>
                          <a:pt x="419" y="180"/>
                        </a:lnTo>
                        <a:lnTo>
                          <a:pt x="428" y="181"/>
                        </a:lnTo>
                        <a:lnTo>
                          <a:pt x="437" y="181"/>
                        </a:lnTo>
                        <a:lnTo>
                          <a:pt x="437" y="181"/>
                        </a:lnTo>
                        <a:lnTo>
                          <a:pt x="456" y="183"/>
                        </a:lnTo>
                        <a:lnTo>
                          <a:pt x="474" y="184"/>
                        </a:lnTo>
                        <a:lnTo>
                          <a:pt x="493" y="187"/>
                        </a:lnTo>
                        <a:lnTo>
                          <a:pt x="512" y="190"/>
                        </a:lnTo>
                        <a:lnTo>
                          <a:pt x="529" y="194"/>
                        </a:lnTo>
                        <a:lnTo>
                          <a:pt x="547" y="199"/>
                        </a:lnTo>
                        <a:lnTo>
                          <a:pt x="566" y="206"/>
                        </a:lnTo>
                        <a:lnTo>
                          <a:pt x="582" y="212"/>
                        </a:lnTo>
                        <a:lnTo>
                          <a:pt x="599" y="219"/>
                        </a:lnTo>
                        <a:lnTo>
                          <a:pt x="616" y="228"/>
                        </a:lnTo>
                        <a:lnTo>
                          <a:pt x="632" y="238"/>
                        </a:lnTo>
                        <a:lnTo>
                          <a:pt x="647" y="247"/>
                        </a:lnTo>
                        <a:lnTo>
                          <a:pt x="663" y="258"/>
                        </a:lnTo>
                        <a:lnTo>
                          <a:pt x="677" y="270"/>
                        </a:lnTo>
                        <a:lnTo>
                          <a:pt x="692" y="281"/>
                        </a:lnTo>
                        <a:lnTo>
                          <a:pt x="706" y="294"/>
                        </a:lnTo>
                        <a:lnTo>
                          <a:pt x="706" y="294"/>
                        </a:lnTo>
                        <a:lnTo>
                          <a:pt x="719" y="309"/>
                        </a:lnTo>
                        <a:lnTo>
                          <a:pt x="732" y="323"/>
                        </a:lnTo>
                        <a:lnTo>
                          <a:pt x="744" y="338"/>
                        </a:lnTo>
                        <a:lnTo>
                          <a:pt x="755" y="354"/>
                        </a:lnTo>
                        <a:lnTo>
                          <a:pt x="765" y="370"/>
                        </a:lnTo>
                        <a:lnTo>
                          <a:pt x="775" y="387"/>
                        </a:lnTo>
                        <a:lnTo>
                          <a:pt x="784" y="404"/>
                        </a:lnTo>
                        <a:lnTo>
                          <a:pt x="791" y="422"/>
                        </a:lnTo>
                        <a:lnTo>
                          <a:pt x="799" y="439"/>
                        </a:lnTo>
                        <a:lnTo>
                          <a:pt x="804" y="456"/>
                        </a:lnTo>
                        <a:lnTo>
                          <a:pt x="810" y="475"/>
                        </a:lnTo>
                        <a:lnTo>
                          <a:pt x="815" y="494"/>
                        </a:lnTo>
                        <a:lnTo>
                          <a:pt x="817" y="513"/>
                        </a:lnTo>
                        <a:lnTo>
                          <a:pt x="820" y="532"/>
                        </a:lnTo>
                        <a:lnTo>
                          <a:pt x="822" y="550"/>
                        </a:lnTo>
                        <a:lnTo>
                          <a:pt x="822" y="571"/>
                        </a:lnTo>
                        <a:lnTo>
                          <a:pt x="822" y="571"/>
                        </a:lnTo>
                        <a:lnTo>
                          <a:pt x="822" y="590"/>
                        </a:lnTo>
                        <a:lnTo>
                          <a:pt x="820" y="610"/>
                        </a:lnTo>
                        <a:lnTo>
                          <a:pt x="817" y="629"/>
                        </a:lnTo>
                        <a:lnTo>
                          <a:pt x="815" y="647"/>
                        </a:lnTo>
                        <a:lnTo>
                          <a:pt x="810" y="666"/>
                        </a:lnTo>
                        <a:lnTo>
                          <a:pt x="806" y="685"/>
                        </a:lnTo>
                        <a:lnTo>
                          <a:pt x="800" y="702"/>
                        </a:lnTo>
                        <a:lnTo>
                          <a:pt x="793" y="721"/>
                        </a:lnTo>
                        <a:lnTo>
                          <a:pt x="786" y="739"/>
                        </a:lnTo>
                        <a:lnTo>
                          <a:pt x="777" y="754"/>
                        </a:lnTo>
                        <a:lnTo>
                          <a:pt x="768" y="772"/>
                        </a:lnTo>
                        <a:lnTo>
                          <a:pt x="758" y="788"/>
                        </a:lnTo>
                        <a:lnTo>
                          <a:pt x="747" y="804"/>
                        </a:lnTo>
                        <a:lnTo>
                          <a:pt x="735" y="820"/>
                        </a:lnTo>
                        <a:lnTo>
                          <a:pt x="722" y="834"/>
                        </a:lnTo>
                        <a:lnTo>
                          <a:pt x="709" y="849"/>
                        </a:lnTo>
                        <a:lnTo>
                          <a:pt x="709" y="849"/>
                        </a:lnTo>
                        <a:lnTo>
                          <a:pt x="694" y="862"/>
                        </a:lnTo>
                        <a:lnTo>
                          <a:pt x="679" y="875"/>
                        </a:lnTo>
                        <a:lnTo>
                          <a:pt x="663" y="888"/>
                        </a:lnTo>
                        <a:lnTo>
                          <a:pt x="647" y="899"/>
                        </a:lnTo>
                        <a:lnTo>
                          <a:pt x="631" y="909"/>
                        </a:lnTo>
                        <a:lnTo>
                          <a:pt x="613" y="919"/>
                        </a:lnTo>
                        <a:lnTo>
                          <a:pt x="596" y="927"/>
                        </a:lnTo>
                        <a:lnTo>
                          <a:pt x="579" y="935"/>
                        </a:lnTo>
                        <a:lnTo>
                          <a:pt x="561" y="943"/>
                        </a:lnTo>
                        <a:lnTo>
                          <a:pt x="542" y="948"/>
                        </a:lnTo>
                        <a:lnTo>
                          <a:pt x="524" y="953"/>
                        </a:lnTo>
                        <a:lnTo>
                          <a:pt x="505" y="957"/>
                        </a:lnTo>
                        <a:lnTo>
                          <a:pt x="486" y="960"/>
                        </a:lnTo>
                        <a:lnTo>
                          <a:pt x="467" y="963"/>
                        </a:lnTo>
                        <a:lnTo>
                          <a:pt x="448" y="964"/>
                        </a:lnTo>
                        <a:lnTo>
                          <a:pt x="430" y="964"/>
                        </a:lnTo>
                        <a:lnTo>
                          <a:pt x="430" y="964"/>
                        </a:ln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7" name="Line 27">
                    <a:extLst>
                      <a:ext uri="{FF2B5EF4-FFF2-40B4-BE49-F238E27FC236}">
                        <a16:creationId xmlns="" xmlns:a16="http://schemas.microsoft.com/office/drawing/2014/main" id="{8D56E9CF-EA6C-4511-997E-F1C0D7AEA17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395201" y="-3705225"/>
                    <a:ext cx="1588" cy="1588"/>
                  </a:xfrm>
                  <a:prstGeom prst="lin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6" name="组合 5">
                <a:extLst>
                  <a:ext uri="{FF2B5EF4-FFF2-40B4-BE49-F238E27FC236}">
                    <a16:creationId xmlns="" xmlns:a16="http://schemas.microsoft.com/office/drawing/2014/main" id="{C21E6DD9-8CE4-4AA3-A31E-2AC3E58F592A}"/>
                  </a:ext>
                </a:extLst>
              </p:cNvPr>
              <p:cNvGrpSpPr/>
              <p:nvPr/>
            </p:nvGrpSpPr>
            <p:grpSpPr>
              <a:xfrm>
                <a:off x="474070" y="3405069"/>
                <a:ext cx="1852964" cy="338343"/>
                <a:chOff x="474070" y="3405069"/>
                <a:chExt cx="1852964" cy="338343"/>
              </a:xfrm>
            </p:grpSpPr>
            <p:sp>
              <p:nvSpPr>
                <p:cNvPr id="190" name="矩形 189">
                  <a:extLst>
                    <a:ext uri="{FF2B5EF4-FFF2-40B4-BE49-F238E27FC236}">
                      <a16:creationId xmlns="" xmlns:a16="http://schemas.microsoft.com/office/drawing/2014/main" id="{0FB0293A-D810-40E1-957D-025A073A1B95}"/>
                    </a:ext>
                  </a:extLst>
                </p:cNvPr>
                <p:cNvSpPr/>
                <p:nvPr/>
              </p:nvSpPr>
              <p:spPr>
                <a:xfrm>
                  <a:off x="666178" y="3428216"/>
                  <a:ext cx="1660856" cy="315196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fontAlgn="ctr"/>
                  <a:r>
                    <a:rPr lang="en-US" sz="1000" b="1" dirty="0" smtClean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panose="020B0604020202020204" pitchFamily="34" charset="0"/>
                    </a:rPr>
                    <a:t>A 3-year-old child was missing.</a:t>
                  </a:r>
                  <a:endParaRPr lang="en-US" sz="1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242" name="组合 241"/>
                <p:cNvGrpSpPr/>
                <p:nvPr/>
              </p:nvGrpSpPr>
              <p:grpSpPr>
                <a:xfrm>
                  <a:off x="474070" y="3405069"/>
                  <a:ext cx="235833" cy="334808"/>
                  <a:chOff x="1407913" y="5648791"/>
                  <a:chExt cx="235833" cy="334808"/>
                </a:xfrm>
              </p:grpSpPr>
              <p:sp>
                <p:nvSpPr>
                  <p:cNvPr id="243" name="椭圆 242"/>
                  <p:cNvSpPr/>
                  <p:nvPr/>
                </p:nvSpPr>
                <p:spPr bwMode="auto">
                  <a:xfrm>
                    <a:off x="1413227" y="5697171"/>
                    <a:ext cx="230519" cy="231706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20000"/>
                          <a:lumOff val="80000"/>
                        </a:schemeClr>
                      </a:gs>
                      <a:gs pos="10000">
                        <a:srgbClr val="00B0F0"/>
                      </a:gs>
                      <a:gs pos="62000">
                        <a:srgbClr val="00B0F0">
                          <a:alpha val="72000"/>
                        </a:srgbClr>
                      </a:gs>
                      <a:gs pos="35000">
                        <a:srgbClr val="00B0F0">
                          <a:alpha val="56000"/>
                        </a:srgbClr>
                      </a:gs>
                      <a:gs pos="98000">
                        <a:srgbClr val="0070C0"/>
                      </a:gs>
                    </a:gsLst>
                    <a:lin ang="2700000" scaled="1"/>
                    <a:tileRect/>
                  </a:gradFill>
                  <a:ln w="9525" cap="flat" cmpd="sng" algn="ctr">
                    <a:solidFill>
                      <a:srgbClr val="8EB4E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outerShdw blurRad="76200" dist="63500" dir="8100000" algn="tr" rotWithShape="0">
                      <a:prstClr val="black">
                        <a:alpha val="40000"/>
                      </a:prstClr>
                    </a:outerShdw>
                  </a:effectLst>
                  <a:scene3d>
                    <a:camera prst="orthographicFront"/>
                    <a:lightRig rig="flat" dir="t"/>
                  </a:scene3d>
                </p:spPr>
                <p:txBody>
                  <a:bodyPr wrap="square" anchor="ctr">
                    <a:noAutofit/>
                  </a:bodyPr>
                  <a:lstStyle/>
                  <a:p>
                    <a:pPr algn="ctr" defTabSz="1219078" fontAlgn="ctr">
                      <a:defRPr/>
                    </a:pPr>
                    <a:endParaRPr lang="en-US" altLang="zh-CN" sz="1050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44" name="TextBox 14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07913" y="5648791"/>
                    <a:ext cx="235833" cy="334808"/>
                  </a:xfrm>
                  <a:prstGeom prst="rect">
                    <a:avLst/>
                  </a:prstGeom>
                  <a:noFill/>
                  <a:scene3d>
                    <a:camera prst="orthographicFront"/>
                    <a:lightRig rig="threePt" dir="t"/>
                  </a:scene3d>
                  <a:sp3d/>
                </p:spPr>
                <p:txBody>
                  <a:bodyPr wrap="square">
                    <a:noAutofit/>
                  </a:bodyPr>
                  <a:lstStyle>
                    <a:lvl1pPr defTabSz="301625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1pPr>
                    <a:lvl2pPr marL="742950" indent="-285750" defTabSz="301625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2pPr>
                    <a:lvl3pPr marL="1143000" indent="-228600" defTabSz="301625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3pPr>
                    <a:lvl4pPr marL="1600200" indent="-228600" defTabSz="301625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4pPr>
                    <a:lvl5pPr marL="2057400" indent="-228600" defTabSz="301625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5pPr>
                    <a:lvl6pPr marL="2514600" indent="-228600" defTabSz="301625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6pPr>
                    <a:lvl7pPr marL="2971800" indent="-228600" defTabSz="301625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7pPr>
                    <a:lvl8pPr marL="3429000" indent="-228600" defTabSz="301625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8pPr>
                    <a:lvl9pPr marL="3886200" indent="-228600" defTabSz="301625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algn="ctr" fontAlgn="ctr"/>
                    <a:r>
                      <a:rPr lang="en-US" sz="1050" dirty="0" smtClean="0">
                        <a:solidFill>
                          <a:prstClr val="white"/>
                        </a:solidFill>
                        <a:latin typeface="Arial" panose="020B0604020202020204" pitchFamily="34" charset="0"/>
                      </a:rPr>
                      <a:t>2</a:t>
                    </a:r>
                    <a:endParaRPr lang="en-US" sz="1050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</p:grpSp>
        <p:grpSp>
          <p:nvGrpSpPr>
            <p:cNvPr id="5" name="组合 4">
              <a:extLst>
                <a:ext uri="{FF2B5EF4-FFF2-40B4-BE49-F238E27FC236}">
                  <a16:creationId xmlns="" xmlns:a16="http://schemas.microsoft.com/office/drawing/2014/main" id="{3F832CDF-2A0F-4745-9B01-F5C863704855}"/>
                </a:ext>
              </a:extLst>
            </p:cNvPr>
            <p:cNvGrpSpPr/>
            <p:nvPr/>
          </p:nvGrpSpPr>
          <p:grpSpPr>
            <a:xfrm>
              <a:off x="1393432" y="1488775"/>
              <a:ext cx="2451154" cy="715020"/>
              <a:chOff x="1393432" y="1488775"/>
              <a:chExt cx="2451154" cy="715020"/>
            </a:xfrm>
          </p:grpSpPr>
          <p:grpSp>
            <p:nvGrpSpPr>
              <p:cNvPr id="211" name="组合 210">
                <a:extLst>
                  <a:ext uri="{FF2B5EF4-FFF2-40B4-BE49-F238E27FC236}">
                    <a16:creationId xmlns="" xmlns:a16="http://schemas.microsoft.com/office/drawing/2014/main" id="{6226924B-1344-44FA-86A2-B19D0DC45912}"/>
                  </a:ext>
                </a:extLst>
              </p:cNvPr>
              <p:cNvGrpSpPr/>
              <p:nvPr/>
            </p:nvGrpSpPr>
            <p:grpSpPr>
              <a:xfrm>
                <a:off x="1393432" y="1488775"/>
                <a:ext cx="2451154" cy="715020"/>
                <a:chOff x="1252338" y="1764372"/>
                <a:chExt cx="2452093" cy="715294"/>
              </a:xfrm>
            </p:grpSpPr>
            <p:sp>
              <p:nvSpPr>
                <p:cNvPr id="212" name="矩形 211">
                  <a:extLst>
                    <a:ext uri="{FF2B5EF4-FFF2-40B4-BE49-F238E27FC236}">
                      <a16:creationId xmlns="" xmlns:a16="http://schemas.microsoft.com/office/drawing/2014/main" id="{1F65C66F-834A-4FD7-8F09-257E9B1E3385}"/>
                    </a:ext>
                  </a:extLst>
                </p:cNvPr>
                <p:cNvSpPr/>
                <p:nvPr/>
              </p:nvSpPr>
              <p:spPr>
                <a:xfrm>
                  <a:off x="1252338" y="2164350"/>
                  <a:ext cx="1737116" cy="315316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/>
                <a:p>
                  <a:pPr algn="ctr" defTabSz="1219078" fontAlgn="ctr"/>
                  <a:r>
                    <a:rPr lang="en-US" sz="1000" b="1" dirty="0" smtClean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panose="020B0604020202020204" pitchFamily="34" charset="0"/>
                    </a:rPr>
                    <a:t>Video investigation</a:t>
                  </a:r>
                  <a:endParaRPr lang="en-US" sz="1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213" name="组合 203">
                  <a:extLst>
                    <a:ext uri="{FF2B5EF4-FFF2-40B4-BE49-F238E27FC236}">
                      <a16:creationId xmlns="" xmlns:a16="http://schemas.microsoft.com/office/drawing/2014/main" id="{AF00689A-5AAE-4622-B15C-CD193AE400E7}"/>
                    </a:ext>
                  </a:extLst>
                </p:cNvPr>
                <p:cNvGrpSpPr/>
                <p:nvPr/>
              </p:nvGrpSpPr>
              <p:grpSpPr>
                <a:xfrm>
                  <a:off x="2993198" y="1764372"/>
                  <a:ext cx="711233" cy="684892"/>
                  <a:chOff x="2993198" y="1637760"/>
                  <a:chExt cx="711233" cy="684892"/>
                </a:xfrm>
              </p:grpSpPr>
              <p:pic>
                <p:nvPicPr>
                  <p:cNvPr id="214" name="Picture 2" descr="C:\Users\Administrator\Documents\Tencent Files\415628334\FileRecv\11.png">
                    <a:extLst>
                      <a:ext uri="{FF2B5EF4-FFF2-40B4-BE49-F238E27FC236}">
                        <a16:creationId xmlns="" xmlns:a16="http://schemas.microsoft.com/office/drawing/2014/main" id="{B9F20816-EFCA-4A4B-9EBF-8AB8745DBFFE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/>
                  <a:srcRect l="12645" t="13780" r="13005" b="5742"/>
                  <a:stretch>
                    <a:fillRect/>
                  </a:stretch>
                </p:blipFill>
                <p:spPr bwMode="auto">
                  <a:xfrm>
                    <a:off x="2993198" y="1637760"/>
                    <a:ext cx="711233" cy="68489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215" name="Freeform 28">
                    <a:extLst>
                      <a:ext uri="{FF2B5EF4-FFF2-40B4-BE49-F238E27FC236}">
                        <a16:creationId xmlns="" xmlns:a16="http://schemas.microsoft.com/office/drawing/2014/main" id="{FE037901-1D71-4D7D-8ACA-BBC29B35251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167794" y="1800305"/>
                    <a:ext cx="326453" cy="326668"/>
                  </a:xfrm>
                  <a:custGeom>
                    <a:avLst/>
                    <a:gdLst/>
                    <a:ahLst/>
                    <a:cxnLst>
                      <a:cxn ang="0">
                        <a:pos x="2773" y="820"/>
                      </a:cxn>
                      <a:cxn ang="0">
                        <a:pos x="1866" y="391"/>
                      </a:cxn>
                      <a:cxn ang="0">
                        <a:pos x="1651" y="121"/>
                      </a:cxn>
                      <a:cxn ang="0">
                        <a:pos x="1525" y="0"/>
                      </a:cxn>
                      <a:cxn ang="0">
                        <a:pos x="203" y="605"/>
                      </a:cxn>
                      <a:cxn ang="0">
                        <a:pos x="2" y="2819"/>
                      </a:cxn>
                      <a:cxn ang="0">
                        <a:pos x="2990" y="3039"/>
                      </a:cxn>
                      <a:cxn ang="0">
                        <a:pos x="3038" y="2819"/>
                      </a:cxn>
                      <a:cxn ang="0">
                        <a:pos x="2198" y="859"/>
                      </a:cxn>
                      <a:cxn ang="0">
                        <a:pos x="2434" y="844"/>
                      </a:cxn>
                      <a:cxn ang="0">
                        <a:pos x="2418" y="1079"/>
                      </a:cxn>
                      <a:cxn ang="0">
                        <a:pos x="2194" y="1035"/>
                      </a:cxn>
                      <a:cxn ang="0">
                        <a:pos x="2400" y="1223"/>
                      </a:cxn>
                      <a:cxn ang="0">
                        <a:pos x="2449" y="1438"/>
                      </a:cxn>
                      <a:cxn ang="0">
                        <a:pos x="2216" y="1470"/>
                      </a:cxn>
                      <a:cxn ang="0">
                        <a:pos x="2209" y="1631"/>
                      </a:cxn>
                      <a:cxn ang="0">
                        <a:pos x="2446" y="1647"/>
                      </a:cxn>
                      <a:cxn ang="0">
                        <a:pos x="2400" y="1873"/>
                      </a:cxn>
                      <a:cxn ang="0">
                        <a:pos x="2194" y="2061"/>
                      </a:cxn>
                      <a:cxn ang="0">
                        <a:pos x="2410" y="2011"/>
                      </a:cxn>
                      <a:cxn ang="0">
                        <a:pos x="2440" y="2244"/>
                      </a:cxn>
                      <a:cxn ang="0">
                        <a:pos x="2203" y="2244"/>
                      </a:cxn>
                      <a:cxn ang="0">
                        <a:pos x="2225" y="2409"/>
                      </a:cxn>
                      <a:cxn ang="0">
                        <a:pos x="2449" y="2454"/>
                      </a:cxn>
                      <a:cxn ang="0">
                        <a:pos x="2243" y="2660"/>
                      </a:cxn>
                      <a:cxn ang="0">
                        <a:pos x="1033" y="474"/>
                      </a:cxn>
                      <a:cxn ang="0">
                        <a:pos x="1266" y="443"/>
                      </a:cxn>
                      <a:cxn ang="0">
                        <a:pos x="1266" y="681"/>
                      </a:cxn>
                      <a:cxn ang="0">
                        <a:pos x="1033" y="651"/>
                      </a:cxn>
                      <a:cxn ang="0">
                        <a:pos x="1081" y="829"/>
                      </a:cxn>
                      <a:cxn ang="0">
                        <a:pos x="1288" y="1035"/>
                      </a:cxn>
                      <a:cxn ang="0">
                        <a:pos x="1062" y="1079"/>
                      </a:cxn>
                      <a:cxn ang="0">
                        <a:pos x="1041" y="1244"/>
                      </a:cxn>
                      <a:cxn ang="0">
                        <a:pos x="1279" y="1244"/>
                      </a:cxn>
                      <a:cxn ang="0">
                        <a:pos x="1248" y="1477"/>
                      </a:cxn>
                      <a:cxn ang="0">
                        <a:pos x="1032" y="1272"/>
                      </a:cxn>
                      <a:cxn ang="0">
                        <a:pos x="1237" y="1616"/>
                      </a:cxn>
                      <a:cxn ang="0">
                        <a:pos x="1284" y="1842"/>
                      </a:cxn>
                      <a:cxn ang="0">
                        <a:pos x="1046" y="1858"/>
                      </a:cxn>
                      <a:cxn ang="0">
                        <a:pos x="1054" y="2020"/>
                      </a:cxn>
                      <a:cxn ang="0">
                        <a:pos x="1287" y="2051"/>
                      </a:cxn>
                      <a:cxn ang="0">
                        <a:pos x="1081" y="2266"/>
                      </a:cxn>
                      <a:cxn ang="0">
                        <a:pos x="1032" y="2454"/>
                      </a:cxn>
                      <a:cxn ang="0">
                        <a:pos x="1258" y="2409"/>
                      </a:cxn>
                      <a:cxn ang="0">
                        <a:pos x="1274" y="2645"/>
                      </a:cxn>
                      <a:cxn ang="0">
                        <a:pos x="1036" y="2631"/>
                      </a:cxn>
                      <a:cxn ang="0">
                        <a:pos x="598" y="830"/>
                      </a:cxn>
                      <a:cxn ang="0">
                        <a:pos x="813" y="1035"/>
                      </a:cxn>
                      <a:cxn ang="0">
                        <a:pos x="598" y="1082"/>
                      </a:cxn>
                      <a:cxn ang="0">
                        <a:pos x="563" y="1253"/>
                      </a:cxn>
                      <a:cxn ang="0">
                        <a:pos x="799" y="1237"/>
                      </a:cxn>
                      <a:cxn ang="0">
                        <a:pos x="783" y="1475"/>
                      </a:cxn>
                      <a:cxn ang="0">
                        <a:pos x="559" y="1428"/>
                      </a:cxn>
                      <a:cxn ang="0">
                        <a:pos x="764" y="1616"/>
                      </a:cxn>
                      <a:cxn ang="0">
                        <a:pos x="812" y="1833"/>
                      </a:cxn>
                      <a:cxn ang="0">
                        <a:pos x="580" y="1864"/>
                      </a:cxn>
                      <a:cxn ang="0">
                        <a:pos x="573" y="2026"/>
                      </a:cxn>
                      <a:cxn ang="0">
                        <a:pos x="809" y="2042"/>
                      </a:cxn>
                      <a:cxn ang="0">
                        <a:pos x="764" y="2266"/>
                      </a:cxn>
                      <a:cxn ang="0">
                        <a:pos x="559" y="2454"/>
                      </a:cxn>
                      <a:cxn ang="0">
                        <a:pos x="774" y="2407"/>
                      </a:cxn>
                      <a:cxn ang="0">
                        <a:pos x="805" y="2638"/>
                      </a:cxn>
                      <a:cxn ang="0">
                        <a:pos x="567" y="2638"/>
                      </a:cxn>
                    </a:cxnLst>
                    <a:rect l="0" t="0" r="r" b="b"/>
                    <a:pathLst>
                      <a:path w="3039" h="3039">
                        <a:moveTo>
                          <a:pt x="2990" y="2780"/>
                        </a:moveTo>
                        <a:lnTo>
                          <a:pt x="2842" y="2780"/>
                        </a:lnTo>
                        <a:lnTo>
                          <a:pt x="2842" y="940"/>
                        </a:lnTo>
                        <a:lnTo>
                          <a:pt x="2842" y="940"/>
                        </a:lnTo>
                        <a:lnTo>
                          <a:pt x="2841" y="922"/>
                        </a:lnTo>
                        <a:lnTo>
                          <a:pt x="2837" y="904"/>
                        </a:lnTo>
                        <a:lnTo>
                          <a:pt x="2831" y="887"/>
                        </a:lnTo>
                        <a:lnTo>
                          <a:pt x="2824" y="871"/>
                        </a:lnTo>
                        <a:lnTo>
                          <a:pt x="2814" y="855"/>
                        </a:lnTo>
                        <a:lnTo>
                          <a:pt x="2802" y="842"/>
                        </a:lnTo>
                        <a:lnTo>
                          <a:pt x="2787" y="830"/>
                        </a:lnTo>
                        <a:lnTo>
                          <a:pt x="2773" y="820"/>
                        </a:lnTo>
                        <a:lnTo>
                          <a:pt x="2019" y="380"/>
                        </a:lnTo>
                        <a:lnTo>
                          <a:pt x="2019" y="380"/>
                        </a:lnTo>
                        <a:lnTo>
                          <a:pt x="2003" y="372"/>
                        </a:lnTo>
                        <a:lnTo>
                          <a:pt x="1986" y="366"/>
                        </a:lnTo>
                        <a:lnTo>
                          <a:pt x="1968" y="363"/>
                        </a:lnTo>
                        <a:lnTo>
                          <a:pt x="1950" y="362"/>
                        </a:lnTo>
                        <a:lnTo>
                          <a:pt x="1932" y="363"/>
                        </a:lnTo>
                        <a:lnTo>
                          <a:pt x="1915" y="366"/>
                        </a:lnTo>
                        <a:lnTo>
                          <a:pt x="1897" y="372"/>
                        </a:lnTo>
                        <a:lnTo>
                          <a:pt x="1880" y="380"/>
                        </a:lnTo>
                        <a:lnTo>
                          <a:pt x="1880" y="380"/>
                        </a:lnTo>
                        <a:lnTo>
                          <a:pt x="1866" y="391"/>
                        </a:lnTo>
                        <a:lnTo>
                          <a:pt x="1851" y="402"/>
                        </a:lnTo>
                        <a:lnTo>
                          <a:pt x="1840" y="415"/>
                        </a:lnTo>
                        <a:lnTo>
                          <a:pt x="1829" y="431"/>
                        </a:lnTo>
                        <a:lnTo>
                          <a:pt x="1821" y="447"/>
                        </a:lnTo>
                        <a:lnTo>
                          <a:pt x="1815" y="464"/>
                        </a:lnTo>
                        <a:lnTo>
                          <a:pt x="1812" y="482"/>
                        </a:lnTo>
                        <a:lnTo>
                          <a:pt x="1811" y="501"/>
                        </a:lnTo>
                        <a:lnTo>
                          <a:pt x="1811" y="2780"/>
                        </a:lnTo>
                        <a:lnTo>
                          <a:pt x="1653" y="2780"/>
                        </a:lnTo>
                        <a:lnTo>
                          <a:pt x="1653" y="139"/>
                        </a:lnTo>
                        <a:lnTo>
                          <a:pt x="1653" y="139"/>
                        </a:lnTo>
                        <a:lnTo>
                          <a:pt x="1651" y="121"/>
                        </a:lnTo>
                        <a:lnTo>
                          <a:pt x="1648" y="104"/>
                        </a:lnTo>
                        <a:lnTo>
                          <a:pt x="1643" y="88"/>
                        </a:lnTo>
                        <a:lnTo>
                          <a:pt x="1635" y="74"/>
                        </a:lnTo>
                        <a:lnTo>
                          <a:pt x="1627" y="59"/>
                        </a:lnTo>
                        <a:lnTo>
                          <a:pt x="1617" y="45"/>
                        </a:lnTo>
                        <a:lnTo>
                          <a:pt x="1604" y="33"/>
                        </a:lnTo>
                        <a:lnTo>
                          <a:pt x="1591" y="23"/>
                        </a:lnTo>
                        <a:lnTo>
                          <a:pt x="1591" y="23"/>
                        </a:lnTo>
                        <a:lnTo>
                          <a:pt x="1575" y="14"/>
                        </a:lnTo>
                        <a:lnTo>
                          <a:pt x="1559" y="7"/>
                        </a:lnTo>
                        <a:lnTo>
                          <a:pt x="1543" y="3"/>
                        </a:lnTo>
                        <a:lnTo>
                          <a:pt x="1525" y="0"/>
                        </a:lnTo>
                        <a:lnTo>
                          <a:pt x="1510" y="0"/>
                        </a:lnTo>
                        <a:lnTo>
                          <a:pt x="1492" y="1"/>
                        </a:lnTo>
                        <a:lnTo>
                          <a:pt x="1475" y="6"/>
                        </a:lnTo>
                        <a:lnTo>
                          <a:pt x="1459" y="11"/>
                        </a:lnTo>
                        <a:lnTo>
                          <a:pt x="281" y="516"/>
                        </a:lnTo>
                        <a:lnTo>
                          <a:pt x="281" y="516"/>
                        </a:lnTo>
                        <a:lnTo>
                          <a:pt x="263" y="527"/>
                        </a:lnTo>
                        <a:lnTo>
                          <a:pt x="246" y="538"/>
                        </a:lnTo>
                        <a:lnTo>
                          <a:pt x="232" y="553"/>
                        </a:lnTo>
                        <a:lnTo>
                          <a:pt x="220" y="569"/>
                        </a:lnTo>
                        <a:lnTo>
                          <a:pt x="210" y="586"/>
                        </a:lnTo>
                        <a:lnTo>
                          <a:pt x="203" y="605"/>
                        </a:lnTo>
                        <a:lnTo>
                          <a:pt x="198" y="624"/>
                        </a:lnTo>
                        <a:lnTo>
                          <a:pt x="197" y="644"/>
                        </a:lnTo>
                        <a:lnTo>
                          <a:pt x="197" y="2780"/>
                        </a:lnTo>
                        <a:lnTo>
                          <a:pt x="49" y="2780"/>
                        </a:lnTo>
                        <a:lnTo>
                          <a:pt x="49" y="2780"/>
                        </a:lnTo>
                        <a:lnTo>
                          <a:pt x="39" y="2781"/>
                        </a:lnTo>
                        <a:lnTo>
                          <a:pt x="30" y="2784"/>
                        </a:lnTo>
                        <a:lnTo>
                          <a:pt x="22" y="2789"/>
                        </a:lnTo>
                        <a:lnTo>
                          <a:pt x="15" y="2794"/>
                        </a:lnTo>
                        <a:lnTo>
                          <a:pt x="9" y="2802"/>
                        </a:lnTo>
                        <a:lnTo>
                          <a:pt x="4" y="2810"/>
                        </a:lnTo>
                        <a:lnTo>
                          <a:pt x="2" y="2819"/>
                        </a:lnTo>
                        <a:lnTo>
                          <a:pt x="0" y="2829"/>
                        </a:lnTo>
                        <a:lnTo>
                          <a:pt x="0" y="2990"/>
                        </a:lnTo>
                        <a:lnTo>
                          <a:pt x="0" y="2990"/>
                        </a:lnTo>
                        <a:lnTo>
                          <a:pt x="2" y="3000"/>
                        </a:lnTo>
                        <a:lnTo>
                          <a:pt x="4" y="3009"/>
                        </a:lnTo>
                        <a:lnTo>
                          <a:pt x="9" y="3017"/>
                        </a:lnTo>
                        <a:lnTo>
                          <a:pt x="15" y="3025"/>
                        </a:lnTo>
                        <a:lnTo>
                          <a:pt x="22" y="3030"/>
                        </a:lnTo>
                        <a:lnTo>
                          <a:pt x="30" y="3035"/>
                        </a:lnTo>
                        <a:lnTo>
                          <a:pt x="39" y="3038"/>
                        </a:lnTo>
                        <a:lnTo>
                          <a:pt x="49" y="3039"/>
                        </a:lnTo>
                        <a:lnTo>
                          <a:pt x="2990" y="3039"/>
                        </a:lnTo>
                        <a:lnTo>
                          <a:pt x="2990" y="3039"/>
                        </a:lnTo>
                        <a:lnTo>
                          <a:pt x="3000" y="3038"/>
                        </a:lnTo>
                        <a:lnTo>
                          <a:pt x="3009" y="3035"/>
                        </a:lnTo>
                        <a:lnTo>
                          <a:pt x="3018" y="3030"/>
                        </a:lnTo>
                        <a:lnTo>
                          <a:pt x="3025" y="3025"/>
                        </a:lnTo>
                        <a:lnTo>
                          <a:pt x="3031" y="3017"/>
                        </a:lnTo>
                        <a:lnTo>
                          <a:pt x="3035" y="3009"/>
                        </a:lnTo>
                        <a:lnTo>
                          <a:pt x="3038" y="3000"/>
                        </a:lnTo>
                        <a:lnTo>
                          <a:pt x="3039" y="2990"/>
                        </a:lnTo>
                        <a:lnTo>
                          <a:pt x="3039" y="2829"/>
                        </a:lnTo>
                        <a:lnTo>
                          <a:pt x="3039" y="2829"/>
                        </a:lnTo>
                        <a:lnTo>
                          <a:pt x="3038" y="2819"/>
                        </a:lnTo>
                        <a:lnTo>
                          <a:pt x="3035" y="2810"/>
                        </a:lnTo>
                        <a:lnTo>
                          <a:pt x="3031" y="2802"/>
                        </a:lnTo>
                        <a:lnTo>
                          <a:pt x="3025" y="2794"/>
                        </a:lnTo>
                        <a:lnTo>
                          <a:pt x="3018" y="2789"/>
                        </a:lnTo>
                        <a:lnTo>
                          <a:pt x="3009" y="2784"/>
                        </a:lnTo>
                        <a:lnTo>
                          <a:pt x="3000" y="2781"/>
                        </a:lnTo>
                        <a:lnTo>
                          <a:pt x="2990" y="2780"/>
                        </a:lnTo>
                        <a:lnTo>
                          <a:pt x="2990" y="2780"/>
                        </a:lnTo>
                        <a:close/>
                        <a:moveTo>
                          <a:pt x="2194" y="878"/>
                        </a:moveTo>
                        <a:lnTo>
                          <a:pt x="2194" y="878"/>
                        </a:lnTo>
                        <a:lnTo>
                          <a:pt x="2196" y="868"/>
                        </a:lnTo>
                        <a:lnTo>
                          <a:pt x="2198" y="859"/>
                        </a:lnTo>
                        <a:lnTo>
                          <a:pt x="2203" y="851"/>
                        </a:lnTo>
                        <a:lnTo>
                          <a:pt x="2209" y="844"/>
                        </a:lnTo>
                        <a:lnTo>
                          <a:pt x="2216" y="838"/>
                        </a:lnTo>
                        <a:lnTo>
                          <a:pt x="2225" y="833"/>
                        </a:lnTo>
                        <a:lnTo>
                          <a:pt x="2233" y="830"/>
                        </a:lnTo>
                        <a:lnTo>
                          <a:pt x="2243" y="829"/>
                        </a:lnTo>
                        <a:lnTo>
                          <a:pt x="2400" y="829"/>
                        </a:lnTo>
                        <a:lnTo>
                          <a:pt x="2400" y="829"/>
                        </a:lnTo>
                        <a:lnTo>
                          <a:pt x="2410" y="830"/>
                        </a:lnTo>
                        <a:lnTo>
                          <a:pt x="2418" y="833"/>
                        </a:lnTo>
                        <a:lnTo>
                          <a:pt x="2427" y="838"/>
                        </a:lnTo>
                        <a:lnTo>
                          <a:pt x="2434" y="844"/>
                        </a:lnTo>
                        <a:lnTo>
                          <a:pt x="2440" y="851"/>
                        </a:lnTo>
                        <a:lnTo>
                          <a:pt x="2446" y="859"/>
                        </a:lnTo>
                        <a:lnTo>
                          <a:pt x="2449" y="868"/>
                        </a:lnTo>
                        <a:lnTo>
                          <a:pt x="2449" y="878"/>
                        </a:lnTo>
                        <a:lnTo>
                          <a:pt x="2449" y="1035"/>
                        </a:lnTo>
                        <a:lnTo>
                          <a:pt x="2449" y="1035"/>
                        </a:lnTo>
                        <a:lnTo>
                          <a:pt x="2449" y="1045"/>
                        </a:lnTo>
                        <a:lnTo>
                          <a:pt x="2446" y="1053"/>
                        </a:lnTo>
                        <a:lnTo>
                          <a:pt x="2440" y="1062"/>
                        </a:lnTo>
                        <a:lnTo>
                          <a:pt x="2434" y="1069"/>
                        </a:lnTo>
                        <a:lnTo>
                          <a:pt x="2427" y="1075"/>
                        </a:lnTo>
                        <a:lnTo>
                          <a:pt x="2418" y="1079"/>
                        </a:lnTo>
                        <a:lnTo>
                          <a:pt x="2410" y="1082"/>
                        </a:lnTo>
                        <a:lnTo>
                          <a:pt x="2400" y="1084"/>
                        </a:lnTo>
                        <a:lnTo>
                          <a:pt x="2243" y="1084"/>
                        </a:lnTo>
                        <a:lnTo>
                          <a:pt x="2243" y="1084"/>
                        </a:lnTo>
                        <a:lnTo>
                          <a:pt x="2233" y="1082"/>
                        </a:lnTo>
                        <a:lnTo>
                          <a:pt x="2225" y="1079"/>
                        </a:lnTo>
                        <a:lnTo>
                          <a:pt x="2216" y="1075"/>
                        </a:lnTo>
                        <a:lnTo>
                          <a:pt x="2209" y="1069"/>
                        </a:lnTo>
                        <a:lnTo>
                          <a:pt x="2203" y="1062"/>
                        </a:lnTo>
                        <a:lnTo>
                          <a:pt x="2198" y="1053"/>
                        </a:lnTo>
                        <a:lnTo>
                          <a:pt x="2196" y="1045"/>
                        </a:lnTo>
                        <a:lnTo>
                          <a:pt x="2194" y="1035"/>
                        </a:lnTo>
                        <a:lnTo>
                          <a:pt x="2194" y="878"/>
                        </a:lnTo>
                        <a:close/>
                        <a:moveTo>
                          <a:pt x="2194" y="1272"/>
                        </a:moveTo>
                        <a:lnTo>
                          <a:pt x="2194" y="1272"/>
                        </a:lnTo>
                        <a:lnTo>
                          <a:pt x="2196" y="1262"/>
                        </a:lnTo>
                        <a:lnTo>
                          <a:pt x="2198" y="1253"/>
                        </a:lnTo>
                        <a:lnTo>
                          <a:pt x="2203" y="1244"/>
                        </a:lnTo>
                        <a:lnTo>
                          <a:pt x="2209" y="1237"/>
                        </a:lnTo>
                        <a:lnTo>
                          <a:pt x="2216" y="1231"/>
                        </a:lnTo>
                        <a:lnTo>
                          <a:pt x="2225" y="1227"/>
                        </a:lnTo>
                        <a:lnTo>
                          <a:pt x="2233" y="1224"/>
                        </a:lnTo>
                        <a:lnTo>
                          <a:pt x="2243" y="1223"/>
                        </a:lnTo>
                        <a:lnTo>
                          <a:pt x="2400" y="1223"/>
                        </a:lnTo>
                        <a:lnTo>
                          <a:pt x="2400" y="1223"/>
                        </a:lnTo>
                        <a:lnTo>
                          <a:pt x="2410" y="1224"/>
                        </a:lnTo>
                        <a:lnTo>
                          <a:pt x="2418" y="1227"/>
                        </a:lnTo>
                        <a:lnTo>
                          <a:pt x="2427" y="1231"/>
                        </a:lnTo>
                        <a:lnTo>
                          <a:pt x="2434" y="1237"/>
                        </a:lnTo>
                        <a:lnTo>
                          <a:pt x="2440" y="1244"/>
                        </a:lnTo>
                        <a:lnTo>
                          <a:pt x="2446" y="1253"/>
                        </a:lnTo>
                        <a:lnTo>
                          <a:pt x="2449" y="1262"/>
                        </a:lnTo>
                        <a:lnTo>
                          <a:pt x="2449" y="1272"/>
                        </a:lnTo>
                        <a:lnTo>
                          <a:pt x="2449" y="1428"/>
                        </a:lnTo>
                        <a:lnTo>
                          <a:pt x="2449" y="1428"/>
                        </a:lnTo>
                        <a:lnTo>
                          <a:pt x="2449" y="1438"/>
                        </a:lnTo>
                        <a:lnTo>
                          <a:pt x="2446" y="1448"/>
                        </a:lnTo>
                        <a:lnTo>
                          <a:pt x="2440" y="1456"/>
                        </a:lnTo>
                        <a:lnTo>
                          <a:pt x="2434" y="1463"/>
                        </a:lnTo>
                        <a:lnTo>
                          <a:pt x="2427" y="1470"/>
                        </a:lnTo>
                        <a:lnTo>
                          <a:pt x="2418" y="1475"/>
                        </a:lnTo>
                        <a:lnTo>
                          <a:pt x="2410" y="1477"/>
                        </a:lnTo>
                        <a:lnTo>
                          <a:pt x="2400" y="1477"/>
                        </a:lnTo>
                        <a:lnTo>
                          <a:pt x="2243" y="1477"/>
                        </a:lnTo>
                        <a:lnTo>
                          <a:pt x="2243" y="1477"/>
                        </a:lnTo>
                        <a:lnTo>
                          <a:pt x="2233" y="1477"/>
                        </a:lnTo>
                        <a:lnTo>
                          <a:pt x="2225" y="1475"/>
                        </a:lnTo>
                        <a:lnTo>
                          <a:pt x="2216" y="1470"/>
                        </a:lnTo>
                        <a:lnTo>
                          <a:pt x="2209" y="1463"/>
                        </a:lnTo>
                        <a:lnTo>
                          <a:pt x="2203" y="1456"/>
                        </a:lnTo>
                        <a:lnTo>
                          <a:pt x="2198" y="1448"/>
                        </a:lnTo>
                        <a:lnTo>
                          <a:pt x="2196" y="1438"/>
                        </a:lnTo>
                        <a:lnTo>
                          <a:pt x="2194" y="1428"/>
                        </a:lnTo>
                        <a:lnTo>
                          <a:pt x="2194" y="1272"/>
                        </a:lnTo>
                        <a:close/>
                        <a:moveTo>
                          <a:pt x="2194" y="1667"/>
                        </a:moveTo>
                        <a:lnTo>
                          <a:pt x="2194" y="1667"/>
                        </a:lnTo>
                        <a:lnTo>
                          <a:pt x="2196" y="1657"/>
                        </a:lnTo>
                        <a:lnTo>
                          <a:pt x="2198" y="1647"/>
                        </a:lnTo>
                        <a:lnTo>
                          <a:pt x="2203" y="1638"/>
                        </a:lnTo>
                        <a:lnTo>
                          <a:pt x="2209" y="1631"/>
                        </a:lnTo>
                        <a:lnTo>
                          <a:pt x="2216" y="1625"/>
                        </a:lnTo>
                        <a:lnTo>
                          <a:pt x="2225" y="1621"/>
                        </a:lnTo>
                        <a:lnTo>
                          <a:pt x="2233" y="1618"/>
                        </a:lnTo>
                        <a:lnTo>
                          <a:pt x="2243" y="1616"/>
                        </a:lnTo>
                        <a:lnTo>
                          <a:pt x="2400" y="1616"/>
                        </a:lnTo>
                        <a:lnTo>
                          <a:pt x="2400" y="1616"/>
                        </a:lnTo>
                        <a:lnTo>
                          <a:pt x="2410" y="1618"/>
                        </a:lnTo>
                        <a:lnTo>
                          <a:pt x="2418" y="1621"/>
                        </a:lnTo>
                        <a:lnTo>
                          <a:pt x="2427" y="1625"/>
                        </a:lnTo>
                        <a:lnTo>
                          <a:pt x="2434" y="1631"/>
                        </a:lnTo>
                        <a:lnTo>
                          <a:pt x="2440" y="1638"/>
                        </a:lnTo>
                        <a:lnTo>
                          <a:pt x="2446" y="1647"/>
                        </a:lnTo>
                        <a:lnTo>
                          <a:pt x="2449" y="1657"/>
                        </a:lnTo>
                        <a:lnTo>
                          <a:pt x="2449" y="1667"/>
                        </a:lnTo>
                        <a:lnTo>
                          <a:pt x="2449" y="1823"/>
                        </a:lnTo>
                        <a:lnTo>
                          <a:pt x="2449" y="1823"/>
                        </a:lnTo>
                        <a:lnTo>
                          <a:pt x="2449" y="1833"/>
                        </a:lnTo>
                        <a:lnTo>
                          <a:pt x="2446" y="1842"/>
                        </a:lnTo>
                        <a:lnTo>
                          <a:pt x="2440" y="1851"/>
                        </a:lnTo>
                        <a:lnTo>
                          <a:pt x="2434" y="1858"/>
                        </a:lnTo>
                        <a:lnTo>
                          <a:pt x="2427" y="1864"/>
                        </a:lnTo>
                        <a:lnTo>
                          <a:pt x="2418" y="1868"/>
                        </a:lnTo>
                        <a:lnTo>
                          <a:pt x="2410" y="1871"/>
                        </a:lnTo>
                        <a:lnTo>
                          <a:pt x="2400" y="1873"/>
                        </a:lnTo>
                        <a:lnTo>
                          <a:pt x="2243" y="1873"/>
                        </a:lnTo>
                        <a:lnTo>
                          <a:pt x="2243" y="1873"/>
                        </a:lnTo>
                        <a:lnTo>
                          <a:pt x="2233" y="1871"/>
                        </a:lnTo>
                        <a:lnTo>
                          <a:pt x="2225" y="1868"/>
                        </a:lnTo>
                        <a:lnTo>
                          <a:pt x="2216" y="1864"/>
                        </a:lnTo>
                        <a:lnTo>
                          <a:pt x="2209" y="1858"/>
                        </a:lnTo>
                        <a:lnTo>
                          <a:pt x="2203" y="1851"/>
                        </a:lnTo>
                        <a:lnTo>
                          <a:pt x="2198" y="1842"/>
                        </a:lnTo>
                        <a:lnTo>
                          <a:pt x="2196" y="1833"/>
                        </a:lnTo>
                        <a:lnTo>
                          <a:pt x="2194" y="1823"/>
                        </a:lnTo>
                        <a:lnTo>
                          <a:pt x="2194" y="1667"/>
                        </a:lnTo>
                        <a:close/>
                        <a:moveTo>
                          <a:pt x="2194" y="2061"/>
                        </a:moveTo>
                        <a:lnTo>
                          <a:pt x="2194" y="2061"/>
                        </a:lnTo>
                        <a:lnTo>
                          <a:pt x="2196" y="2051"/>
                        </a:lnTo>
                        <a:lnTo>
                          <a:pt x="2198" y="2042"/>
                        </a:lnTo>
                        <a:lnTo>
                          <a:pt x="2203" y="2033"/>
                        </a:lnTo>
                        <a:lnTo>
                          <a:pt x="2209" y="2026"/>
                        </a:lnTo>
                        <a:lnTo>
                          <a:pt x="2216" y="2020"/>
                        </a:lnTo>
                        <a:lnTo>
                          <a:pt x="2225" y="2014"/>
                        </a:lnTo>
                        <a:lnTo>
                          <a:pt x="2233" y="2011"/>
                        </a:lnTo>
                        <a:lnTo>
                          <a:pt x="2243" y="2011"/>
                        </a:lnTo>
                        <a:lnTo>
                          <a:pt x="2400" y="2011"/>
                        </a:lnTo>
                        <a:lnTo>
                          <a:pt x="2400" y="2011"/>
                        </a:lnTo>
                        <a:lnTo>
                          <a:pt x="2410" y="2011"/>
                        </a:lnTo>
                        <a:lnTo>
                          <a:pt x="2418" y="2014"/>
                        </a:lnTo>
                        <a:lnTo>
                          <a:pt x="2427" y="2020"/>
                        </a:lnTo>
                        <a:lnTo>
                          <a:pt x="2434" y="2026"/>
                        </a:lnTo>
                        <a:lnTo>
                          <a:pt x="2440" y="2033"/>
                        </a:lnTo>
                        <a:lnTo>
                          <a:pt x="2446" y="2042"/>
                        </a:lnTo>
                        <a:lnTo>
                          <a:pt x="2449" y="2051"/>
                        </a:lnTo>
                        <a:lnTo>
                          <a:pt x="2449" y="2061"/>
                        </a:lnTo>
                        <a:lnTo>
                          <a:pt x="2449" y="2217"/>
                        </a:lnTo>
                        <a:lnTo>
                          <a:pt x="2449" y="2217"/>
                        </a:lnTo>
                        <a:lnTo>
                          <a:pt x="2449" y="2227"/>
                        </a:lnTo>
                        <a:lnTo>
                          <a:pt x="2446" y="2236"/>
                        </a:lnTo>
                        <a:lnTo>
                          <a:pt x="2440" y="2244"/>
                        </a:lnTo>
                        <a:lnTo>
                          <a:pt x="2434" y="2252"/>
                        </a:lnTo>
                        <a:lnTo>
                          <a:pt x="2427" y="2257"/>
                        </a:lnTo>
                        <a:lnTo>
                          <a:pt x="2418" y="2262"/>
                        </a:lnTo>
                        <a:lnTo>
                          <a:pt x="2410" y="2265"/>
                        </a:lnTo>
                        <a:lnTo>
                          <a:pt x="2400" y="2266"/>
                        </a:lnTo>
                        <a:lnTo>
                          <a:pt x="2243" y="2266"/>
                        </a:lnTo>
                        <a:lnTo>
                          <a:pt x="2243" y="2266"/>
                        </a:lnTo>
                        <a:lnTo>
                          <a:pt x="2233" y="2265"/>
                        </a:lnTo>
                        <a:lnTo>
                          <a:pt x="2225" y="2262"/>
                        </a:lnTo>
                        <a:lnTo>
                          <a:pt x="2216" y="2257"/>
                        </a:lnTo>
                        <a:lnTo>
                          <a:pt x="2209" y="2252"/>
                        </a:lnTo>
                        <a:lnTo>
                          <a:pt x="2203" y="2244"/>
                        </a:lnTo>
                        <a:lnTo>
                          <a:pt x="2198" y="2236"/>
                        </a:lnTo>
                        <a:lnTo>
                          <a:pt x="2196" y="2227"/>
                        </a:lnTo>
                        <a:lnTo>
                          <a:pt x="2194" y="2217"/>
                        </a:lnTo>
                        <a:lnTo>
                          <a:pt x="2194" y="2061"/>
                        </a:lnTo>
                        <a:close/>
                        <a:moveTo>
                          <a:pt x="2194" y="2454"/>
                        </a:moveTo>
                        <a:lnTo>
                          <a:pt x="2194" y="2454"/>
                        </a:lnTo>
                        <a:lnTo>
                          <a:pt x="2196" y="2444"/>
                        </a:lnTo>
                        <a:lnTo>
                          <a:pt x="2198" y="2435"/>
                        </a:lnTo>
                        <a:lnTo>
                          <a:pt x="2203" y="2427"/>
                        </a:lnTo>
                        <a:lnTo>
                          <a:pt x="2209" y="2420"/>
                        </a:lnTo>
                        <a:lnTo>
                          <a:pt x="2216" y="2414"/>
                        </a:lnTo>
                        <a:lnTo>
                          <a:pt x="2225" y="2409"/>
                        </a:lnTo>
                        <a:lnTo>
                          <a:pt x="2233" y="2407"/>
                        </a:lnTo>
                        <a:lnTo>
                          <a:pt x="2243" y="2405"/>
                        </a:lnTo>
                        <a:lnTo>
                          <a:pt x="2400" y="2405"/>
                        </a:lnTo>
                        <a:lnTo>
                          <a:pt x="2400" y="2405"/>
                        </a:lnTo>
                        <a:lnTo>
                          <a:pt x="2410" y="2407"/>
                        </a:lnTo>
                        <a:lnTo>
                          <a:pt x="2418" y="2409"/>
                        </a:lnTo>
                        <a:lnTo>
                          <a:pt x="2427" y="2414"/>
                        </a:lnTo>
                        <a:lnTo>
                          <a:pt x="2434" y="2420"/>
                        </a:lnTo>
                        <a:lnTo>
                          <a:pt x="2440" y="2427"/>
                        </a:lnTo>
                        <a:lnTo>
                          <a:pt x="2446" y="2435"/>
                        </a:lnTo>
                        <a:lnTo>
                          <a:pt x="2449" y="2444"/>
                        </a:lnTo>
                        <a:lnTo>
                          <a:pt x="2449" y="2454"/>
                        </a:lnTo>
                        <a:lnTo>
                          <a:pt x="2449" y="2611"/>
                        </a:lnTo>
                        <a:lnTo>
                          <a:pt x="2449" y="2611"/>
                        </a:lnTo>
                        <a:lnTo>
                          <a:pt x="2449" y="2621"/>
                        </a:lnTo>
                        <a:lnTo>
                          <a:pt x="2446" y="2631"/>
                        </a:lnTo>
                        <a:lnTo>
                          <a:pt x="2440" y="2638"/>
                        </a:lnTo>
                        <a:lnTo>
                          <a:pt x="2434" y="2645"/>
                        </a:lnTo>
                        <a:lnTo>
                          <a:pt x="2427" y="2653"/>
                        </a:lnTo>
                        <a:lnTo>
                          <a:pt x="2418" y="2657"/>
                        </a:lnTo>
                        <a:lnTo>
                          <a:pt x="2410" y="2660"/>
                        </a:lnTo>
                        <a:lnTo>
                          <a:pt x="2400" y="2660"/>
                        </a:lnTo>
                        <a:lnTo>
                          <a:pt x="2243" y="2660"/>
                        </a:lnTo>
                        <a:lnTo>
                          <a:pt x="2243" y="2660"/>
                        </a:lnTo>
                        <a:lnTo>
                          <a:pt x="2233" y="2660"/>
                        </a:lnTo>
                        <a:lnTo>
                          <a:pt x="2225" y="2657"/>
                        </a:lnTo>
                        <a:lnTo>
                          <a:pt x="2216" y="2653"/>
                        </a:lnTo>
                        <a:lnTo>
                          <a:pt x="2209" y="2645"/>
                        </a:lnTo>
                        <a:lnTo>
                          <a:pt x="2203" y="2638"/>
                        </a:lnTo>
                        <a:lnTo>
                          <a:pt x="2198" y="2631"/>
                        </a:lnTo>
                        <a:lnTo>
                          <a:pt x="2196" y="2621"/>
                        </a:lnTo>
                        <a:lnTo>
                          <a:pt x="2194" y="2611"/>
                        </a:lnTo>
                        <a:lnTo>
                          <a:pt x="2194" y="2454"/>
                        </a:lnTo>
                        <a:close/>
                        <a:moveTo>
                          <a:pt x="1032" y="485"/>
                        </a:moveTo>
                        <a:lnTo>
                          <a:pt x="1032" y="485"/>
                        </a:lnTo>
                        <a:lnTo>
                          <a:pt x="1033" y="474"/>
                        </a:lnTo>
                        <a:lnTo>
                          <a:pt x="1036" y="464"/>
                        </a:lnTo>
                        <a:lnTo>
                          <a:pt x="1041" y="457"/>
                        </a:lnTo>
                        <a:lnTo>
                          <a:pt x="1046" y="448"/>
                        </a:lnTo>
                        <a:lnTo>
                          <a:pt x="1054" y="443"/>
                        </a:lnTo>
                        <a:lnTo>
                          <a:pt x="1062" y="438"/>
                        </a:lnTo>
                        <a:lnTo>
                          <a:pt x="1072" y="435"/>
                        </a:lnTo>
                        <a:lnTo>
                          <a:pt x="1081" y="435"/>
                        </a:lnTo>
                        <a:lnTo>
                          <a:pt x="1237" y="435"/>
                        </a:lnTo>
                        <a:lnTo>
                          <a:pt x="1237" y="435"/>
                        </a:lnTo>
                        <a:lnTo>
                          <a:pt x="1248" y="435"/>
                        </a:lnTo>
                        <a:lnTo>
                          <a:pt x="1258" y="438"/>
                        </a:lnTo>
                        <a:lnTo>
                          <a:pt x="1266" y="443"/>
                        </a:lnTo>
                        <a:lnTo>
                          <a:pt x="1274" y="448"/>
                        </a:lnTo>
                        <a:lnTo>
                          <a:pt x="1279" y="457"/>
                        </a:lnTo>
                        <a:lnTo>
                          <a:pt x="1284" y="464"/>
                        </a:lnTo>
                        <a:lnTo>
                          <a:pt x="1287" y="474"/>
                        </a:lnTo>
                        <a:lnTo>
                          <a:pt x="1288" y="485"/>
                        </a:lnTo>
                        <a:lnTo>
                          <a:pt x="1288" y="641"/>
                        </a:lnTo>
                        <a:lnTo>
                          <a:pt x="1288" y="641"/>
                        </a:lnTo>
                        <a:lnTo>
                          <a:pt x="1287" y="651"/>
                        </a:lnTo>
                        <a:lnTo>
                          <a:pt x="1284" y="660"/>
                        </a:lnTo>
                        <a:lnTo>
                          <a:pt x="1279" y="668"/>
                        </a:lnTo>
                        <a:lnTo>
                          <a:pt x="1274" y="676"/>
                        </a:lnTo>
                        <a:lnTo>
                          <a:pt x="1266" y="681"/>
                        </a:lnTo>
                        <a:lnTo>
                          <a:pt x="1258" y="686"/>
                        </a:lnTo>
                        <a:lnTo>
                          <a:pt x="1248" y="689"/>
                        </a:lnTo>
                        <a:lnTo>
                          <a:pt x="1237" y="690"/>
                        </a:lnTo>
                        <a:lnTo>
                          <a:pt x="1081" y="690"/>
                        </a:lnTo>
                        <a:lnTo>
                          <a:pt x="1081" y="690"/>
                        </a:lnTo>
                        <a:lnTo>
                          <a:pt x="1072" y="689"/>
                        </a:lnTo>
                        <a:lnTo>
                          <a:pt x="1062" y="686"/>
                        </a:lnTo>
                        <a:lnTo>
                          <a:pt x="1054" y="681"/>
                        </a:lnTo>
                        <a:lnTo>
                          <a:pt x="1046" y="676"/>
                        </a:lnTo>
                        <a:lnTo>
                          <a:pt x="1041" y="668"/>
                        </a:lnTo>
                        <a:lnTo>
                          <a:pt x="1036" y="660"/>
                        </a:lnTo>
                        <a:lnTo>
                          <a:pt x="1033" y="651"/>
                        </a:lnTo>
                        <a:lnTo>
                          <a:pt x="1032" y="641"/>
                        </a:lnTo>
                        <a:lnTo>
                          <a:pt x="1032" y="485"/>
                        </a:lnTo>
                        <a:close/>
                        <a:moveTo>
                          <a:pt x="1032" y="878"/>
                        </a:moveTo>
                        <a:lnTo>
                          <a:pt x="1032" y="878"/>
                        </a:lnTo>
                        <a:lnTo>
                          <a:pt x="1033" y="868"/>
                        </a:lnTo>
                        <a:lnTo>
                          <a:pt x="1036" y="859"/>
                        </a:lnTo>
                        <a:lnTo>
                          <a:pt x="1041" y="851"/>
                        </a:lnTo>
                        <a:lnTo>
                          <a:pt x="1046" y="844"/>
                        </a:lnTo>
                        <a:lnTo>
                          <a:pt x="1054" y="838"/>
                        </a:lnTo>
                        <a:lnTo>
                          <a:pt x="1062" y="833"/>
                        </a:lnTo>
                        <a:lnTo>
                          <a:pt x="1072" y="830"/>
                        </a:lnTo>
                        <a:lnTo>
                          <a:pt x="1081" y="829"/>
                        </a:lnTo>
                        <a:lnTo>
                          <a:pt x="1237" y="829"/>
                        </a:lnTo>
                        <a:lnTo>
                          <a:pt x="1237" y="829"/>
                        </a:lnTo>
                        <a:lnTo>
                          <a:pt x="1248" y="830"/>
                        </a:lnTo>
                        <a:lnTo>
                          <a:pt x="1258" y="833"/>
                        </a:lnTo>
                        <a:lnTo>
                          <a:pt x="1266" y="838"/>
                        </a:lnTo>
                        <a:lnTo>
                          <a:pt x="1274" y="844"/>
                        </a:lnTo>
                        <a:lnTo>
                          <a:pt x="1279" y="851"/>
                        </a:lnTo>
                        <a:lnTo>
                          <a:pt x="1284" y="859"/>
                        </a:lnTo>
                        <a:lnTo>
                          <a:pt x="1287" y="868"/>
                        </a:lnTo>
                        <a:lnTo>
                          <a:pt x="1288" y="878"/>
                        </a:lnTo>
                        <a:lnTo>
                          <a:pt x="1288" y="1035"/>
                        </a:lnTo>
                        <a:lnTo>
                          <a:pt x="1288" y="1035"/>
                        </a:lnTo>
                        <a:lnTo>
                          <a:pt x="1287" y="1045"/>
                        </a:lnTo>
                        <a:lnTo>
                          <a:pt x="1284" y="1053"/>
                        </a:lnTo>
                        <a:lnTo>
                          <a:pt x="1279" y="1062"/>
                        </a:lnTo>
                        <a:lnTo>
                          <a:pt x="1274" y="1069"/>
                        </a:lnTo>
                        <a:lnTo>
                          <a:pt x="1266" y="1075"/>
                        </a:lnTo>
                        <a:lnTo>
                          <a:pt x="1258" y="1079"/>
                        </a:lnTo>
                        <a:lnTo>
                          <a:pt x="1248" y="1082"/>
                        </a:lnTo>
                        <a:lnTo>
                          <a:pt x="1237" y="1084"/>
                        </a:lnTo>
                        <a:lnTo>
                          <a:pt x="1081" y="1084"/>
                        </a:lnTo>
                        <a:lnTo>
                          <a:pt x="1081" y="1084"/>
                        </a:lnTo>
                        <a:lnTo>
                          <a:pt x="1072" y="1082"/>
                        </a:lnTo>
                        <a:lnTo>
                          <a:pt x="1062" y="1079"/>
                        </a:lnTo>
                        <a:lnTo>
                          <a:pt x="1054" y="1075"/>
                        </a:lnTo>
                        <a:lnTo>
                          <a:pt x="1046" y="1069"/>
                        </a:lnTo>
                        <a:lnTo>
                          <a:pt x="1041" y="1062"/>
                        </a:lnTo>
                        <a:lnTo>
                          <a:pt x="1036" y="1053"/>
                        </a:lnTo>
                        <a:lnTo>
                          <a:pt x="1033" y="1045"/>
                        </a:lnTo>
                        <a:lnTo>
                          <a:pt x="1032" y="1035"/>
                        </a:lnTo>
                        <a:lnTo>
                          <a:pt x="1032" y="878"/>
                        </a:lnTo>
                        <a:close/>
                        <a:moveTo>
                          <a:pt x="1032" y="1272"/>
                        </a:moveTo>
                        <a:lnTo>
                          <a:pt x="1032" y="1272"/>
                        </a:lnTo>
                        <a:lnTo>
                          <a:pt x="1033" y="1262"/>
                        </a:lnTo>
                        <a:lnTo>
                          <a:pt x="1036" y="1253"/>
                        </a:lnTo>
                        <a:lnTo>
                          <a:pt x="1041" y="1244"/>
                        </a:lnTo>
                        <a:lnTo>
                          <a:pt x="1046" y="1237"/>
                        </a:lnTo>
                        <a:lnTo>
                          <a:pt x="1054" y="1231"/>
                        </a:lnTo>
                        <a:lnTo>
                          <a:pt x="1062" y="1227"/>
                        </a:lnTo>
                        <a:lnTo>
                          <a:pt x="1072" y="1224"/>
                        </a:lnTo>
                        <a:lnTo>
                          <a:pt x="1081" y="1223"/>
                        </a:lnTo>
                        <a:lnTo>
                          <a:pt x="1237" y="1223"/>
                        </a:lnTo>
                        <a:lnTo>
                          <a:pt x="1237" y="1223"/>
                        </a:lnTo>
                        <a:lnTo>
                          <a:pt x="1248" y="1224"/>
                        </a:lnTo>
                        <a:lnTo>
                          <a:pt x="1258" y="1227"/>
                        </a:lnTo>
                        <a:lnTo>
                          <a:pt x="1266" y="1231"/>
                        </a:lnTo>
                        <a:lnTo>
                          <a:pt x="1274" y="1237"/>
                        </a:lnTo>
                        <a:lnTo>
                          <a:pt x="1279" y="1244"/>
                        </a:lnTo>
                        <a:lnTo>
                          <a:pt x="1284" y="1253"/>
                        </a:lnTo>
                        <a:lnTo>
                          <a:pt x="1287" y="1262"/>
                        </a:lnTo>
                        <a:lnTo>
                          <a:pt x="1288" y="1272"/>
                        </a:lnTo>
                        <a:lnTo>
                          <a:pt x="1288" y="1428"/>
                        </a:lnTo>
                        <a:lnTo>
                          <a:pt x="1288" y="1428"/>
                        </a:lnTo>
                        <a:lnTo>
                          <a:pt x="1287" y="1438"/>
                        </a:lnTo>
                        <a:lnTo>
                          <a:pt x="1284" y="1448"/>
                        </a:lnTo>
                        <a:lnTo>
                          <a:pt x="1279" y="1456"/>
                        </a:lnTo>
                        <a:lnTo>
                          <a:pt x="1274" y="1463"/>
                        </a:lnTo>
                        <a:lnTo>
                          <a:pt x="1266" y="1470"/>
                        </a:lnTo>
                        <a:lnTo>
                          <a:pt x="1258" y="1475"/>
                        </a:lnTo>
                        <a:lnTo>
                          <a:pt x="1248" y="1477"/>
                        </a:lnTo>
                        <a:lnTo>
                          <a:pt x="1237" y="1477"/>
                        </a:lnTo>
                        <a:lnTo>
                          <a:pt x="1081" y="1477"/>
                        </a:lnTo>
                        <a:lnTo>
                          <a:pt x="1081" y="1477"/>
                        </a:lnTo>
                        <a:lnTo>
                          <a:pt x="1072" y="1477"/>
                        </a:lnTo>
                        <a:lnTo>
                          <a:pt x="1062" y="1475"/>
                        </a:lnTo>
                        <a:lnTo>
                          <a:pt x="1054" y="1470"/>
                        </a:lnTo>
                        <a:lnTo>
                          <a:pt x="1046" y="1463"/>
                        </a:lnTo>
                        <a:lnTo>
                          <a:pt x="1041" y="1456"/>
                        </a:lnTo>
                        <a:lnTo>
                          <a:pt x="1036" y="1448"/>
                        </a:lnTo>
                        <a:lnTo>
                          <a:pt x="1033" y="1438"/>
                        </a:lnTo>
                        <a:lnTo>
                          <a:pt x="1032" y="1428"/>
                        </a:lnTo>
                        <a:lnTo>
                          <a:pt x="1032" y="1272"/>
                        </a:lnTo>
                        <a:close/>
                        <a:moveTo>
                          <a:pt x="1032" y="1667"/>
                        </a:moveTo>
                        <a:lnTo>
                          <a:pt x="1032" y="1667"/>
                        </a:lnTo>
                        <a:lnTo>
                          <a:pt x="1033" y="1657"/>
                        </a:lnTo>
                        <a:lnTo>
                          <a:pt x="1036" y="1647"/>
                        </a:lnTo>
                        <a:lnTo>
                          <a:pt x="1041" y="1638"/>
                        </a:lnTo>
                        <a:lnTo>
                          <a:pt x="1046" y="1631"/>
                        </a:lnTo>
                        <a:lnTo>
                          <a:pt x="1054" y="1625"/>
                        </a:lnTo>
                        <a:lnTo>
                          <a:pt x="1062" y="1621"/>
                        </a:lnTo>
                        <a:lnTo>
                          <a:pt x="1072" y="1618"/>
                        </a:lnTo>
                        <a:lnTo>
                          <a:pt x="1081" y="1616"/>
                        </a:lnTo>
                        <a:lnTo>
                          <a:pt x="1237" y="1616"/>
                        </a:lnTo>
                        <a:lnTo>
                          <a:pt x="1237" y="1616"/>
                        </a:lnTo>
                        <a:lnTo>
                          <a:pt x="1248" y="1618"/>
                        </a:lnTo>
                        <a:lnTo>
                          <a:pt x="1258" y="1621"/>
                        </a:lnTo>
                        <a:lnTo>
                          <a:pt x="1266" y="1625"/>
                        </a:lnTo>
                        <a:lnTo>
                          <a:pt x="1274" y="1631"/>
                        </a:lnTo>
                        <a:lnTo>
                          <a:pt x="1279" y="1638"/>
                        </a:lnTo>
                        <a:lnTo>
                          <a:pt x="1284" y="1647"/>
                        </a:lnTo>
                        <a:lnTo>
                          <a:pt x="1287" y="1657"/>
                        </a:lnTo>
                        <a:lnTo>
                          <a:pt x="1288" y="1667"/>
                        </a:lnTo>
                        <a:lnTo>
                          <a:pt x="1288" y="1823"/>
                        </a:lnTo>
                        <a:lnTo>
                          <a:pt x="1288" y="1823"/>
                        </a:lnTo>
                        <a:lnTo>
                          <a:pt x="1287" y="1833"/>
                        </a:lnTo>
                        <a:lnTo>
                          <a:pt x="1284" y="1842"/>
                        </a:lnTo>
                        <a:lnTo>
                          <a:pt x="1279" y="1851"/>
                        </a:lnTo>
                        <a:lnTo>
                          <a:pt x="1274" y="1858"/>
                        </a:lnTo>
                        <a:lnTo>
                          <a:pt x="1266" y="1864"/>
                        </a:lnTo>
                        <a:lnTo>
                          <a:pt x="1258" y="1868"/>
                        </a:lnTo>
                        <a:lnTo>
                          <a:pt x="1248" y="1871"/>
                        </a:lnTo>
                        <a:lnTo>
                          <a:pt x="1237" y="1873"/>
                        </a:lnTo>
                        <a:lnTo>
                          <a:pt x="1081" y="1873"/>
                        </a:lnTo>
                        <a:lnTo>
                          <a:pt x="1081" y="1873"/>
                        </a:lnTo>
                        <a:lnTo>
                          <a:pt x="1072" y="1871"/>
                        </a:lnTo>
                        <a:lnTo>
                          <a:pt x="1062" y="1868"/>
                        </a:lnTo>
                        <a:lnTo>
                          <a:pt x="1054" y="1864"/>
                        </a:lnTo>
                        <a:lnTo>
                          <a:pt x="1046" y="1858"/>
                        </a:lnTo>
                        <a:lnTo>
                          <a:pt x="1041" y="1851"/>
                        </a:lnTo>
                        <a:lnTo>
                          <a:pt x="1036" y="1842"/>
                        </a:lnTo>
                        <a:lnTo>
                          <a:pt x="1033" y="1833"/>
                        </a:lnTo>
                        <a:lnTo>
                          <a:pt x="1032" y="1823"/>
                        </a:lnTo>
                        <a:lnTo>
                          <a:pt x="1032" y="1667"/>
                        </a:lnTo>
                        <a:close/>
                        <a:moveTo>
                          <a:pt x="1032" y="2061"/>
                        </a:moveTo>
                        <a:lnTo>
                          <a:pt x="1032" y="2061"/>
                        </a:lnTo>
                        <a:lnTo>
                          <a:pt x="1033" y="2051"/>
                        </a:lnTo>
                        <a:lnTo>
                          <a:pt x="1036" y="2042"/>
                        </a:lnTo>
                        <a:lnTo>
                          <a:pt x="1041" y="2033"/>
                        </a:lnTo>
                        <a:lnTo>
                          <a:pt x="1046" y="2026"/>
                        </a:lnTo>
                        <a:lnTo>
                          <a:pt x="1054" y="2020"/>
                        </a:lnTo>
                        <a:lnTo>
                          <a:pt x="1062" y="2014"/>
                        </a:lnTo>
                        <a:lnTo>
                          <a:pt x="1072" y="2011"/>
                        </a:lnTo>
                        <a:lnTo>
                          <a:pt x="1081" y="2011"/>
                        </a:lnTo>
                        <a:lnTo>
                          <a:pt x="1237" y="2011"/>
                        </a:lnTo>
                        <a:lnTo>
                          <a:pt x="1237" y="2011"/>
                        </a:lnTo>
                        <a:lnTo>
                          <a:pt x="1248" y="2011"/>
                        </a:lnTo>
                        <a:lnTo>
                          <a:pt x="1258" y="2014"/>
                        </a:lnTo>
                        <a:lnTo>
                          <a:pt x="1266" y="2020"/>
                        </a:lnTo>
                        <a:lnTo>
                          <a:pt x="1274" y="2026"/>
                        </a:lnTo>
                        <a:lnTo>
                          <a:pt x="1279" y="2033"/>
                        </a:lnTo>
                        <a:lnTo>
                          <a:pt x="1284" y="2042"/>
                        </a:lnTo>
                        <a:lnTo>
                          <a:pt x="1287" y="2051"/>
                        </a:lnTo>
                        <a:lnTo>
                          <a:pt x="1288" y="2061"/>
                        </a:lnTo>
                        <a:lnTo>
                          <a:pt x="1288" y="2217"/>
                        </a:lnTo>
                        <a:lnTo>
                          <a:pt x="1288" y="2217"/>
                        </a:lnTo>
                        <a:lnTo>
                          <a:pt x="1287" y="2227"/>
                        </a:lnTo>
                        <a:lnTo>
                          <a:pt x="1284" y="2236"/>
                        </a:lnTo>
                        <a:lnTo>
                          <a:pt x="1279" y="2244"/>
                        </a:lnTo>
                        <a:lnTo>
                          <a:pt x="1274" y="2252"/>
                        </a:lnTo>
                        <a:lnTo>
                          <a:pt x="1266" y="2257"/>
                        </a:lnTo>
                        <a:lnTo>
                          <a:pt x="1258" y="2262"/>
                        </a:lnTo>
                        <a:lnTo>
                          <a:pt x="1248" y="2265"/>
                        </a:lnTo>
                        <a:lnTo>
                          <a:pt x="1237" y="2266"/>
                        </a:lnTo>
                        <a:lnTo>
                          <a:pt x="1081" y="2266"/>
                        </a:lnTo>
                        <a:lnTo>
                          <a:pt x="1081" y="2266"/>
                        </a:lnTo>
                        <a:lnTo>
                          <a:pt x="1072" y="2265"/>
                        </a:lnTo>
                        <a:lnTo>
                          <a:pt x="1062" y="2262"/>
                        </a:lnTo>
                        <a:lnTo>
                          <a:pt x="1054" y="2257"/>
                        </a:lnTo>
                        <a:lnTo>
                          <a:pt x="1046" y="2252"/>
                        </a:lnTo>
                        <a:lnTo>
                          <a:pt x="1041" y="2244"/>
                        </a:lnTo>
                        <a:lnTo>
                          <a:pt x="1036" y="2236"/>
                        </a:lnTo>
                        <a:lnTo>
                          <a:pt x="1033" y="2227"/>
                        </a:lnTo>
                        <a:lnTo>
                          <a:pt x="1032" y="2217"/>
                        </a:lnTo>
                        <a:lnTo>
                          <a:pt x="1032" y="2061"/>
                        </a:lnTo>
                        <a:close/>
                        <a:moveTo>
                          <a:pt x="1032" y="2454"/>
                        </a:moveTo>
                        <a:lnTo>
                          <a:pt x="1032" y="2454"/>
                        </a:lnTo>
                        <a:lnTo>
                          <a:pt x="1033" y="2444"/>
                        </a:lnTo>
                        <a:lnTo>
                          <a:pt x="1036" y="2435"/>
                        </a:lnTo>
                        <a:lnTo>
                          <a:pt x="1041" y="2427"/>
                        </a:lnTo>
                        <a:lnTo>
                          <a:pt x="1046" y="2420"/>
                        </a:lnTo>
                        <a:lnTo>
                          <a:pt x="1054" y="2414"/>
                        </a:lnTo>
                        <a:lnTo>
                          <a:pt x="1062" y="2409"/>
                        </a:lnTo>
                        <a:lnTo>
                          <a:pt x="1072" y="2407"/>
                        </a:lnTo>
                        <a:lnTo>
                          <a:pt x="1081" y="2405"/>
                        </a:lnTo>
                        <a:lnTo>
                          <a:pt x="1237" y="2405"/>
                        </a:lnTo>
                        <a:lnTo>
                          <a:pt x="1237" y="2405"/>
                        </a:lnTo>
                        <a:lnTo>
                          <a:pt x="1248" y="2407"/>
                        </a:lnTo>
                        <a:lnTo>
                          <a:pt x="1258" y="2409"/>
                        </a:lnTo>
                        <a:lnTo>
                          <a:pt x="1266" y="2414"/>
                        </a:lnTo>
                        <a:lnTo>
                          <a:pt x="1274" y="2420"/>
                        </a:lnTo>
                        <a:lnTo>
                          <a:pt x="1279" y="2427"/>
                        </a:lnTo>
                        <a:lnTo>
                          <a:pt x="1284" y="2435"/>
                        </a:lnTo>
                        <a:lnTo>
                          <a:pt x="1287" y="2444"/>
                        </a:lnTo>
                        <a:lnTo>
                          <a:pt x="1288" y="2454"/>
                        </a:lnTo>
                        <a:lnTo>
                          <a:pt x="1288" y="2611"/>
                        </a:lnTo>
                        <a:lnTo>
                          <a:pt x="1288" y="2611"/>
                        </a:lnTo>
                        <a:lnTo>
                          <a:pt x="1287" y="2621"/>
                        </a:lnTo>
                        <a:lnTo>
                          <a:pt x="1284" y="2631"/>
                        </a:lnTo>
                        <a:lnTo>
                          <a:pt x="1279" y="2638"/>
                        </a:lnTo>
                        <a:lnTo>
                          <a:pt x="1274" y="2645"/>
                        </a:lnTo>
                        <a:lnTo>
                          <a:pt x="1266" y="2653"/>
                        </a:lnTo>
                        <a:lnTo>
                          <a:pt x="1258" y="2657"/>
                        </a:lnTo>
                        <a:lnTo>
                          <a:pt x="1248" y="2660"/>
                        </a:lnTo>
                        <a:lnTo>
                          <a:pt x="1237" y="2660"/>
                        </a:lnTo>
                        <a:lnTo>
                          <a:pt x="1081" y="2660"/>
                        </a:lnTo>
                        <a:lnTo>
                          <a:pt x="1081" y="2660"/>
                        </a:lnTo>
                        <a:lnTo>
                          <a:pt x="1072" y="2660"/>
                        </a:lnTo>
                        <a:lnTo>
                          <a:pt x="1062" y="2657"/>
                        </a:lnTo>
                        <a:lnTo>
                          <a:pt x="1054" y="2653"/>
                        </a:lnTo>
                        <a:lnTo>
                          <a:pt x="1046" y="2645"/>
                        </a:lnTo>
                        <a:lnTo>
                          <a:pt x="1041" y="2638"/>
                        </a:lnTo>
                        <a:lnTo>
                          <a:pt x="1036" y="2631"/>
                        </a:lnTo>
                        <a:lnTo>
                          <a:pt x="1033" y="2621"/>
                        </a:lnTo>
                        <a:lnTo>
                          <a:pt x="1032" y="2611"/>
                        </a:lnTo>
                        <a:lnTo>
                          <a:pt x="1032" y="2454"/>
                        </a:lnTo>
                        <a:close/>
                        <a:moveTo>
                          <a:pt x="559" y="878"/>
                        </a:moveTo>
                        <a:lnTo>
                          <a:pt x="559" y="878"/>
                        </a:lnTo>
                        <a:lnTo>
                          <a:pt x="560" y="868"/>
                        </a:lnTo>
                        <a:lnTo>
                          <a:pt x="563" y="859"/>
                        </a:lnTo>
                        <a:lnTo>
                          <a:pt x="567" y="851"/>
                        </a:lnTo>
                        <a:lnTo>
                          <a:pt x="573" y="844"/>
                        </a:lnTo>
                        <a:lnTo>
                          <a:pt x="580" y="838"/>
                        </a:lnTo>
                        <a:lnTo>
                          <a:pt x="589" y="833"/>
                        </a:lnTo>
                        <a:lnTo>
                          <a:pt x="598" y="830"/>
                        </a:lnTo>
                        <a:lnTo>
                          <a:pt x="608" y="829"/>
                        </a:lnTo>
                        <a:lnTo>
                          <a:pt x="764" y="829"/>
                        </a:lnTo>
                        <a:lnTo>
                          <a:pt x="764" y="829"/>
                        </a:lnTo>
                        <a:lnTo>
                          <a:pt x="774" y="830"/>
                        </a:lnTo>
                        <a:lnTo>
                          <a:pt x="783" y="833"/>
                        </a:lnTo>
                        <a:lnTo>
                          <a:pt x="792" y="838"/>
                        </a:lnTo>
                        <a:lnTo>
                          <a:pt x="799" y="844"/>
                        </a:lnTo>
                        <a:lnTo>
                          <a:pt x="805" y="851"/>
                        </a:lnTo>
                        <a:lnTo>
                          <a:pt x="809" y="859"/>
                        </a:lnTo>
                        <a:lnTo>
                          <a:pt x="812" y="868"/>
                        </a:lnTo>
                        <a:lnTo>
                          <a:pt x="813" y="878"/>
                        </a:lnTo>
                        <a:lnTo>
                          <a:pt x="813" y="1035"/>
                        </a:lnTo>
                        <a:lnTo>
                          <a:pt x="813" y="1035"/>
                        </a:lnTo>
                        <a:lnTo>
                          <a:pt x="812" y="1045"/>
                        </a:lnTo>
                        <a:lnTo>
                          <a:pt x="809" y="1053"/>
                        </a:lnTo>
                        <a:lnTo>
                          <a:pt x="805" y="1062"/>
                        </a:lnTo>
                        <a:lnTo>
                          <a:pt x="799" y="1069"/>
                        </a:lnTo>
                        <a:lnTo>
                          <a:pt x="792" y="1075"/>
                        </a:lnTo>
                        <a:lnTo>
                          <a:pt x="783" y="1079"/>
                        </a:lnTo>
                        <a:lnTo>
                          <a:pt x="774" y="1082"/>
                        </a:lnTo>
                        <a:lnTo>
                          <a:pt x="764" y="1084"/>
                        </a:lnTo>
                        <a:lnTo>
                          <a:pt x="608" y="1084"/>
                        </a:lnTo>
                        <a:lnTo>
                          <a:pt x="608" y="1084"/>
                        </a:lnTo>
                        <a:lnTo>
                          <a:pt x="598" y="1082"/>
                        </a:lnTo>
                        <a:lnTo>
                          <a:pt x="589" y="1079"/>
                        </a:lnTo>
                        <a:lnTo>
                          <a:pt x="580" y="1075"/>
                        </a:lnTo>
                        <a:lnTo>
                          <a:pt x="573" y="1069"/>
                        </a:lnTo>
                        <a:lnTo>
                          <a:pt x="567" y="1062"/>
                        </a:lnTo>
                        <a:lnTo>
                          <a:pt x="563" y="1053"/>
                        </a:lnTo>
                        <a:lnTo>
                          <a:pt x="560" y="1045"/>
                        </a:lnTo>
                        <a:lnTo>
                          <a:pt x="559" y="1035"/>
                        </a:lnTo>
                        <a:lnTo>
                          <a:pt x="559" y="878"/>
                        </a:lnTo>
                        <a:close/>
                        <a:moveTo>
                          <a:pt x="559" y="1272"/>
                        </a:moveTo>
                        <a:lnTo>
                          <a:pt x="559" y="1272"/>
                        </a:lnTo>
                        <a:lnTo>
                          <a:pt x="560" y="1262"/>
                        </a:lnTo>
                        <a:lnTo>
                          <a:pt x="563" y="1253"/>
                        </a:lnTo>
                        <a:lnTo>
                          <a:pt x="567" y="1244"/>
                        </a:lnTo>
                        <a:lnTo>
                          <a:pt x="573" y="1237"/>
                        </a:lnTo>
                        <a:lnTo>
                          <a:pt x="580" y="1231"/>
                        </a:lnTo>
                        <a:lnTo>
                          <a:pt x="589" y="1227"/>
                        </a:lnTo>
                        <a:lnTo>
                          <a:pt x="598" y="1224"/>
                        </a:lnTo>
                        <a:lnTo>
                          <a:pt x="608" y="1223"/>
                        </a:lnTo>
                        <a:lnTo>
                          <a:pt x="764" y="1223"/>
                        </a:lnTo>
                        <a:lnTo>
                          <a:pt x="764" y="1223"/>
                        </a:lnTo>
                        <a:lnTo>
                          <a:pt x="774" y="1224"/>
                        </a:lnTo>
                        <a:lnTo>
                          <a:pt x="783" y="1227"/>
                        </a:lnTo>
                        <a:lnTo>
                          <a:pt x="792" y="1231"/>
                        </a:lnTo>
                        <a:lnTo>
                          <a:pt x="799" y="1237"/>
                        </a:lnTo>
                        <a:lnTo>
                          <a:pt x="805" y="1244"/>
                        </a:lnTo>
                        <a:lnTo>
                          <a:pt x="809" y="1253"/>
                        </a:lnTo>
                        <a:lnTo>
                          <a:pt x="812" y="1262"/>
                        </a:lnTo>
                        <a:lnTo>
                          <a:pt x="813" y="1272"/>
                        </a:lnTo>
                        <a:lnTo>
                          <a:pt x="813" y="1428"/>
                        </a:lnTo>
                        <a:lnTo>
                          <a:pt x="813" y="1428"/>
                        </a:lnTo>
                        <a:lnTo>
                          <a:pt x="812" y="1438"/>
                        </a:lnTo>
                        <a:lnTo>
                          <a:pt x="809" y="1448"/>
                        </a:lnTo>
                        <a:lnTo>
                          <a:pt x="805" y="1456"/>
                        </a:lnTo>
                        <a:lnTo>
                          <a:pt x="799" y="1463"/>
                        </a:lnTo>
                        <a:lnTo>
                          <a:pt x="792" y="1470"/>
                        </a:lnTo>
                        <a:lnTo>
                          <a:pt x="783" y="1475"/>
                        </a:lnTo>
                        <a:lnTo>
                          <a:pt x="774" y="1477"/>
                        </a:lnTo>
                        <a:lnTo>
                          <a:pt x="764" y="1477"/>
                        </a:lnTo>
                        <a:lnTo>
                          <a:pt x="608" y="1477"/>
                        </a:lnTo>
                        <a:lnTo>
                          <a:pt x="608" y="1477"/>
                        </a:lnTo>
                        <a:lnTo>
                          <a:pt x="598" y="1477"/>
                        </a:lnTo>
                        <a:lnTo>
                          <a:pt x="589" y="1475"/>
                        </a:lnTo>
                        <a:lnTo>
                          <a:pt x="580" y="1470"/>
                        </a:lnTo>
                        <a:lnTo>
                          <a:pt x="573" y="1463"/>
                        </a:lnTo>
                        <a:lnTo>
                          <a:pt x="567" y="1456"/>
                        </a:lnTo>
                        <a:lnTo>
                          <a:pt x="563" y="1448"/>
                        </a:lnTo>
                        <a:lnTo>
                          <a:pt x="560" y="1438"/>
                        </a:lnTo>
                        <a:lnTo>
                          <a:pt x="559" y="1428"/>
                        </a:lnTo>
                        <a:lnTo>
                          <a:pt x="559" y="1272"/>
                        </a:lnTo>
                        <a:close/>
                        <a:moveTo>
                          <a:pt x="559" y="1667"/>
                        </a:moveTo>
                        <a:lnTo>
                          <a:pt x="559" y="1667"/>
                        </a:lnTo>
                        <a:lnTo>
                          <a:pt x="560" y="1657"/>
                        </a:lnTo>
                        <a:lnTo>
                          <a:pt x="563" y="1647"/>
                        </a:lnTo>
                        <a:lnTo>
                          <a:pt x="567" y="1638"/>
                        </a:lnTo>
                        <a:lnTo>
                          <a:pt x="573" y="1631"/>
                        </a:lnTo>
                        <a:lnTo>
                          <a:pt x="580" y="1625"/>
                        </a:lnTo>
                        <a:lnTo>
                          <a:pt x="589" y="1621"/>
                        </a:lnTo>
                        <a:lnTo>
                          <a:pt x="598" y="1618"/>
                        </a:lnTo>
                        <a:lnTo>
                          <a:pt x="608" y="1616"/>
                        </a:lnTo>
                        <a:lnTo>
                          <a:pt x="764" y="1616"/>
                        </a:lnTo>
                        <a:lnTo>
                          <a:pt x="764" y="1616"/>
                        </a:lnTo>
                        <a:lnTo>
                          <a:pt x="774" y="1618"/>
                        </a:lnTo>
                        <a:lnTo>
                          <a:pt x="783" y="1621"/>
                        </a:lnTo>
                        <a:lnTo>
                          <a:pt x="792" y="1625"/>
                        </a:lnTo>
                        <a:lnTo>
                          <a:pt x="799" y="1631"/>
                        </a:lnTo>
                        <a:lnTo>
                          <a:pt x="805" y="1638"/>
                        </a:lnTo>
                        <a:lnTo>
                          <a:pt x="809" y="1647"/>
                        </a:lnTo>
                        <a:lnTo>
                          <a:pt x="812" y="1657"/>
                        </a:lnTo>
                        <a:lnTo>
                          <a:pt x="813" y="1667"/>
                        </a:lnTo>
                        <a:lnTo>
                          <a:pt x="813" y="1823"/>
                        </a:lnTo>
                        <a:lnTo>
                          <a:pt x="813" y="1823"/>
                        </a:lnTo>
                        <a:lnTo>
                          <a:pt x="812" y="1833"/>
                        </a:lnTo>
                        <a:lnTo>
                          <a:pt x="809" y="1842"/>
                        </a:lnTo>
                        <a:lnTo>
                          <a:pt x="805" y="1851"/>
                        </a:lnTo>
                        <a:lnTo>
                          <a:pt x="799" y="1858"/>
                        </a:lnTo>
                        <a:lnTo>
                          <a:pt x="792" y="1864"/>
                        </a:lnTo>
                        <a:lnTo>
                          <a:pt x="783" y="1868"/>
                        </a:lnTo>
                        <a:lnTo>
                          <a:pt x="774" y="1871"/>
                        </a:lnTo>
                        <a:lnTo>
                          <a:pt x="764" y="1873"/>
                        </a:lnTo>
                        <a:lnTo>
                          <a:pt x="608" y="1873"/>
                        </a:lnTo>
                        <a:lnTo>
                          <a:pt x="608" y="1873"/>
                        </a:lnTo>
                        <a:lnTo>
                          <a:pt x="598" y="1871"/>
                        </a:lnTo>
                        <a:lnTo>
                          <a:pt x="589" y="1868"/>
                        </a:lnTo>
                        <a:lnTo>
                          <a:pt x="580" y="1864"/>
                        </a:lnTo>
                        <a:lnTo>
                          <a:pt x="573" y="1858"/>
                        </a:lnTo>
                        <a:lnTo>
                          <a:pt x="567" y="1851"/>
                        </a:lnTo>
                        <a:lnTo>
                          <a:pt x="563" y="1842"/>
                        </a:lnTo>
                        <a:lnTo>
                          <a:pt x="560" y="1833"/>
                        </a:lnTo>
                        <a:lnTo>
                          <a:pt x="559" y="1823"/>
                        </a:lnTo>
                        <a:lnTo>
                          <a:pt x="559" y="1667"/>
                        </a:lnTo>
                        <a:close/>
                        <a:moveTo>
                          <a:pt x="559" y="2061"/>
                        </a:moveTo>
                        <a:lnTo>
                          <a:pt x="559" y="2061"/>
                        </a:lnTo>
                        <a:lnTo>
                          <a:pt x="560" y="2051"/>
                        </a:lnTo>
                        <a:lnTo>
                          <a:pt x="563" y="2042"/>
                        </a:lnTo>
                        <a:lnTo>
                          <a:pt x="567" y="2033"/>
                        </a:lnTo>
                        <a:lnTo>
                          <a:pt x="573" y="2026"/>
                        </a:lnTo>
                        <a:lnTo>
                          <a:pt x="580" y="2020"/>
                        </a:lnTo>
                        <a:lnTo>
                          <a:pt x="589" y="2014"/>
                        </a:lnTo>
                        <a:lnTo>
                          <a:pt x="598" y="2011"/>
                        </a:lnTo>
                        <a:lnTo>
                          <a:pt x="608" y="2011"/>
                        </a:lnTo>
                        <a:lnTo>
                          <a:pt x="764" y="2011"/>
                        </a:lnTo>
                        <a:lnTo>
                          <a:pt x="764" y="2011"/>
                        </a:lnTo>
                        <a:lnTo>
                          <a:pt x="774" y="2011"/>
                        </a:lnTo>
                        <a:lnTo>
                          <a:pt x="783" y="2014"/>
                        </a:lnTo>
                        <a:lnTo>
                          <a:pt x="792" y="2020"/>
                        </a:lnTo>
                        <a:lnTo>
                          <a:pt x="799" y="2026"/>
                        </a:lnTo>
                        <a:lnTo>
                          <a:pt x="805" y="2033"/>
                        </a:lnTo>
                        <a:lnTo>
                          <a:pt x="809" y="2042"/>
                        </a:lnTo>
                        <a:lnTo>
                          <a:pt x="812" y="2051"/>
                        </a:lnTo>
                        <a:lnTo>
                          <a:pt x="813" y="2061"/>
                        </a:lnTo>
                        <a:lnTo>
                          <a:pt x="813" y="2217"/>
                        </a:lnTo>
                        <a:lnTo>
                          <a:pt x="813" y="2217"/>
                        </a:lnTo>
                        <a:lnTo>
                          <a:pt x="812" y="2227"/>
                        </a:lnTo>
                        <a:lnTo>
                          <a:pt x="809" y="2236"/>
                        </a:lnTo>
                        <a:lnTo>
                          <a:pt x="805" y="2244"/>
                        </a:lnTo>
                        <a:lnTo>
                          <a:pt x="799" y="2252"/>
                        </a:lnTo>
                        <a:lnTo>
                          <a:pt x="792" y="2257"/>
                        </a:lnTo>
                        <a:lnTo>
                          <a:pt x="783" y="2262"/>
                        </a:lnTo>
                        <a:lnTo>
                          <a:pt x="774" y="2265"/>
                        </a:lnTo>
                        <a:lnTo>
                          <a:pt x="764" y="2266"/>
                        </a:lnTo>
                        <a:lnTo>
                          <a:pt x="608" y="2266"/>
                        </a:lnTo>
                        <a:lnTo>
                          <a:pt x="608" y="2266"/>
                        </a:lnTo>
                        <a:lnTo>
                          <a:pt x="598" y="2265"/>
                        </a:lnTo>
                        <a:lnTo>
                          <a:pt x="589" y="2262"/>
                        </a:lnTo>
                        <a:lnTo>
                          <a:pt x="580" y="2257"/>
                        </a:lnTo>
                        <a:lnTo>
                          <a:pt x="573" y="2252"/>
                        </a:lnTo>
                        <a:lnTo>
                          <a:pt x="567" y="2244"/>
                        </a:lnTo>
                        <a:lnTo>
                          <a:pt x="563" y="2236"/>
                        </a:lnTo>
                        <a:lnTo>
                          <a:pt x="560" y="2227"/>
                        </a:lnTo>
                        <a:lnTo>
                          <a:pt x="559" y="2217"/>
                        </a:lnTo>
                        <a:lnTo>
                          <a:pt x="559" y="2061"/>
                        </a:lnTo>
                        <a:close/>
                        <a:moveTo>
                          <a:pt x="559" y="2454"/>
                        </a:moveTo>
                        <a:lnTo>
                          <a:pt x="559" y="2454"/>
                        </a:lnTo>
                        <a:lnTo>
                          <a:pt x="560" y="2444"/>
                        </a:lnTo>
                        <a:lnTo>
                          <a:pt x="563" y="2435"/>
                        </a:lnTo>
                        <a:lnTo>
                          <a:pt x="567" y="2427"/>
                        </a:lnTo>
                        <a:lnTo>
                          <a:pt x="573" y="2420"/>
                        </a:lnTo>
                        <a:lnTo>
                          <a:pt x="580" y="2414"/>
                        </a:lnTo>
                        <a:lnTo>
                          <a:pt x="589" y="2409"/>
                        </a:lnTo>
                        <a:lnTo>
                          <a:pt x="598" y="2407"/>
                        </a:lnTo>
                        <a:lnTo>
                          <a:pt x="608" y="2405"/>
                        </a:lnTo>
                        <a:lnTo>
                          <a:pt x="764" y="2405"/>
                        </a:lnTo>
                        <a:lnTo>
                          <a:pt x="764" y="2405"/>
                        </a:lnTo>
                        <a:lnTo>
                          <a:pt x="774" y="2407"/>
                        </a:lnTo>
                        <a:lnTo>
                          <a:pt x="783" y="2409"/>
                        </a:lnTo>
                        <a:lnTo>
                          <a:pt x="792" y="2414"/>
                        </a:lnTo>
                        <a:lnTo>
                          <a:pt x="799" y="2420"/>
                        </a:lnTo>
                        <a:lnTo>
                          <a:pt x="805" y="2427"/>
                        </a:lnTo>
                        <a:lnTo>
                          <a:pt x="809" y="2435"/>
                        </a:lnTo>
                        <a:lnTo>
                          <a:pt x="812" y="2444"/>
                        </a:lnTo>
                        <a:lnTo>
                          <a:pt x="813" y="2454"/>
                        </a:lnTo>
                        <a:lnTo>
                          <a:pt x="813" y="2611"/>
                        </a:lnTo>
                        <a:lnTo>
                          <a:pt x="813" y="2611"/>
                        </a:lnTo>
                        <a:lnTo>
                          <a:pt x="812" y="2621"/>
                        </a:lnTo>
                        <a:lnTo>
                          <a:pt x="809" y="2631"/>
                        </a:lnTo>
                        <a:lnTo>
                          <a:pt x="805" y="2638"/>
                        </a:lnTo>
                        <a:lnTo>
                          <a:pt x="799" y="2645"/>
                        </a:lnTo>
                        <a:lnTo>
                          <a:pt x="792" y="2653"/>
                        </a:lnTo>
                        <a:lnTo>
                          <a:pt x="783" y="2657"/>
                        </a:lnTo>
                        <a:lnTo>
                          <a:pt x="774" y="2660"/>
                        </a:lnTo>
                        <a:lnTo>
                          <a:pt x="764" y="2660"/>
                        </a:lnTo>
                        <a:lnTo>
                          <a:pt x="608" y="2660"/>
                        </a:lnTo>
                        <a:lnTo>
                          <a:pt x="608" y="2660"/>
                        </a:lnTo>
                        <a:lnTo>
                          <a:pt x="598" y="2660"/>
                        </a:lnTo>
                        <a:lnTo>
                          <a:pt x="589" y="2657"/>
                        </a:lnTo>
                        <a:lnTo>
                          <a:pt x="580" y="2653"/>
                        </a:lnTo>
                        <a:lnTo>
                          <a:pt x="573" y="2645"/>
                        </a:lnTo>
                        <a:lnTo>
                          <a:pt x="567" y="2638"/>
                        </a:lnTo>
                        <a:lnTo>
                          <a:pt x="563" y="2631"/>
                        </a:lnTo>
                        <a:lnTo>
                          <a:pt x="560" y="2621"/>
                        </a:lnTo>
                        <a:lnTo>
                          <a:pt x="559" y="2611"/>
                        </a:lnTo>
                        <a:lnTo>
                          <a:pt x="559" y="2454"/>
                        </a:lnTo>
                        <a:close/>
                        <a:moveTo>
                          <a:pt x="559" y="2454"/>
                        </a:moveTo>
                        <a:lnTo>
                          <a:pt x="559" y="2454"/>
                        </a:lnTo>
                        <a:close/>
                      </a:path>
                    </a:pathLst>
                  </a:custGeom>
                  <a:solidFill>
                    <a:srgbClr val="00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381" tIns="45691" rIns="91381" bIns="45691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9078" fontAlgn="ctr"/>
                    <a:endParaRPr lang="en-US" altLang="zh-CN" sz="2799" dirty="0">
                      <a:solidFill>
                        <a:prstClr val="white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245" name="组合 244"/>
              <p:cNvGrpSpPr/>
              <p:nvPr/>
            </p:nvGrpSpPr>
            <p:grpSpPr>
              <a:xfrm>
                <a:off x="2102732" y="1624655"/>
                <a:ext cx="235833" cy="334808"/>
                <a:chOff x="1407913" y="5648791"/>
                <a:chExt cx="235833" cy="334808"/>
              </a:xfrm>
            </p:grpSpPr>
            <p:sp>
              <p:nvSpPr>
                <p:cNvPr id="246" name="椭圆 245"/>
                <p:cNvSpPr/>
                <p:nvPr/>
              </p:nvSpPr>
              <p:spPr bwMode="auto">
                <a:xfrm>
                  <a:off x="1413227" y="5697171"/>
                  <a:ext cx="230519" cy="23170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20000"/>
                        <a:lumOff val="80000"/>
                      </a:schemeClr>
                    </a:gs>
                    <a:gs pos="10000">
                      <a:srgbClr val="00B0F0"/>
                    </a:gs>
                    <a:gs pos="62000">
                      <a:srgbClr val="00B0F0">
                        <a:alpha val="72000"/>
                      </a:srgbClr>
                    </a:gs>
                    <a:gs pos="35000">
                      <a:srgbClr val="00B0F0">
                        <a:alpha val="56000"/>
                      </a:srgbClr>
                    </a:gs>
                    <a:gs pos="98000">
                      <a:srgbClr val="0070C0"/>
                    </a:gs>
                  </a:gsLst>
                  <a:lin ang="2700000" scaled="1"/>
                  <a:tileRect/>
                </a:gradFill>
                <a:ln w="9525" cap="flat" cmpd="sng" algn="ctr">
                  <a:solidFill>
                    <a:srgbClr val="8EB4E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76200" dist="63500" dir="8100000" algn="tr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flat" dir="t"/>
                </a:scene3d>
              </p:spPr>
              <p:txBody>
                <a:bodyPr wrap="square" anchor="ctr">
                  <a:noAutofit/>
                </a:bodyPr>
                <a:lstStyle/>
                <a:p>
                  <a:pPr algn="ctr" defTabSz="1219078" fontAlgn="ctr">
                    <a:defRPr/>
                  </a:pPr>
                  <a:endParaRPr lang="en-US" altLang="zh-CN" sz="1050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7" name="TextBox 146"/>
                <p:cNvSpPr txBox="1">
                  <a:spLocks noChangeArrowheads="1"/>
                </p:cNvSpPr>
                <p:nvPr/>
              </p:nvSpPr>
              <p:spPr bwMode="auto">
                <a:xfrm>
                  <a:off x="1407913" y="5648791"/>
                  <a:ext cx="235833" cy="334808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  <a:sp3d/>
              </p:spPr>
              <p:txBody>
                <a:bodyPr wrap="square">
                  <a:noAutofit/>
                </a:bodyPr>
                <a:lstStyle>
                  <a:lvl1pPr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30162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30162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fontAlgn="ctr"/>
                  <a:r>
                    <a:rPr lang="en-US" sz="1050" dirty="0" smtClean="0">
                      <a:solidFill>
                        <a:prstClr val="white"/>
                      </a:solidFill>
                      <a:latin typeface="Arial" panose="020B0604020202020204" pitchFamily="34" charset="0"/>
                    </a:rPr>
                    <a:t>3</a:t>
                  </a:r>
                  <a:endParaRPr lang="en-US" sz="1050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9874580" y="1555185"/>
              <a:ext cx="235833" cy="334808"/>
              <a:chOff x="1407913" y="5648791"/>
              <a:chExt cx="235833" cy="334808"/>
            </a:xfrm>
          </p:grpSpPr>
          <p:sp>
            <p:nvSpPr>
              <p:cNvPr id="249" name="椭圆 248"/>
              <p:cNvSpPr/>
              <p:nvPr/>
            </p:nvSpPr>
            <p:spPr bwMode="auto">
              <a:xfrm>
                <a:off x="1413227" y="5697171"/>
                <a:ext cx="230519" cy="23170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20000"/>
                      <a:lumOff val="80000"/>
                    </a:schemeClr>
                  </a:gs>
                  <a:gs pos="10000">
                    <a:srgbClr val="00B0F0"/>
                  </a:gs>
                  <a:gs pos="62000">
                    <a:srgbClr val="00B0F0">
                      <a:alpha val="72000"/>
                    </a:srgbClr>
                  </a:gs>
                  <a:gs pos="35000">
                    <a:srgbClr val="00B0F0">
                      <a:alpha val="56000"/>
                    </a:srgbClr>
                  </a:gs>
                  <a:gs pos="98000">
                    <a:srgbClr val="0070C0"/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8EB4E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0" name="TextBox 146"/>
              <p:cNvSpPr txBox="1">
                <a:spLocks noChangeArrowheads="1"/>
              </p:cNvSpPr>
              <p:nvPr/>
            </p:nvSpPr>
            <p:spPr bwMode="auto">
              <a:xfrm>
                <a:off x="1407913" y="5648791"/>
                <a:ext cx="235833" cy="3348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noAutofit/>
              </a:bodyPr>
              <a:lstStyle>
                <a:lvl1pPr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fontAlgn="ctr"/>
                <a:r>
                  <a:rPr lang="en-US" sz="105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4</a:t>
                </a:r>
                <a:endParaRPr lang="en-US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51" name="组合 250"/>
            <p:cNvGrpSpPr/>
            <p:nvPr/>
          </p:nvGrpSpPr>
          <p:grpSpPr>
            <a:xfrm>
              <a:off x="11410734" y="3325057"/>
              <a:ext cx="235833" cy="334808"/>
              <a:chOff x="1407913" y="5648791"/>
              <a:chExt cx="235833" cy="334808"/>
            </a:xfrm>
          </p:grpSpPr>
          <p:sp>
            <p:nvSpPr>
              <p:cNvPr id="252" name="椭圆 251"/>
              <p:cNvSpPr/>
              <p:nvPr/>
            </p:nvSpPr>
            <p:spPr bwMode="auto">
              <a:xfrm>
                <a:off x="1413227" y="5697171"/>
                <a:ext cx="230519" cy="23170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20000"/>
                      <a:lumOff val="80000"/>
                    </a:schemeClr>
                  </a:gs>
                  <a:gs pos="10000">
                    <a:srgbClr val="00B0F0"/>
                  </a:gs>
                  <a:gs pos="62000">
                    <a:srgbClr val="00B0F0">
                      <a:alpha val="72000"/>
                    </a:srgbClr>
                  </a:gs>
                  <a:gs pos="35000">
                    <a:srgbClr val="00B0F0">
                      <a:alpha val="56000"/>
                    </a:srgbClr>
                  </a:gs>
                  <a:gs pos="98000">
                    <a:srgbClr val="0070C0"/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8EB4E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3" name="TextBox 146"/>
              <p:cNvSpPr txBox="1">
                <a:spLocks noChangeArrowheads="1"/>
              </p:cNvSpPr>
              <p:nvPr/>
            </p:nvSpPr>
            <p:spPr bwMode="auto">
              <a:xfrm>
                <a:off x="1407913" y="5648791"/>
                <a:ext cx="235833" cy="3348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noAutofit/>
              </a:bodyPr>
              <a:lstStyle>
                <a:lvl1pPr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fontAlgn="ctr"/>
                <a:r>
                  <a:rPr lang="en-US" sz="105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5</a:t>
                </a:r>
                <a:endParaRPr lang="en-US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54" name="组合 253"/>
            <p:cNvGrpSpPr/>
            <p:nvPr/>
          </p:nvGrpSpPr>
          <p:grpSpPr>
            <a:xfrm>
              <a:off x="9351468" y="4242062"/>
              <a:ext cx="248651" cy="334808"/>
              <a:chOff x="1653729" y="5648791"/>
              <a:chExt cx="248651" cy="334808"/>
            </a:xfrm>
          </p:grpSpPr>
          <p:sp>
            <p:nvSpPr>
              <p:cNvPr id="255" name="椭圆 254"/>
              <p:cNvSpPr/>
              <p:nvPr/>
            </p:nvSpPr>
            <p:spPr bwMode="auto">
              <a:xfrm>
                <a:off x="1671861" y="5699150"/>
                <a:ext cx="230519" cy="23170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20000"/>
                      <a:lumOff val="80000"/>
                    </a:schemeClr>
                  </a:gs>
                  <a:gs pos="10000">
                    <a:srgbClr val="00B0F0"/>
                  </a:gs>
                  <a:gs pos="62000">
                    <a:srgbClr val="00B0F0">
                      <a:alpha val="72000"/>
                    </a:srgbClr>
                  </a:gs>
                  <a:gs pos="35000">
                    <a:srgbClr val="00B0F0">
                      <a:alpha val="56000"/>
                    </a:srgbClr>
                  </a:gs>
                  <a:gs pos="98000">
                    <a:srgbClr val="0070C0"/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8EB4E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76200" dist="635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</p:spPr>
            <p:txBody>
              <a:bodyPr wrap="square" anchor="ctr">
                <a:noAutofit/>
              </a:bodyPr>
              <a:lstStyle/>
              <a:p>
                <a:pPr algn="ctr" defTabSz="1219078" fontAlgn="ctr">
                  <a:defRPr/>
                </a:pPr>
                <a:endParaRPr lang="en-US" altLang="zh-CN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6" name="TextBox 146"/>
              <p:cNvSpPr txBox="1">
                <a:spLocks noChangeArrowheads="1"/>
              </p:cNvSpPr>
              <p:nvPr/>
            </p:nvSpPr>
            <p:spPr bwMode="auto">
              <a:xfrm>
                <a:off x="1653729" y="5648791"/>
                <a:ext cx="235835" cy="3348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noAutofit/>
              </a:bodyPr>
              <a:lstStyle>
                <a:lvl1pPr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3016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3016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fontAlgn="ctr"/>
                <a:r>
                  <a:rPr lang="en-US" sz="1050" dirty="0" smtClean="0">
                    <a:solidFill>
                      <a:prstClr val="white"/>
                    </a:solidFill>
                    <a:latin typeface="Arial" panose="020B0604020202020204" pitchFamily="34" charset="0"/>
                  </a:rPr>
                  <a:t>6</a:t>
                </a:r>
                <a:endParaRPr lang="en-US" sz="1050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263" name="Picture 2">
              <a:extLst>
                <a:ext uri="{FF2B5EF4-FFF2-40B4-BE49-F238E27FC236}">
                  <a16:creationId xmlns="" xmlns:a16="http://schemas.microsoft.com/office/drawing/2014/main" id="{3D43D59E-3761-42C5-812D-E5B64F19BB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487659" y="2781946"/>
              <a:ext cx="1306507" cy="81388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" name="组合 20">
            <a:extLst>
              <a:ext uri="{FF2B5EF4-FFF2-40B4-BE49-F238E27FC236}">
                <a16:creationId xmlns="" xmlns:a16="http://schemas.microsoft.com/office/drawing/2014/main" id="{D49896C8-BB47-4EE7-A8A5-91320776B7C0}"/>
              </a:ext>
            </a:extLst>
          </p:cNvPr>
          <p:cNvGrpSpPr/>
          <p:nvPr/>
        </p:nvGrpSpPr>
        <p:grpSpPr>
          <a:xfrm>
            <a:off x="541281" y="1286569"/>
            <a:ext cx="2732962" cy="1575977"/>
            <a:chOff x="541421" y="2573124"/>
            <a:chExt cx="2733674" cy="1576387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grpSp>
          <p:nvGrpSpPr>
            <p:cNvPr id="20" name="组合 19">
              <a:extLst>
                <a:ext uri="{FF2B5EF4-FFF2-40B4-BE49-F238E27FC236}">
                  <a16:creationId xmlns="" xmlns:a16="http://schemas.microsoft.com/office/drawing/2014/main" id="{73703BE6-AD45-4E0E-879F-F604B6240665}"/>
                </a:ext>
              </a:extLst>
            </p:cNvPr>
            <p:cNvGrpSpPr/>
            <p:nvPr/>
          </p:nvGrpSpPr>
          <p:grpSpPr>
            <a:xfrm>
              <a:off x="541421" y="2573124"/>
              <a:ext cx="2733674" cy="1576387"/>
              <a:chOff x="-3116262" y="2952750"/>
              <a:chExt cx="2733674" cy="1576387"/>
            </a:xfrm>
          </p:grpSpPr>
          <p:sp>
            <p:nvSpPr>
              <p:cNvPr id="15" name="Freeform 7">
                <a:extLst>
                  <a:ext uri="{FF2B5EF4-FFF2-40B4-BE49-F238E27FC236}">
                    <a16:creationId xmlns="" xmlns:a16="http://schemas.microsoft.com/office/drawing/2014/main" id="{BEFAF860-98BE-48E3-B68E-7A0FDBD48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16262" y="4394200"/>
                <a:ext cx="2733674" cy="134937"/>
              </a:xfrm>
              <a:custGeom>
                <a:avLst/>
                <a:gdLst>
                  <a:gd name="T0" fmla="*/ 0 w 268"/>
                  <a:gd name="T1" fmla="*/ 0 h 13"/>
                  <a:gd name="T2" fmla="*/ 13 w 268"/>
                  <a:gd name="T3" fmla="*/ 13 h 13"/>
                  <a:gd name="T4" fmla="*/ 255 w 268"/>
                  <a:gd name="T5" fmla="*/ 13 h 13"/>
                  <a:gd name="T6" fmla="*/ 268 w 268"/>
                  <a:gd name="T7" fmla="*/ 0 h 13"/>
                  <a:gd name="T8" fmla="*/ 0 w 268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8" h="13">
                    <a:moveTo>
                      <a:pt x="0" y="0"/>
                    </a:moveTo>
                    <a:cubicBezTo>
                      <a:pt x="0" y="7"/>
                      <a:pt x="6" y="13"/>
                      <a:pt x="13" y="13"/>
                    </a:cubicBezTo>
                    <a:cubicBezTo>
                      <a:pt x="255" y="13"/>
                      <a:pt x="255" y="13"/>
                      <a:pt x="255" y="13"/>
                    </a:cubicBezTo>
                    <a:cubicBezTo>
                      <a:pt x="262" y="13"/>
                      <a:pt x="268" y="7"/>
                      <a:pt x="26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8BBC">
                      <a:alpha val="74000"/>
                    </a:srgbClr>
                  </a:gs>
                  <a:gs pos="100000">
                    <a:srgbClr val="0070C0">
                      <a:alpha val="46000"/>
                    </a:srgbClr>
                  </a:gs>
                </a:gsLst>
                <a:lin ang="9600000" scaled="0"/>
              </a:gradFill>
              <a:ln w="9525">
                <a:gradFill>
                  <a:gsLst>
                    <a:gs pos="0">
                      <a:srgbClr val="002060">
                        <a:alpha val="47000"/>
                      </a:srgbClr>
                    </a:gs>
                    <a:gs pos="50000">
                      <a:schemeClr val="accent1">
                        <a:tint val="44500"/>
                        <a:satMod val="160000"/>
                        <a:alpha val="37000"/>
                      </a:schemeClr>
                    </a:gs>
                    <a:gs pos="100000">
                      <a:srgbClr val="002060">
                        <a:alpha val="37000"/>
                      </a:srgbClr>
                    </a:gs>
                  </a:gsLst>
                  <a:lin ang="5400000" scaled="0"/>
                </a:gra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1408" tIns="45703" rIns="91408" bIns="45703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078" fontAlgn="ctr"/>
                <a:endParaRPr lang="en-US" altLang="zh-CN" sz="1999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19" name="组合 18">
                <a:extLst>
                  <a:ext uri="{FF2B5EF4-FFF2-40B4-BE49-F238E27FC236}">
                    <a16:creationId xmlns="" xmlns:a16="http://schemas.microsoft.com/office/drawing/2014/main" id="{75BE22FA-5D13-4C72-9EA0-A5EB40CF0699}"/>
                  </a:ext>
                </a:extLst>
              </p:cNvPr>
              <p:cNvGrpSpPr/>
              <p:nvPr/>
            </p:nvGrpSpPr>
            <p:grpSpPr>
              <a:xfrm>
                <a:off x="-2982913" y="2952750"/>
                <a:ext cx="2447925" cy="1482725"/>
                <a:chOff x="-2982913" y="2952750"/>
                <a:chExt cx="2447925" cy="1482725"/>
              </a:xfrm>
            </p:grpSpPr>
            <p:sp>
              <p:nvSpPr>
                <p:cNvPr id="13" name="Freeform 5">
                  <a:extLst>
                    <a:ext uri="{FF2B5EF4-FFF2-40B4-BE49-F238E27FC236}">
                      <a16:creationId xmlns="" xmlns:a16="http://schemas.microsoft.com/office/drawing/2014/main" id="{F50CCCC3-94C8-4253-A93F-697E47F6B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982913" y="2952750"/>
                  <a:ext cx="2447925" cy="1441450"/>
                </a:xfrm>
                <a:custGeom>
                  <a:avLst/>
                  <a:gdLst>
                    <a:gd name="T0" fmla="*/ 226 w 240"/>
                    <a:gd name="T1" fmla="*/ 0 h 140"/>
                    <a:gd name="T2" fmla="*/ 14 w 240"/>
                    <a:gd name="T3" fmla="*/ 0 h 140"/>
                    <a:gd name="T4" fmla="*/ 0 w 240"/>
                    <a:gd name="T5" fmla="*/ 15 h 140"/>
                    <a:gd name="T6" fmla="*/ 0 w 240"/>
                    <a:gd name="T7" fmla="*/ 140 h 140"/>
                    <a:gd name="T8" fmla="*/ 240 w 240"/>
                    <a:gd name="T9" fmla="*/ 140 h 140"/>
                    <a:gd name="T10" fmla="*/ 240 w 240"/>
                    <a:gd name="T11" fmla="*/ 15 h 140"/>
                    <a:gd name="T12" fmla="*/ 226 w 240"/>
                    <a:gd name="T13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0" h="140">
                      <a:moveTo>
                        <a:pt x="226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240" y="140"/>
                        <a:pt x="240" y="140"/>
                        <a:pt x="240" y="140"/>
                      </a:cubicBezTo>
                      <a:cubicBezTo>
                        <a:pt x="240" y="15"/>
                        <a:pt x="240" y="15"/>
                        <a:pt x="240" y="15"/>
                      </a:cubicBezTo>
                      <a:cubicBezTo>
                        <a:pt x="240" y="7"/>
                        <a:pt x="233" y="0"/>
                        <a:pt x="226" y="0"/>
                      </a:cubicBezTo>
                    </a:path>
                  </a:pathLst>
                </a:custGeom>
                <a:gradFill>
                  <a:gsLst>
                    <a:gs pos="0">
                      <a:srgbClr val="0070C0">
                        <a:alpha val="56000"/>
                      </a:srgbClr>
                    </a:gs>
                    <a:gs pos="100000">
                      <a:schemeClr val="tx2">
                        <a:lumMod val="50000"/>
                        <a:alpha val="84000"/>
                      </a:schemeClr>
                    </a:gs>
                  </a:gsLst>
                  <a:lin ang="9600000" scaled="0"/>
                </a:gradFill>
                <a:ln w="9525">
                  <a:gradFill>
                    <a:gsLst>
                      <a:gs pos="0">
                        <a:srgbClr val="002060">
                          <a:alpha val="47000"/>
                        </a:srgbClr>
                      </a:gs>
                      <a:gs pos="50000">
                        <a:schemeClr val="accent1">
                          <a:tint val="44500"/>
                          <a:satMod val="160000"/>
                          <a:alpha val="37000"/>
                        </a:schemeClr>
                      </a:gs>
                      <a:gs pos="100000">
                        <a:srgbClr val="002060">
                          <a:alpha val="37000"/>
                        </a:srgbClr>
                      </a:gs>
                    </a:gsLst>
                    <a:lin ang="5400000" scaled="0"/>
                  </a:gra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square" lIns="91408" tIns="45703" rIns="91408" bIns="45703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078" fontAlgn="ctr"/>
                  <a:endParaRPr lang="en-US" altLang="zh-CN" sz="19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" name="Freeform 6">
                  <a:extLst>
                    <a:ext uri="{FF2B5EF4-FFF2-40B4-BE49-F238E27FC236}">
                      <a16:creationId xmlns="" xmlns:a16="http://schemas.microsoft.com/office/drawing/2014/main" id="{49AE5580-2ECD-4F17-A93D-BF83EAD877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881313" y="3055938"/>
                  <a:ext cx="2243137" cy="1235075"/>
                </a:xfrm>
                <a:custGeom>
                  <a:avLst/>
                  <a:gdLst>
                    <a:gd name="T0" fmla="*/ 216 w 220"/>
                    <a:gd name="T1" fmla="*/ 0 h 120"/>
                    <a:gd name="T2" fmla="*/ 4 w 220"/>
                    <a:gd name="T3" fmla="*/ 0 h 120"/>
                    <a:gd name="T4" fmla="*/ 0 w 220"/>
                    <a:gd name="T5" fmla="*/ 5 h 120"/>
                    <a:gd name="T6" fmla="*/ 0 w 220"/>
                    <a:gd name="T7" fmla="*/ 120 h 120"/>
                    <a:gd name="T8" fmla="*/ 220 w 220"/>
                    <a:gd name="T9" fmla="*/ 120 h 120"/>
                    <a:gd name="T10" fmla="*/ 220 w 220"/>
                    <a:gd name="T11" fmla="*/ 5 h 120"/>
                    <a:gd name="T12" fmla="*/ 216 w 220"/>
                    <a:gd name="T13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0" h="120">
                      <a:moveTo>
                        <a:pt x="21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20"/>
                        <a:pt x="0" y="120"/>
                        <a:pt x="0" y="120"/>
                      </a:cubicBezTo>
                      <a:cubicBezTo>
                        <a:pt x="220" y="120"/>
                        <a:pt x="220" y="120"/>
                        <a:pt x="220" y="120"/>
                      </a:cubicBezTo>
                      <a:cubicBezTo>
                        <a:pt x="220" y="5"/>
                        <a:pt x="220" y="5"/>
                        <a:pt x="220" y="5"/>
                      </a:cubicBezTo>
                      <a:cubicBezTo>
                        <a:pt x="220" y="2"/>
                        <a:pt x="218" y="0"/>
                        <a:pt x="21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8BBC">
                        <a:alpha val="88000"/>
                      </a:srgbClr>
                    </a:gs>
                    <a:gs pos="100000">
                      <a:srgbClr val="0070C0">
                        <a:alpha val="62000"/>
                      </a:srgbClr>
                    </a:gs>
                  </a:gsLst>
                  <a:lin ang="9600000" scaled="0"/>
                </a:gradFill>
                <a:ln w="9525">
                  <a:gradFill>
                    <a:gsLst>
                      <a:gs pos="0">
                        <a:srgbClr val="002060">
                          <a:alpha val="47000"/>
                        </a:srgbClr>
                      </a:gs>
                      <a:gs pos="50000">
                        <a:schemeClr val="accent1">
                          <a:tint val="44500"/>
                          <a:satMod val="160000"/>
                          <a:alpha val="37000"/>
                        </a:schemeClr>
                      </a:gs>
                      <a:gs pos="100000">
                        <a:srgbClr val="002060">
                          <a:alpha val="37000"/>
                        </a:srgbClr>
                      </a:gs>
                    </a:gsLst>
                    <a:lin ang="5400000" scaled="0"/>
                  </a:gra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square" lIns="91408" tIns="45703" rIns="91408" bIns="45703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078" fontAlgn="ctr"/>
                  <a:endParaRPr lang="en-US" altLang="zh-CN" sz="19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" name="Rectangle 8">
                  <a:extLst>
                    <a:ext uri="{FF2B5EF4-FFF2-40B4-BE49-F238E27FC236}">
                      <a16:creationId xmlns="" xmlns:a16="http://schemas.microsoft.com/office/drawing/2014/main" id="{BDDB8B3F-DBF2-4A84-9C9A-A2756AE473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982913" y="4364038"/>
                  <a:ext cx="2447925" cy="30162"/>
                </a:xfrm>
                <a:prstGeom prst="rect">
                  <a:avLst/>
                </a:prstGeom>
                <a:gradFill>
                  <a:gsLst>
                    <a:gs pos="0">
                      <a:srgbClr val="008BBC">
                        <a:alpha val="49000"/>
                      </a:srgbClr>
                    </a:gs>
                    <a:gs pos="100000">
                      <a:srgbClr val="0070C0">
                        <a:alpha val="11000"/>
                      </a:srgbClr>
                    </a:gs>
                  </a:gsLst>
                  <a:lin ang="9600000" scaled="0"/>
                </a:gradFill>
                <a:ln w="9525">
                  <a:gradFill>
                    <a:gsLst>
                      <a:gs pos="0">
                        <a:srgbClr val="002060">
                          <a:alpha val="47000"/>
                        </a:srgbClr>
                      </a:gs>
                      <a:gs pos="50000">
                        <a:schemeClr val="accent1">
                          <a:tint val="44500"/>
                          <a:satMod val="160000"/>
                          <a:alpha val="37000"/>
                        </a:schemeClr>
                      </a:gs>
                      <a:gs pos="100000">
                        <a:srgbClr val="002060">
                          <a:alpha val="37000"/>
                        </a:srgbClr>
                      </a:gs>
                    </a:gsLst>
                    <a:lin ang="5400000" scaled="0"/>
                  </a:gra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square" lIns="91408" tIns="45703" rIns="91408" bIns="45703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078" fontAlgn="ctr"/>
                  <a:endParaRPr lang="en-US" altLang="zh-CN" sz="19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" name="Rectangle 9">
                  <a:extLst>
                    <a:ext uri="{FF2B5EF4-FFF2-40B4-BE49-F238E27FC236}">
                      <a16:creationId xmlns="" xmlns:a16="http://schemas.microsoft.com/office/drawing/2014/main" id="{1A80050E-EAF3-468A-8A3F-DA29953F06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2982913" y="4364038"/>
                  <a:ext cx="2447925" cy="30162"/>
                </a:xfrm>
                <a:prstGeom prst="rect">
                  <a:avLst/>
                </a:prstGeom>
                <a:gradFill>
                  <a:gsLst>
                    <a:gs pos="0">
                      <a:srgbClr val="008BBC">
                        <a:alpha val="49000"/>
                      </a:srgbClr>
                    </a:gs>
                    <a:gs pos="100000">
                      <a:srgbClr val="0070C0">
                        <a:alpha val="11000"/>
                      </a:srgbClr>
                    </a:gs>
                  </a:gsLst>
                  <a:lin ang="9600000" scaled="0"/>
                </a:gradFill>
                <a:ln w="9525">
                  <a:gradFill>
                    <a:gsLst>
                      <a:gs pos="0">
                        <a:srgbClr val="002060">
                          <a:alpha val="47000"/>
                        </a:srgbClr>
                      </a:gs>
                      <a:gs pos="50000">
                        <a:schemeClr val="accent1">
                          <a:tint val="44500"/>
                          <a:satMod val="160000"/>
                          <a:alpha val="37000"/>
                        </a:schemeClr>
                      </a:gs>
                      <a:gs pos="100000">
                        <a:srgbClr val="002060">
                          <a:alpha val="37000"/>
                        </a:srgbClr>
                      </a:gs>
                    </a:gsLst>
                    <a:lin ang="5400000" scaled="0"/>
                  </a:gra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square" lIns="91408" tIns="45703" rIns="91408" bIns="45703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078" fontAlgn="ctr"/>
                  <a:endParaRPr lang="en-US" altLang="zh-CN" sz="19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" name="Freeform 10">
                  <a:extLst>
                    <a:ext uri="{FF2B5EF4-FFF2-40B4-BE49-F238E27FC236}">
                      <a16:creationId xmlns="" xmlns:a16="http://schemas.microsoft.com/office/drawing/2014/main" id="{FBF26736-4251-4F32-AEE5-36504B5215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44700" y="4394200"/>
                  <a:ext cx="571500" cy="41275"/>
                </a:xfrm>
                <a:custGeom>
                  <a:avLst/>
                  <a:gdLst>
                    <a:gd name="T0" fmla="*/ 52 w 56"/>
                    <a:gd name="T1" fmla="*/ 4 h 4"/>
                    <a:gd name="T2" fmla="*/ 3 w 56"/>
                    <a:gd name="T3" fmla="*/ 4 h 4"/>
                    <a:gd name="T4" fmla="*/ 0 w 56"/>
                    <a:gd name="T5" fmla="*/ 0 h 4"/>
                    <a:gd name="T6" fmla="*/ 56 w 56"/>
                    <a:gd name="T7" fmla="*/ 0 h 4"/>
                    <a:gd name="T8" fmla="*/ 52 w 5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4">
                      <a:moveTo>
                        <a:pt x="52" y="4"/>
                      </a:move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1" y="4"/>
                        <a:pt x="0" y="2"/>
                        <a:pt x="0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2"/>
                        <a:pt x="54" y="4"/>
                        <a:pt x="52" y="4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8BBC">
                        <a:alpha val="49000"/>
                      </a:srgbClr>
                    </a:gs>
                    <a:gs pos="100000">
                      <a:srgbClr val="0070C0">
                        <a:alpha val="11000"/>
                      </a:srgbClr>
                    </a:gs>
                  </a:gsLst>
                  <a:lin ang="9600000" scaled="0"/>
                </a:gradFill>
                <a:ln w="9525">
                  <a:gradFill>
                    <a:gsLst>
                      <a:gs pos="0">
                        <a:srgbClr val="002060">
                          <a:alpha val="47000"/>
                        </a:srgbClr>
                      </a:gs>
                      <a:gs pos="50000">
                        <a:schemeClr val="accent1">
                          <a:tint val="44500"/>
                          <a:satMod val="160000"/>
                          <a:alpha val="37000"/>
                        </a:schemeClr>
                      </a:gs>
                      <a:gs pos="100000">
                        <a:srgbClr val="002060">
                          <a:alpha val="37000"/>
                        </a:srgbClr>
                      </a:gs>
                    </a:gsLst>
                    <a:lin ang="5400000" scaled="0"/>
                  </a:gra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square" lIns="91408" tIns="45703" rIns="91408" bIns="45703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9078" fontAlgn="ctr"/>
                  <a:endParaRPr lang="en-US" altLang="zh-CN" sz="1999" dirty="0">
                    <a:solidFill>
                      <a:prstClr val="white"/>
                    </a:solidFill>
                    <a:latin typeface="Arial" panose="020B0604020202020204" pitchFamily="34" charset="0"/>
                  </a:endParaRPr>
                </a:p>
              </p:txBody>
            </p:sp>
          </p:grpSp>
        </p:grpSp>
        <p:pic>
          <p:nvPicPr>
            <p:cNvPr id="110" name="图片 109">
              <a:extLst>
                <a:ext uri="{FF2B5EF4-FFF2-40B4-BE49-F238E27FC236}">
                  <a16:creationId xmlns="" xmlns:a16="http://schemas.microsoft.com/office/drawing/2014/main" id="{A65E9D56-C6A6-4FCE-834B-4B553C1F71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/>
            <a:srcRect l="7553" t="4214" r="7385" b="17403"/>
            <a:stretch/>
          </p:blipFill>
          <p:spPr>
            <a:xfrm>
              <a:off x="776371" y="2676312"/>
              <a:ext cx="2243136" cy="1237322"/>
            </a:xfrm>
            <a:prstGeom prst="round2SameRect">
              <a:avLst>
                <a:gd name="adj1" fmla="val 4350"/>
                <a:gd name="adj2" fmla="val 0"/>
              </a:avLst>
            </a:prstGeom>
          </p:spPr>
        </p:pic>
      </p:grpSp>
    </p:spTree>
    <p:extLst>
      <p:ext uri="{BB962C8B-B14F-4D97-AF65-F5344CB8AC3E}">
        <p14:creationId xmlns:p14="http://schemas.microsoft.com/office/powerpoint/2010/main" val="294759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Administrator\Desktop\方框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86" y="5179662"/>
            <a:ext cx="10979369" cy="702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37" y="99"/>
            <a:ext cx="12191648" cy="68578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454957B-6135-4902-B41C-FD74A2693F1A}"/>
              </a:ext>
            </a:extLst>
          </p:cNvPr>
          <p:cNvSpPr txBox="1"/>
          <p:nvPr/>
        </p:nvSpPr>
        <p:spPr>
          <a:xfrm>
            <a:off x="541281" y="365692"/>
            <a:ext cx="11035676" cy="8615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1219078" fontAlgn="ctr"/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nnovating Through SMAC to Build a Smart Campus and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Boost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Industry </a:t>
            </a:r>
            <a:r>
              <a:rPr lang="en-US" sz="27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Upgrade</a:t>
            </a:r>
            <a:endParaRPr lang="en-US" sz="27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="" xmlns:a16="http://schemas.microsoft.com/office/drawing/2014/main" id="{95C7FC2D-7F48-4619-A7F0-F7AB4F03DF47}"/>
              </a:ext>
            </a:extLst>
          </p:cNvPr>
          <p:cNvSpPr txBox="1"/>
          <p:nvPr/>
        </p:nvSpPr>
        <p:spPr>
          <a:xfrm>
            <a:off x="6811912" y="1729718"/>
            <a:ext cx="4261472" cy="49949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5pPr marL="2438382" lvl="4" defTabSz="1219190">
              <a:defRPr sz="1800">
                <a:solidFill>
                  <a:prstClr val="black"/>
                </a:solidFill>
              </a:defRPr>
            </a:lvl5pPr>
          </a:lstStyle>
          <a:p>
            <a:pPr algn="l" defTabSz="1219078" fontAlgn="ctr">
              <a:lnSpc>
                <a:spcPct val="100000"/>
              </a:lnSpc>
            </a:pP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High-tech industries with digital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operations, </a:t>
            </a:r>
            <a:r>
              <a:rPr lang="en-US" sz="1600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and CNY100 billion output</a:t>
            </a:r>
            <a:endParaRPr lang="en-US" sz="16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B80646D2-CCE3-4D40-88D9-4652685A9BE1}"/>
              </a:ext>
            </a:extLst>
          </p:cNvPr>
          <p:cNvSpPr/>
          <p:nvPr/>
        </p:nvSpPr>
        <p:spPr>
          <a:xfrm>
            <a:off x="1810258" y="1362465"/>
            <a:ext cx="4578692" cy="707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/>
            <a:r>
              <a:rPr lang="en-US" sz="19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Gangtou Industrial Area in 2012</a:t>
            </a:r>
            <a:endParaRPr lang="en-US" sz="19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="" xmlns:a16="http://schemas.microsoft.com/office/drawing/2014/main" id="{5677271A-213B-429D-9954-203676B54B7D}"/>
              </a:ext>
            </a:extLst>
          </p:cNvPr>
          <p:cNvSpPr/>
          <p:nvPr/>
        </p:nvSpPr>
        <p:spPr>
          <a:xfrm>
            <a:off x="6747904" y="1320348"/>
            <a:ext cx="3430940" cy="39998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1219078" fontAlgn="ctr"/>
            <a:r>
              <a:rPr lang="en-US" sz="1999" b="1" dirty="0" smtClean="0">
                <a:solidFill>
                  <a:prstClr val="white"/>
                </a:solidFill>
                <a:latin typeface="Arial" panose="020B0604020202020204" pitchFamily="34" charset="0"/>
              </a:rPr>
              <a:t>Tian'an Cloud Park in 2017</a:t>
            </a:r>
            <a:endParaRPr lang="en-US" sz="1999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8" name="等腰三角形 7">
            <a:extLst>
              <a:ext uri="{FF2B5EF4-FFF2-40B4-BE49-F238E27FC236}">
                <a16:creationId xmlns="" xmlns:a16="http://schemas.microsoft.com/office/drawing/2014/main" id="{0F05DAA6-CBF7-44F8-BFEE-2FCB886F3308}"/>
              </a:ext>
            </a:extLst>
          </p:cNvPr>
          <p:cNvSpPr/>
          <p:nvPr/>
        </p:nvSpPr>
        <p:spPr>
          <a:xfrm rot="5400000">
            <a:off x="4520071" y="3615277"/>
            <a:ext cx="3214691" cy="499840"/>
          </a:xfrm>
          <a:prstGeom prst="triangle">
            <a:avLst/>
          </a:prstGeom>
          <a:gradFill>
            <a:gsLst>
              <a:gs pos="0">
                <a:srgbClr val="008BBC">
                  <a:alpha val="57000"/>
                </a:srgbClr>
              </a:gs>
              <a:gs pos="100000">
                <a:srgbClr val="0070C0">
                  <a:alpha val="0"/>
                </a:srgbClr>
              </a:gs>
            </a:gsLst>
            <a:lin ang="5400000" scaled="0"/>
          </a:gradFill>
          <a:ln w="9525">
            <a:gradFill>
              <a:gsLst>
                <a:gs pos="0">
                  <a:srgbClr val="002060">
                    <a:alpha val="47000"/>
                  </a:srgbClr>
                </a:gs>
                <a:gs pos="50000">
                  <a:schemeClr val="accent1">
                    <a:tint val="44500"/>
                    <a:satMod val="160000"/>
                    <a:alpha val="37000"/>
                  </a:schemeClr>
                </a:gs>
                <a:gs pos="100000">
                  <a:srgbClr val="002060">
                    <a:alpha val="37000"/>
                  </a:srgbClr>
                </a:gs>
              </a:gsLst>
              <a:lin ang="5400000" scaled="0"/>
            </a:gradFill>
            <a:miter lim="800000"/>
            <a:headEnd/>
            <a:tailEnd/>
          </a:ln>
          <a:effectLst/>
        </p:spPr>
        <p:txBody>
          <a:bodyPr vert="horz" wrap="square" lIns="91408" tIns="45703" rIns="91408" bIns="45703" numCol="1" anchor="t" anchorCtr="0" compatLnSpc="1">
            <a:prstTxWarp prst="textNoShape">
              <a:avLst/>
            </a:prstTxWarp>
            <a:noAutofit/>
          </a:bodyPr>
          <a:lstStyle/>
          <a:p>
            <a:pPr defTabSz="1219078" fontAlgn="ctr"/>
            <a:endParaRPr lang="en-US" altLang="zh-CN" sz="2399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553" y="2257853"/>
            <a:ext cx="4690045" cy="3121796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="" xmlns:a16="http://schemas.microsoft.com/office/drawing/2014/main" id="{2654A3C0-FBF2-4B07-AACA-8443B244400F}"/>
              </a:ext>
            </a:extLst>
          </p:cNvPr>
          <p:cNvSpPr txBox="1"/>
          <p:nvPr/>
        </p:nvSpPr>
        <p:spPr>
          <a:xfrm>
            <a:off x="1865122" y="1804698"/>
            <a:ext cx="4459525" cy="37607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64733" tIns="32366" rIns="64733" bIns="3236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 defTabSz="647553">
              <a:defRPr>
                <a:solidFill>
                  <a:prstClr val="white"/>
                </a:solidFill>
              </a:defRPr>
            </a:lvl1pPr>
            <a:lvl5pPr marL="2438382" lvl="4" defTabSz="1219190">
              <a:defRPr sz="1800">
                <a:solidFill>
                  <a:prstClr val="black"/>
                </a:solidFill>
              </a:defRPr>
            </a:lvl5pPr>
          </a:lstStyle>
          <a:p>
            <a:pPr algn="l" defTabSz="1219078" fontAlgn="ctr"/>
            <a:r>
              <a:rPr lang="en-US" sz="1600" b="1" dirty="0" smtClean="0">
                <a:latin typeface="Arial" panose="020B0604020202020204" pitchFamily="34" charset="0"/>
              </a:rPr>
              <a:t>Low-end </a:t>
            </a:r>
            <a:r>
              <a:rPr lang="en-US" sz="1600" b="1" dirty="0" smtClean="0">
                <a:latin typeface="Arial" panose="020B0604020202020204" pitchFamily="34" charset="0"/>
              </a:rPr>
              <a:t>processing, extensive management, and </a:t>
            </a:r>
            <a:r>
              <a:rPr lang="en-US" sz="1600" b="1" dirty="0" smtClean="0">
                <a:latin typeface="Arial" panose="020B0604020202020204" pitchFamily="34" charset="0"/>
              </a:rPr>
              <a:t>CNY200 million output</a:t>
            </a:r>
            <a:endParaRPr lang="en-US" sz="1600" b="1" dirty="0">
              <a:latin typeface="Arial" panose="020B0604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6" t="1374" r="11873" b="694"/>
          <a:stretch/>
        </p:blipFill>
        <p:spPr>
          <a:xfrm>
            <a:off x="1490482" y="2414327"/>
            <a:ext cx="4322395" cy="2802105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957" y="2257853"/>
            <a:ext cx="4690045" cy="3121796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54"/>
          <a:stretch/>
        </p:blipFill>
        <p:spPr>
          <a:xfrm>
            <a:off x="6606885" y="2414326"/>
            <a:ext cx="4322395" cy="2792171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="" xmlns:a16="http://schemas.microsoft.com/office/drawing/2014/main" id="{6504A0CC-670B-4530-AC54-557BCAB3A6C3}"/>
              </a:ext>
            </a:extLst>
          </p:cNvPr>
          <p:cNvSpPr/>
          <p:nvPr/>
        </p:nvSpPr>
        <p:spPr>
          <a:xfrm>
            <a:off x="1883410" y="5360735"/>
            <a:ext cx="4694811" cy="3507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1219078" fontAlgn="ctr">
              <a:lnSpc>
                <a:spcPct val="120000"/>
              </a:lnSpc>
            </a:pP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*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SMAC: social, mobile, analytics, and </a:t>
            </a:r>
            <a:r>
              <a:rPr lang="en-US" sz="1400" dirty="0" smtClean="0">
                <a:solidFill>
                  <a:prstClr val="white"/>
                </a:solidFill>
                <a:latin typeface="Arial" panose="020B0604020202020204" pitchFamily="34" charset="0"/>
              </a:rPr>
              <a:t>cloud computing</a:t>
            </a:r>
            <a:endParaRPr lang="en-US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28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YEp3AKlkCjFykRSO31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EZ7HVVuUC30HMLcEwR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ockccXEuIkfbERfLN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729174109"/>
  <p:tag name="MH_LIBRARY" val="GRAPHIC"/>
  <p:tag name="MH_TYPE" val="Pictur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ockccXEuIkfbERfLN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70Iow3kuxnKgQcHQg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NFKexvek.iemsYhuMXAg"/>
</p:tagLst>
</file>

<file path=ppt/theme/theme1.xml><?xml version="1.0" encoding="utf-8"?>
<a:theme xmlns:a="http://schemas.openxmlformats.org/drawingml/2006/main" name="封面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EN.pptx" id="{0599797E-3C11-4A53-8E35-F66072F840A1}" vid="{5162FDC4-9540-4B09-9B1C-A848C7970DD6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3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4.xml><?xml version="1.0" encoding="utf-8"?>
<a:theme xmlns:a="http://schemas.openxmlformats.org/drawingml/2006/main" name="1_封面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EN.pptx" id="{0599797E-3C11-4A53-8E35-F66072F840A1}" vid="{5162FDC4-9540-4B09-9B1C-A848C7970DD6}"/>
    </a:ext>
  </a:extLst>
</a:theme>
</file>

<file path=ppt/theme/theme5.xml><?xml version="1.0" encoding="utf-8"?>
<a:theme xmlns:a="http://schemas.openxmlformats.org/drawingml/2006/main" name="2_Thank yo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CW PP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EN.pptx" id="{0599797E-3C11-4A53-8E35-F66072F840A1}" vid="{F626F811-7984-4FCC-B42F-DE7BF63AB0F0}"/>
    </a:ext>
  </a:extLst>
</a:theme>
</file>

<file path=ppt/theme/theme6.xml><?xml version="1.0" encoding="utf-8"?>
<a:theme xmlns:a="http://schemas.openxmlformats.org/drawingml/2006/main" name="2_封面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EN.pptx" id="{0599797E-3C11-4A53-8E35-F66072F840A1}" vid="{5162FDC4-9540-4B09-9B1C-A848C7970DD6}"/>
    </a:ext>
  </a:extLst>
</a:theme>
</file>

<file path=ppt/theme/theme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4</TotalTime>
  <Words>2444</Words>
  <Application>Microsoft Office PowerPoint</Application>
  <PresentationFormat>宽屏</PresentationFormat>
  <Paragraphs>509</Paragraphs>
  <Slides>41</Slides>
  <Notes>3</Notes>
  <HiddenSlides>0</HiddenSlides>
  <MMClips>1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64" baseType="lpstr">
      <vt:lpstr>Helvetica Neue</vt:lpstr>
      <vt:lpstr>Huawei Script</vt:lpstr>
      <vt:lpstr>Huawei Script Regular</vt:lpstr>
      <vt:lpstr>Lucida Grande</vt:lpstr>
      <vt:lpstr>方正兰亭黑简体</vt:lpstr>
      <vt:lpstr>方正兰亭细黑_GBK</vt:lpstr>
      <vt:lpstr>黑体</vt:lpstr>
      <vt:lpstr>华文细黑</vt:lpstr>
      <vt:lpstr>宋体</vt:lpstr>
      <vt:lpstr>宋体</vt:lpstr>
      <vt:lpstr>微软雅黑</vt:lpstr>
      <vt:lpstr>Arial</vt:lpstr>
      <vt:lpstr>Calibri</vt:lpstr>
      <vt:lpstr>FrutigerNext LT Medium</vt:lpstr>
      <vt:lpstr>Verdana</vt:lpstr>
      <vt:lpstr>Wingdings</vt:lpstr>
      <vt:lpstr>封面01</vt:lpstr>
      <vt:lpstr>1_自定义设计方案</vt:lpstr>
      <vt:lpstr>3_自定义设计方案</vt:lpstr>
      <vt:lpstr>1_封面01</vt:lpstr>
      <vt:lpstr>2_Thank you</vt:lpstr>
      <vt:lpstr>2_封面01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mart Streetlight, Ideal for Energy-Saving City Construction</vt:lpstr>
      <vt:lpstr>Smart Parking, Delivering Brand-New Parking Services Downtow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uawei Technologies Co., 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yuxiao (A)</dc:creator>
  <cp:lastModifiedBy>Lixin (Moonney, PACD)</cp:lastModifiedBy>
  <cp:revision>170</cp:revision>
  <dcterms:created xsi:type="dcterms:W3CDTF">2018-01-16T02:19:42Z</dcterms:created>
  <dcterms:modified xsi:type="dcterms:W3CDTF">2018-06-08T08:2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kk8LZf6NWJzwlVJ01JTn7vvPrgKARBarjNahuntpZK95EWw8X+FBvuUFFeJWbn7ggbhy15KR
R/N/iLU4ZvUIMf9VNDlgvefURWq8rmHX5u5v++i4aBIM4a32bvAfIYEdfhRpWyFv5ZAifSyH
vtkafS+AoGOCe7vTzPKNGMGmyIobZzJwfHBJ0/JMJOOJkRucOojxkVDFz4RGNB1F3Bb335et
fIabOhp8EpVC9TbfkP</vt:lpwstr>
  </property>
  <property fmtid="{D5CDD505-2E9C-101B-9397-08002B2CF9AE}" pid="3" name="_2015_ms_pID_7253431">
    <vt:lpwstr>AQ9JS3xOM9Ac1XPg/+d8heZu8PGscqtx7iP8twmMbTVTbJOoG+Oa2I
wV88TYS2O1+HqKC0q/7ObaXTsuCBhqlweew0hPDCKYWb9r8oLA/PX4+OjO6SOcH/EI6WxVhA
lXZk0cJrjskYApzuXFB1KTsoXgCHY73ObPckXn0C84N9WvFH2bJ3WIEgq5Y9zzlRbZYnMu45
swG35B8zQx2zH71HNhytCkVrrqyGLTZrBada</vt:lpwstr>
  </property>
  <property fmtid="{D5CDD505-2E9C-101B-9397-08002B2CF9AE}" pid="4" name="_2015_ms_pID_7253432">
    <vt:lpwstr>Iw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27581773</vt:lpwstr>
  </property>
</Properties>
</file>